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4018" r:id="rId4"/>
  </p:sldMasterIdLst>
  <p:notesMasterIdLst>
    <p:notesMasterId r:id="rId16"/>
  </p:notesMasterIdLst>
  <p:sldIdLst>
    <p:sldId id="257" r:id="rId5"/>
    <p:sldId id="2147482414" r:id="rId6"/>
    <p:sldId id="262" r:id="rId7"/>
    <p:sldId id="2147481860" r:id="rId8"/>
    <p:sldId id="269" r:id="rId9"/>
    <p:sldId id="272" r:id="rId10"/>
    <p:sldId id="273" r:id="rId11"/>
    <p:sldId id="274" r:id="rId12"/>
    <p:sldId id="275" r:id="rId13"/>
    <p:sldId id="276" r:id="rId14"/>
    <p:sldId id="2147482415" r:id="rId15"/>
  </p:sldIdLst>
  <p:sldSz cx="9144000" cy="5143500" type="screen16x9"/>
  <p:notesSz cx="6858000" cy="9144000"/>
  <p:embeddedFontLst>
    <p:embeddedFont>
      <p:font typeface="Helvetica" panose="020B0604020202020204" pitchFamily="34" charset="0"/>
      <p:regular r:id="rId17"/>
      <p:bold r:id="rId18"/>
      <p:italic r:id="rId19"/>
      <p:boldItalic r:id="rId20"/>
    </p:embeddedFont>
    <p:embeddedFont>
      <p:font typeface="Helvetica Neue" panose="020B0604020202020204" charset="0"/>
      <p:regular r:id="rId21"/>
      <p:bold r:id="rId22"/>
      <p:italic r:id="rId23"/>
      <p:boldItalic r:id="rId24"/>
    </p:embeddedFont>
    <p:embeddedFont>
      <p:font typeface="Inter" panose="020B0604020202020204" charset="0"/>
      <p:regular r:id="rId25"/>
      <p:bold r:id="rId26"/>
    </p:embeddedFont>
    <p:embeddedFont>
      <p:font typeface="Inter SemiBold" panose="020B0604020202020204" charset="0"/>
      <p:regular r:id="rId27"/>
      <p:bold r:id="rId28"/>
    </p:embeddedFont>
  </p:embeddedFontLst>
  <p:custDataLst>
    <p:tags r:id="rId29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2036"/>
    <a:srgbClr val="32BADD"/>
    <a:srgbClr val="4C83CF"/>
    <a:srgbClr val="00FF00"/>
    <a:srgbClr val="30A132"/>
    <a:srgbClr val="1D2034"/>
    <a:srgbClr val="22253E"/>
    <a:srgbClr val="262A44"/>
    <a:srgbClr val="2C2F4E"/>
    <a:srgbClr val="2B2F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192F7D9-343C-4A52-A5F4-EA89840F7BA6}" v="1" dt="2024-07-29T06:26:54.17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69" autoAdjust="0"/>
    <p:restoredTop sz="84179" autoAdjust="0"/>
  </p:normalViewPr>
  <p:slideViewPr>
    <p:cSldViewPr snapToGrid="0">
      <p:cViewPr varScale="1">
        <p:scale>
          <a:sx n="114" d="100"/>
          <a:sy n="114" d="100"/>
        </p:scale>
        <p:origin x="630" y="255"/>
      </p:cViewPr>
      <p:guideLst/>
    </p:cSldViewPr>
  </p:slideViewPr>
  <p:outlineViewPr>
    <p:cViewPr>
      <p:scale>
        <a:sx n="33" d="100"/>
        <a:sy n="33" d="100"/>
      </p:scale>
      <p:origin x="0" y="-49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553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font" Target="fonts/font2.fntdata"/><Relationship Id="rId26" Type="http://schemas.openxmlformats.org/officeDocument/2006/relationships/font" Target="fonts/font10.fntdata"/><Relationship Id="rId3" Type="http://schemas.openxmlformats.org/officeDocument/2006/relationships/customXml" Target="../customXml/item3.xml"/><Relationship Id="rId21" Type="http://schemas.openxmlformats.org/officeDocument/2006/relationships/font" Target="fonts/font5.fntdata"/><Relationship Id="rId34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1.fntdata"/><Relationship Id="rId25" Type="http://schemas.openxmlformats.org/officeDocument/2006/relationships/font" Target="fonts/font9.fntdata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4.fntdata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8.fntdata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7.fntdata"/><Relationship Id="rId28" Type="http://schemas.openxmlformats.org/officeDocument/2006/relationships/font" Target="fonts/font12.fntdata"/><Relationship Id="rId10" Type="http://schemas.openxmlformats.org/officeDocument/2006/relationships/slide" Target="slides/slide6.xml"/><Relationship Id="rId19" Type="http://schemas.openxmlformats.org/officeDocument/2006/relationships/font" Target="fonts/font3.fntdata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6.fntdata"/><Relationship Id="rId27" Type="http://schemas.openxmlformats.org/officeDocument/2006/relationships/font" Target="fonts/font11.fntdata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ivestarly Lathong [Chillibreeze]" userId="479dc9aa-69ea-4a23-b6ea-3a9d26ac15ab" providerId="ADAL" clId="{013ED13C-6829-4378-A6EF-2B6A713739E1}"/>
    <pc:docChg chg="undo redo custSel addSld delSld modSld sldOrd modMainMaster">
      <pc:chgData name="Fivestarly Lathong [Chillibreeze]" userId="479dc9aa-69ea-4a23-b6ea-3a9d26ac15ab" providerId="ADAL" clId="{013ED13C-6829-4378-A6EF-2B6A713739E1}" dt="2024-06-12T15:26:47.019" v="2922" actId="732"/>
      <pc:docMkLst>
        <pc:docMk/>
      </pc:docMkLst>
      <pc:sldChg chg="addSp delSp modSp mod modClrScheme chgLayout">
        <pc:chgData name="Fivestarly Lathong [Chillibreeze]" userId="479dc9aa-69ea-4a23-b6ea-3a9d26ac15ab" providerId="ADAL" clId="{013ED13C-6829-4378-A6EF-2B6A713739E1}" dt="2024-06-12T15:22:05.785" v="2779" actId="14100"/>
        <pc:sldMkLst>
          <pc:docMk/>
          <pc:sldMk cId="0" sldId="257"/>
        </pc:sldMkLst>
        <pc:spChg chg="add del mod ord">
          <ac:chgData name="Fivestarly Lathong [Chillibreeze]" userId="479dc9aa-69ea-4a23-b6ea-3a9d26ac15ab" providerId="ADAL" clId="{013ED13C-6829-4378-A6EF-2B6A713739E1}" dt="2024-06-12T15:21:49.717" v="2770" actId="6264"/>
          <ac:spMkLst>
            <pc:docMk/>
            <pc:sldMk cId="0" sldId="257"/>
            <ac:spMk id="2" creationId="{12784291-C2DF-6AB5-B25A-5E9B5A5557C9}"/>
          </ac:spMkLst>
        </pc:spChg>
        <pc:spChg chg="add del mod">
          <ac:chgData name="Fivestarly Lathong [Chillibreeze]" userId="479dc9aa-69ea-4a23-b6ea-3a9d26ac15ab" providerId="ADAL" clId="{013ED13C-6829-4378-A6EF-2B6A713739E1}" dt="2024-06-12T15:21:49.717" v="2770" actId="6264"/>
          <ac:spMkLst>
            <pc:docMk/>
            <pc:sldMk cId="0" sldId="257"/>
            <ac:spMk id="3" creationId="{9C38A392-E530-88D9-69B3-50B1BB952D6F}"/>
          </ac:spMkLst>
        </pc:spChg>
        <pc:spChg chg="add del mod ord">
          <ac:chgData name="Fivestarly Lathong [Chillibreeze]" userId="479dc9aa-69ea-4a23-b6ea-3a9d26ac15ab" providerId="ADAL" clId="{013ED13C-6829-4378-A6EF-2B6A713739E1}" dt="2024-06-12T15:21:49.936" v="2771" actId="6264"/>
          <ac:spMkLst>
            <pc:docMk/>
            <pc:sldMk cId="0" sldId="257"/>
            <ac:spMk id="4" creationId="{FDA5E73A-40FA-1A2A-D0A8-B5F8120B5081}"/>
          </ac:spMkLst>
        </pc:spChg>
        <pc:spChg chg="add del mod">
          <ac:chgData name="Fivestarly Lathong [Chillibreeze]" userId="479dc9aa-69ea-4a23-b6ea-3a9d26ac15ab" providerId="ADAL" clId="{013ED13C-6829-4378-A6EF-2B6A713739E1}" dt="2024-06-12T15:21:49.936" v="2771" actId="6264"/>
          <ac:spMkLst>
            <pc:docMk/>
            <pc:sldMk cId="0" sldId="257"/>
            <ac:spMk id="5" creationId="{BECF7F4C-E612-7535-2427-9F483CF46288}"/>
          </ac:spMkLst>
        </pc:spChg>
        <pc:spChg chg="add del mod ord">
          <ac:chgData name="Fivestarly Lathong [Chillibreeze]" userId="479dc9aa-69ea-4a23-b6ea-3a9d26ac15ab" providerId="ADAL" clId="{013ED13C-6829-4378-A6EF-2B6A713739E1}" dt="2024-06-12T15:21:50.187" v="2772" actId="6264"/>
          <ac:spMkLst>
            <pc:docMk/>
            <pc:sldMk cId="0" sldId="257"/>
            <ac:spMk id="6" creationId="{337D4793-881A-884A-ECA5-39B1B2914F8F}"/>
          </ac:spMkLst>
        </pc:spChg>
        <pc:spChg chg="add del mod">
          <ac:chgData name="Fivestarly Lathong [Chillibreeze]" userId="479dc9aa-69ea-4a23-b6ea-3a9d26ac15ab" providerId="ADAL" clId="{013ED13C-6829-4378-A6EF-2B6A713739E1}" dt="2024-06-12T15:21:50.187" v="2772" actId="6264"/>
          <ac:spMkLst>
            <pc:docMk/>
            <pc:sldMk cId="0" sldId="257"/>
            <ac:spMk id="7" creationId="{72BC14B3-343B-4B85-4499-758B11763340}"/>
          </ac:spMkLst>
        </pc:spChg>
        <pc:spChg chg="add del mod ord">
          <ac:chgData name="Fivestarly Lathong [Chillibreeze]" userId="479dc9aa-69ea-4a23-b6ea-3a9d26ac15ab" providerId="ADAL" clId="{013ED13C-6829-4378-A6EF-2B6A713739E1}" dt="2024-06-12T15:21:52.103" v="2773" actId="478"/>
          <ac:spMkLst>
            <pc:docMk/>
            <pc:sldMk cId="0" sldId="257"/>
            <ac:spMk id="8" creationId="{5E65B339-50B8-7855-BFE0-BB0AF74E5294}"/>
          </ac:spMkLst>
        </pc:spChg>
        <pc:spChg chg="add del mod">
          <ac:chgData name="Fivestarly Lathong [Chillibreeze]" userId="479dc9aa-69ea-4a23-b6ea-3a9d26ac15ab" providerId="ADAL" clId="{013ED13C-6829-4378-A6EF-2B6A713739E1}" dt="2024-06-12T15:21:58.037" v="2774" actId="6264"/>
          <ac:spMkLst>
            <pc:docMk/>
            <pc:sldMk cId="0" sldId="257"/>
            <ac:spMk id="9" creationId="{A379AE16-E3A2-5B2E-6784-08519B013563}"/>
          </ac:spMkLst>
        </pc:spChg>
        <pc:spChg chg="add del mod ord">
          <ac:chgData name="Fivestarly Lathong [Chillibreeze]" userId="479dc9aa-69ea-4a23-b6ea-3a9d26ac15ab" providerId="ADAL" clId="{013ED13C-6829-4378-A6EF-2B6A713739E1}" dt="2024-06-12T15:21:58.325" v="2775" actId="6264"/>
          <ac:spMkLst>
            <pc:docMk/>
            <pc:sldMk cId="0" sldId="257"/>
            <ac:spMk id="10" creationId="{05AF3DB6-077D-4949-9C8E-784AAA8B0E6C}"/>
          </ac:spMkLst>
        </pc:spChg>
        <pc:spChg chg="add del mod">
          <ac:chgData name="Fivestarly Lathong [Chillibreeze]" userId="479dc9aa-69ea-4a23-b6ea-3a9d26ac15ab" providerId="ADAL" clId="{013ED13C-6829-4378-A6EF-2B6A713739E1}" dt="2024-06-12T15:21:58.325" v="2775" actId="6264"/>
          <ac:spMkLst>
            <pc:docMk/>
            <pc:sldMk cId="0" sldId="257"/>
            <ac:spMk id="11" creationId="{9A7D5682-0320-35C2-E868-54472469766A}"/>
          </ac:spMkLst>
        </pc:spChg>
        <pc:spChg chg="add del mod ord">
          <ac:chgData name="Fivestarly Lathong [Chillibreeze]" userId="479dc9aa-69ea-4a23-b6ea-3a9d26ac15ab" providerId="ADAL" clId="{013ED13C-6829-4378-A6EF-2B6A713739E1}" dt="2024-06-12T15:22:03.118" v="2778" actId="478"/>
          <ac:spMkLst>
            <pc:docMk/>
            <pc:sldMk cId="0" sldId="257"/>
            <ac:spMk id="12" creationId="{027C7AAF-174B-A026-1563-686CB14BBD25}"/>
          </ac:spMkLst>
        </pc:spChg>
        <pc:spChg chg="mod ord">
          <ac:chgData name="Fivestarly Lathong [Chillibreeze]" userId="479dc9aa-69ea-4a23-b6ea-3a9d26ac15ab" providerId="ADAL" clId="{013ED13C-6829-4378-A6EF-2B6A713739E1}" dt="2024-06-12T15:22:05.785" v="2779" actId="14100"/>
          <ac:spMkLst>
            <pc:docMk/>
            <pc:sldMk cId="0" sldId="257"/>
            <ac:spMk id="4116" creationId="{00000000-0000-0000-0000-000000000000}"/>
          </ac:spMkLst>
        </pc:spChg>
        <pc:spChg chg="del mod ord">
          <ac:chgData name="Fivestarly Lathong [Chillibreeze]" userId="479dc9aa-69ea-4a23-b6ea-3a9d26ac15ab" providerId="ADAL" clId="{013ED13C-6829-4378-A6EF-2B6A713739E1}" dt="2024-06-12T15:21:52.103" v="2773" actId="478"/>
          <ac:spMkLst>
            <pc:docMk/>
            <pc:sldMk cId="0" sldId="257"/>
            <ac:spMk id="4117" creationId="{00000000-0000-0000-0000-000000000000}"/>
          </ac:spMkLst>
        </pc:spChg>
        <pc:spChg chg="del mod ord">
          <ac:chgData name="Fivestarly Lathong [Chillibreeze]" userId="479dc9aa-69ea-4a23-b6ea-3a9d26ac15ab" providerId="ADAL" clId="{013ED13C-6829-4378-A6EF-2B6A713739E1}" dt="2024-06-12T15:21:52.103" v="2773" actId="478"/>
          <ac:spMkLst>
            <pc:docMk/>
            <pc:sldMk cId="0" sldId="257"/>
            <ac:spMk id="4118" creationId="{00000000-0000-0000-0000-000000000000}"/>
          </ac:spMkLst>
        </pc:spChg>
      </pc:sldChg>
      <pc:sldChg chg="addSp delSp modSp mod modClrScheme chgLayout">
        <pc:chgData name="Fivestarly Lathong [Chillibreeze]" userId="479dc9aa-69ea-4a23-b6ea-3a9d26ac15ab" providerId="ADAL" clId="{013ED13C-6829-4378-A6EF-2B6A713739E1}" dt="2024-06-12T15:22:21.299" v="2786" actId="207"/>
        <pc:sldMkLst>
          <pc:docMk/>
          <pc:sldMk cId="0" sldId="258"/>
        </pc:sldMkLst>
        <pc:spChg chg="add del mod ord">
          <ac:chgData name="Fivestarly Lathong [Chillibreeze]" userId="479dc9aa-69ea-4a23-b6ea-3a9d26ac15ab" providerId="ADAL" clId="{013ED13C-6829-4378-A6EF-2B6A713739E1}" dt="2024-06-12T15:22:16.129" v="2782" actId="21"/>
          <ac:spMkLst>
            <pc:docMk/>
            <pc:sldMk cId="0" sldId="258"/>
            <ac:spMk id="2" creationId="{94D59F6B-F00F-3B71-7772-5037677FB428}"/>
          </ac:spMkLst>
        </pc:spChg>
        <pc:spChg chg="add del mod">
          <ac:chgData name="Fivestarly Lathong [Chillibreeze]" userId="479dc9aa-69ea-4a23-b6ea-3a9d26ac15ab" providerId="ADAL" clId="{013ED13C-6829-4378-A6EF-2B6A713739E1}" dt="2024-06-12T15:22:18.149" v="2783" actId="6264"/>
          <ac:spMkLst>
            <pc:docMk/>
            <pc:sldMk cId="0" sldId="258"/>
            <ac:spMk id="3" creationId="{CDEC892E-B035-430B-99ED-15C96338AD0F}"/>
          </ac:spMkLst>
        </pc:spChg>
        <pc:spChg chg="add del mod ord">
          <ac:chgData name="Fivestarly Lathong [Chillibreeze]" userId="479dc9aa-69ea-4a23-b6ea-3a9d26ac15ab" providerId="ADAL" clId="{013ED13C-6829-4378-A6EF-2B6A713739E1}" dt="2024-06-12T15:22:18.314" v="2784" actId="6264"/>
          <ac:spMkLst>
            <pc:docMk/>
            <pc:sldMk cId="0" sldId="258"/>
            <ac:spMk id="4" creationId="{1100D768-92A9-C328-EAD6-D2CA0005F510}"/>
          </ac:spMkLst>
        </pc:spChg>
        <pc:spChg chg="add del mod">
          <ac:chgData name="Fivestarly Lathong [Chillibreeze]" userId="479dc9aa-69ea-4a23-b6ea-3a9d26ac15ab" providerId="ADAL" clId="{013ED13C-6829-4378-A6EF-2B6A713739E1}" dt="2024-06-12T15:22:18.314" v="2784" actId="6264"/>
          <ac:spMkLst>
            <pc:docMk/>
            <pc:sldMk cId="0" sldId="258"/>
            <ac:spMk id="5" creationId="{2BBB6C4A-538D-AD68-DD16-76885EFA829D}"/>
          </ac:spMkLst>
        </pc:spChg>
        <pc:spChg chg="add del mod ord">
          <ac:chgData name="Fivestarly Lathong [Chillibreeze]" userId="479dc9aa-69ea-4a23-b6ea-3a9d26ac15ab" providerId="ADAL" clId="{013ED13C-6829-4378-A6EF-2B6A713739E1}" dt="2024-06-12T15:22:19.419" v="2785" actId="21"/>
          <ac:spMkLst>
            <pc:docMk/>
            <pc:sldMk cId="0" sldId="258"/>
            <ac:spMk id="6" creationId="{01CE240A-D626-8002-D919-96833076D9E8}"/>
          </ac:spMkLst>
        </pc:spChg>
        <pc:spChg chg="del mod ord">
          <ac:chgData name="Fivestarly Lathong [Chillibreeze]" userId="479dc9aa-69ea-4a23-b6ea-3a9d26ac15ab" providerId="ADAL" clId="{013ED13C-6829-4378-A6EF-2B6A713739E1}" dt="2024-06-12T15:22:16.129" v="2782" actId="21"/>
          <ac:spMkLst>
            <pc:docMk/>
            <pc:sldMk cId="0" sldId="258"/>
            <ac:spMk id="4123" creationId="{00000000-0000-0000-0000-000000000000}"/>
          </ac:spMkLst>
        </pc:spChg>
        <pc:spChg chg="mod ord">
          <ac:chgData name="Fivestarly Lathong [Chillibreeze]" userId="479dc9aa-69ea-4a23-b6ea-3a9d26ac15ab" providerId="ADAL" clId="{013ED13C-6829-4378-A6EF-2B6A713739E1}" dt="2024-06-12T15:22:21.299" v="2786" actId="207"/>
          <ac:spMkLst>
            <pc:docMk/>
            <pc:sldMk cId="0" sldId="258"/>
            <ac:spMk id="4124" creationId="{00000000-0000-0000-0000-000000000000}"/>
          </ac:spMkLst>
        </pc:spChg>
        <pc:spChg chg="del mod ord">
          <ac:chgData name="Fivestarly Lathong [Chillibreeze]" userId="479dc9aa-69ea-4a23-b6ea-3a9d26ac15ab" providerId="ADAL" clId="{013ED13C-6829-4378-A6EF-2B6A713739E1}" dt="2024-06-12T15:22:16.129" v="2782" actId="21"/>
          <ac:spMkLst>
            <pc:docMk/>
            <pc:sldMk cId="0" sldId="258"/>
            <ac:spMk id="4125" creationId="{00000000-0000-0000-0000-000000000000}"/>
          </ac:spMkLst>
        </pc:spChg>
        <pc:spChg chg="del mod ord">
          <ac:chgData name="Fivestarly Lathong [Chillibreeze]" userId="479dc9aa-69ea-4a23-b6ea-3a9d26ac15ab" providerId="ADAL" clId="{013ED13C-6829-4378-A6EF-2B6A713739E1}" dt="2024-06-12T15:22:16.129" v="2782" actId="21"/>
          <ac:spMkLst>
            <pc:docMk/>
            <pc:sldMk cId="0" sldId="258"/>
            <ac:spMk id="4126" creationId="{00000000-0000-0000-0000-000000000000}"/>
          </ac:spMkLst>
        </pc:spChg>
      </pc:sldChg>
      <pc:sldChg chg="addSp delSp del mod">
        <pc:chgData name="Fivestarly Lathong [Chillibreeze]" userId="479dc9aa-69ea-4a23-b6ea-3a9d26ac15ab" providerId="ADAL" clId="{013ED13C-6829-4378-A6EF-2B6A713739E1}" dt="2024-06-12T14:22:41.854" v="1409" actId="2696"/>
        <pc:sldMkLst>
          <pc:docMk/>
          <pc:sldMk cId="0" sldId="259"/>
        </pc:sldMkLst>
        <pc:spChg chg="add del">
          <ac:chgData name="Fivestarly Lathong [Chillibreeze]" userId="479dc9aa-69ea-4a23-b6ea-3a9d26ac15ab" providerId="ADAL" clId="{013ED13C-6829-4378-A6EF-2B6A713739E1}" dt="2024-06-12T12:54:02.278" v="1" actId="21"/>
          <ac:spMkLst>
            <pc:docMk/>
            <pc:sldMk cId="0" sldId="259"/>
            <ac:spMk id="3" creationId="{2823A2C2-8B6D-088A-AFA5-7066E1EB817D}"/>
          </ac:spMkLst>
        </pc:spChg>
      </pc:sldChg>
      <pc:sldChg chg="addSp delSp modSp mod setBg modClrScheme chgLayout">
        <pc:chgData name="Fivestarly Lathong [Chillibreeze]" userId="479dc9aa-69ea-4a23-b6ea-3a9d26ac15ab" providerId="ADAL" clId="{013ED13C-6829-4378-A6EF-2B6A713739E1}" dt="2024-06-12T13:03:28.696" v="271"/>
        <pc:sldMkLst>
          <pc:docMk/>
          <pc:sldMk cId="0" sldId="260"/>
        </pc:sldMkLst>
        <pc:spChg chg="del mod ord">
          <ac:chgData name="Fivestarly Lathong [Chillibreeze]" userId="479dc9aa-69ea-4a23-b6ea-3a9d26ac15ab" providerId="ADAL" clId="{013ED13C-6829-4378-A6EF-2B6A713739E1}" dt="2024-06-12T12:54:30.130" v="3" actId="700"/>
          <ac:spMkLst>
            <pc:docMk/>
            <pc:sldMk cId="0" sldId="260"/>
            <ac:spMk id="2" creationId="{B9A328F4-4CDD-8DDC-A30D-BC65EE6A7D46}"/>
          </ac:spMkLst>
        </pc:spChg>
        <pc:spChg chg="del">
          <ac:chgData name="Fivestarly Lathong [Chillibreeze]" userId="479dc9aa-69ea-4a23-b6ea-3a9d26ac15ab" providerId="ADAL" clId="{013ED13C-6829-4378-A6EF-2B6A713739E1}" dt="2024-06-12T12:54:14.268" v="2" actId="21"/>
          <ac:spMkLst>
            <pc:docMk/>
            <pc:sldMk cId="0" sldId="260"/>
            <ac:spMk id="3" creationId="{2BE60D4C-A1B8-A41B-DE70-04F4FC05DDBB}"/>
          </ac:spMkLst>
        </pc:spChg>
        <pc:spChg chg="add mod ord">
          <ac:chgData name="Fivestarly Lathong [Chillibreeze]" userId="479dc9aa-69ea-4a23-b6ea-3a9d26ac15ab" providerId="ADAL" clId="{013ED13C-6829-4378-A6EF-2B6A713739E1}" dt="2024-06-12T12:55:02.593" v="18" actId="6264"/>
          <ac:spMkLst>
            <pc:docMk/>
            <pc:sldMk cId="0" sldId="260"/>
            <ac:spMk id="4" creationId="{87A90B0D-B334-D8DA-EFB7-067027DDE438}"/>
          </ac:spMkLst>
        </pc:spChg>
        <pc:spChg chg="add del mod">
          <ac:chgData name="Fivestarly Lathong [Chillibreeze]" userId="479dc9aa-69ea-4a23-b6ea-3a9d26ac15ab" providerId="ADAL" clId="{013ED13C-6829-4378-A6EF-2B6A713739E1}" dt="2024-06-12T12:54:56.343" v="12" actId="6264"/>
          <ac:spMkLst>
            <pc:docMk/>
            <pc:sldMk cId="0" sldId="260"/>
            <ac:spMk id="5" creationId="{C595D555-CCFD-607C-8E5A-F27212D794B4}"/>
          </ac:spMkLst>
        </pc:spChg>
        <pc:spChg chg="add del mod">
          <ac:chgData name="Fivestarly Lathong [Chillibreeze]" userId="479dc9aa-69ea-4a23-b6ea-3a9d26ac15ab" providerId="ADAL" clId="{013ED13C-6829-4378-A6EF-2B6A713739E1}" dt="2024-06-12T12:54:56.522" v="13" actId="6264"/>
          <ac:spMkLst>
            <pc:docMk/>
            <pc:sldMk cId="0" sldId="260"/>
            <ac:spMk id="6" creationId="{658F56BF-DBE6-0C19-1A41-D67D07F817C4}"/>
          </ac:spMkLst>
        </pc:spChg>
        <pc:spChg chg="add del mod">
          <ac:chgData name="Fivestarly Lathong [Chillibreeze]" userId="479dc9aa-69ea-4a23-b6ea-3a9d26ac15ab" providerId="ADAL" clId="{013ED13C-6829-4378-A6EF-2B6A713739E1}" dt="2024-06-12T12:55:02.234" v="16" actId="6264"/>
          <ac:spMkLst>
            <pc:docMk/>
            <pc:sldMk cId="0" sldId="260"/>
            <ac:spMk id="7" creationId="{4DD6ADAE-9D07-E966-3F76-6A835A635741}"/>
          </ac:spMkLst>
        </pc:spChg>
        <pc:spChg chg="add del mod">
          <ac:chgData name="Fivestarly Lathong [Chillibreeze]" userId="479dc9aa-69ea-4a23-b6ea-3a9d26ac15ab" providerId="ADAL" clId="{013ED13C-6829-4378-A6EF-2B6A713739E1}" dt="2024-06-12T12:55:02.422" v="17" actId="6264"/>
          <ac:spMkLst>
            <pc:docMk/>
            <pc:sldMk cId="0" sldId="260"/>
            <ac:spMk id="8" creationId="{366D7B2E-28D3-4A71-3766-105C4F25459B}"/>
          </ac:spMkLst>
        </pc:spChg>
        <pc:spChg chg="add del mod">
          <ac:chgData name="Fivestarly Lathong [Chillibreeze]" userId="479dc9aa-69ea-4a23-b6ea-3a9d26ac15ab" providerId="ADAL" clId="{013ED13C-6829-4378-A6EF-2B6A713739E1}" dt="2024-06-12T12:55:02.593" v="18" actId="6264"/>
          <ac:spMkLst>
            <pc:docMk/>
            <pc:sldMk cId="0" sldId="260"/>
            <ac:spMk id="9" creationId="{5DDE6A29-6BCC-25F6-6842-C66D59E9372A}"/>
          </ac:spMkLst>
        </pc:spChg>
        <pc:spChg chg="add del mod">
          <ac:chgData name="Fivestarly Lathong [Chillibreeze]" userId="479dc9aa-69ea-4a23-b6ea-3a9d26ac15ab" providerId="ADAL" clId="{013ED13C-6829-4378-A6EF-2B6A713739E1}" dt="2024-06-12T13:03:28.068" v="270" actId="478"/>
          <ac:spMkLst>
            <pc:docMk/>
            <pc:sldMk cId="0" sldId="260"/>
            <ac:spMk id="11" creationId="{335ABCBC-9D78-D93D-6F38-DE82680EBBAF}"/>
          </ac:spMkLst>
        </pc:spChg>
        <pc:spChg chg="add mod">
          <ac:chgData name="Fivestarly Lathong [Chillibreeze]" userId="479dc9aa-69ea-4a23-b6ea-3a9d26ac15ab" providerId="ADAL" clId="{013ED13C-6829-4378-A6EF-2B6A713739E1}" dt="2024-06-12T12:55:13.613" v="19"/>
          <ac:spMkLst>
            <pc:docMk/>
            <pc:sldMk cId="0" sldId="260"/>
            <ac:spMk id="12" creationId="{2EA900BF-0BCF-FF6D-EF12-18EA00B2A1A1}"/>
          </ac:spMkLst>
        </pc:spChg>
        <pc:spChg chg="add mod">
          <ac:chgData name="Fivestarly Lathong [Chillibreeze]" userId="479dc9aa-69ea-4a23-b6ea-3a9d26ac15ab" providerId="ADAL" clId="{013ED13C-6829-4378-A6EF-2B6A713739E1}" dt="2024-06-12T12:56:11.201" v="53" actId="113"/>
          <ac:spMkLst>
            <pc:docMk/>
            <pc:sldMk cId="0" sldId="260"/>
            <ac:spMk id="13" creationId="{0C0B6502-9B44-9862-659D-B24A6902D8C7}"/>
          </ac:spMkLst>
        </pc:spChg>
        <pc:spChg chg="add mod">
          <ac:chgData name="Fivestarly Lathong [Chillibreeze]" userId="479dc9aa-69ea-4a23-b6ea-3a9d26ac15ab" providerId="ADAL" clId="{013ED13C-6829-4378-A6EF-2B6A713739E1}" dt="2024-06-12T12:56:04.959" v="51" actId="20577"/>
          <ac:spMkLst>
            <pc:docMk/>
            <pc:sldMk cId="0" sldId="260"/>
            <ac:spMk id="14" creationId="{3E15D9CA-5E8D-544F-F240-05CB32ABC961}"/>
          </ac:spMkLst>
        </pc:spChg>
        <pc:spChg chg="add mod">
          <ac:chgData name="Fivestarly Lathong [Chillibreeze]" userId="479dc9aa-69ea-4a23-b6ea-3a9d26ac15ab" providerId="ADAL" clId="{013ED13C-6829-4378-A6EF-2B6A713739E1}" dt="2024-06-12T12:55:50.534" v="41" actId="113"/>
          <ac:spMkLst>
            <pc:docMk/>
            <pc:sldMk cId="0" sldId="260"/>
            <ac:spMk id="15" creationId="{7ED384CD-760D-2697-2EE9-A09A2A4C6FAB}"/>
          </ac:spMkLst>
        </pc:spChg>
        <pc:spChg chg="add mod">
          <ac:chgData name="Fivestarly Lathong [Chillibreeze]" userId="479dc9aa-69ea-4a23-b6ea-3a9d26ac15ab" providerId="ADAL" clId="{013ED13C-6829-4378-A6EF-2B6A713739E1}" dt="2024-06-12T12:55:22.893" v="21"/>
          <ac:spMkLst>
            <pc:docMk/>
            <pc:sldMk cId="0" sldId="260"/>
            <ac:spMk id="16" creationId="{7E3E9DD1-C6D5-4694-6FA8-4F7D128647FB}"/>
          </ac:spMkLst>
        </pc:spChg>
        <pc:spChg chg="add mod">
          <ac:chgData name="Fivestarly Lathong [Chillibreeze]" userId="479dc9aa-69ea-4a23-b6ea-3a9d26ac15ab" providerId="ADAL" clId="{013ED13C-6829-4378-A6EF-2B6A713739E1}" dt="2024-06-12T12:55:22.893" v="21"/>
          <ac:spMkLst>
            <pc:docMk/>
            <pc:sldMk cId="0" sldId="260"/>
            <ac:spMk id="17" creationId="{85003706-418F-563A-3E7A-BE84602AE7D1}"/>
          </ac:spMkLst>
        </pc:spChg>
        <pc:spChg chg="add mod">
          <ac:chgData name="Fivestarly Lathong [Chillibreeze]" userId="479dc9aa-69ea-4a23-b6ea-3a9d26ac15ab" providerId="ADAL" clId="{013ED13C-6829-4378-A6EF-2B6A713739E1}" dt="2024-06-12T12:55:22.893" v="21"/>
          <ac:spMkLst>
            <pc:docMk/>
            <pc:sldMk cId="0" sldId="260"/>
            <ac:spMk id="18" creationId="{A0173F4B-659D-3C90-8012-D890AE141CE6}"/>
          </ac:spMkLst>
        </pc:spChg>
        <pc:spChg chg="add mod">
          <ac:chgData name="Fivestarly Lathong [Chillibreeze]" userId="479dc9aa-69ea-4a23-b6ea-3a9d26ac15ab" providerId="ADAL" clId="{013ED13C-6829-4378-A6EF-2B6A713739E1}" dt="2024-06-12T12:55:31.856" v="24"/>
          <ac:spMkLst>
            <pc:docMk/>
            <pc:sldMk cId="0" sldId="260"/>
            <ac:spMk id="19" creationId="{7B234106-A33C-030A-D0A3-72F2EE109C48}"/>
          </ac:spMkLst>
        </pc:spChg>
        <pc:spChg chg="add mod">
          <ac:chgData name="Fivestarly Lathong [Chillibreeze]" userId="479dc9aa-69ea-4a23-b6ea-3a9d26ac15ab" providerId="ADAL" clId="{013ED13C-6829-4378-A6EF-2B6A713739E1}" dt="2024-06-12T12:56:17.728" v="56"/>
          <ac:spMkLst>
            <pc:docMk/>
            <pc:sldMk cId="0" sldId="260"/>
            <ac:spMk id="20" creationId="{CAE9DBBC-2A0B-0176-7419-D7B92DFE20FA}"/>
          </ac:spMkLst>
        </pc:spChg>
        <pc:spChg chg="add mod">
          <ac:chgData name="Fivestarly Lathong [Chillibreeze]" userId="479dc9aa-69ea-4a23-b6ea-3a9d26ac15ab" providerId="ADAL" clId="{013ED13C-6829-4378-A6EF-2B6A713739E1}" dt="2024-06-12T12:56:21.451" v="59"/>
          <ac:spMkLst>
            <pc:docMk/>
            <pc:sldMk cId="0" sldId="260"/>
            <ac:spMk id="21" creationId="{E11F7116-248E-36E0-CDF0-2319A262EC46}"/>
          </ac:spMkLst>
        </pc:spChg>
        <pc:spChg chg="add mod">
          <ac:chgData name="Fivestarly Lathong [Chillibreeze]" userId="479dc9aa-69ea-4a23-b6ea-3a9d26ac15ab" providerId="ADAL" clId="{013ED13C-6829-4378-A6EF-2B6A713739E1}" dt="2024-06-12T12:56:29.063" v="63"/>
          <ac:spMkLst>
            <pc:docMk/>
            <pc:sldMk cId="0" sldId="260"/>
            <ac:spMk id="22" creationId="{2D1BE9FB-6B2E-E2E1-D553-F7E98049D7BE}"/>
          </ac:spMkLst>
        </pc:spChg>
        <pc:spChg chg="add mod">
          <ac:chgData name="Fivestarly Lathong [Chillibreeze]" userId="479dc9aa-69ea-4a23-b6ea-3a9d26ac15ab" providerId="ADAL" clId="{013ED13C-6829-4378-A6EF-2B6A713739E1}" dt="2024-06-12T12:55:34.527" v="27"/>
          <ac:spMkLst>
            <pc:docMk/>
            <pc:sldMk cId="0" sldId="260"/>
            <ac:spMk id="23" creationId="{D8EA579C-05FD-DBA0-AF3F-638E722EEF4B}"/>
          </ac:spMkLst>
        </pc:spChg>
        <pc:spChg chg="add mod">
          <ac:chgData name="Fivestarly Lathong [Chillibreeze]" userId="479dc9aa-69ea-4a23-b6ea-3a9d26ac15ab" providerId="ADAL" clId="{013ED13C-6829-4378-A6EF-2B6A713739E1}" dt="2024-06-12T12:55:37.036" v="30"/>
          <ac:spMkLst>
            <pc:docMk/>
            <pc:sldMk cId="0" sldId="260"/>
            <ac:spMk id="24" creationId="{FC38592F-15DC-7391-6584-CF56B6179998}"/>
          </ac:spMkLst>
        </pc:spChg>
        <pc:spChg chg="add mod">
          <ac:chgData name="Fivestarly Lathong [Chillibreeze]" userId="479dc9aa-69ea-4a23-b6ea-3a9d26ac15ab" providerId="ADAL" clId="{013ED13C-6829-4378-A6EF-2B6A713739E1}" dt="2024-06-12T13:03:28.696" v="271"/>
          <ac:spMkLst>
            <pc:docMk/>
            <pc:sldMk cId="0" sldId="260"/>
            <ac:spMk id="25" creationId="{C2ACC294-1D5F-7398-0CBD-08E98A7A9787}"/>
          </ac:spMkLst>
        </pc:spChg>
        <pc:spChg chg="del mod">
          <ac:chgData name="Fivestarly Lathong [Chillibreeze]" userId="479dc9aa-69ea-4a23-b6ea-3a9d26ac15ab" providerId="ADAL" clId="{013ED13C-6829-4378-A6EF-2B6A713739E1}" dt="2024-06-12T12:56:30.553" v="64" actId="21"/>
          <ac:spMkLst>
            <pc:docMk/>
            <pc:sldMk cId="0" sldId="260"/>
            <ac:spMk id="4149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2:56:30.553" v="64" actId="21"/>
          <ac:spMkLst>
            <pc:docMk/>
            <pc:sldMk cId="0" sldId="260"/>
            <ac:spMk id="4150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2:54:52.541" v="11" actId="21"/>
          <ac:spMkLst>
            <pc:docMk/>
            <pc:sldMk cId="0" sldId="260"/>
            <ac:spMk id="4151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2:56:30.553" v="64" actId="21"/>
          <ac:spMkLst>
            <pc:docMk/>
            <pc:sldMk cId="0" sldId="260"/>
            <ac:spMk id="4152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2:56:30.553" v="64" actId="21"/>
          <ac:spMkLst>
            <pc:docMk/>
            <pc:sldMk cId="0" sldId="260"/>
            <ac:spMk id="4153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2:56:30.553" v="64" actId="21"/>
          <ac:spMkLst>
            <pc:docMk/>
            <pc:sldMk cId="0" sldId="260"/>
            <ac:spMk id="4154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2:56:30.553" v="64" actId="21"/>
          <ac:spMkLst>
            <pc:docMk/>
            <pc:sldMk cId="0" sldId="260"/>
            <ac:spMk id="4155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2:56:30.553" v="64" actId="21"/>
          <ac:spMkLst>
            <pc:docMk/>
            <pc:sldMk cId="0" sldId="260"/>
            <ac:spMk id="4156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2:56:30.553" v="64" actId="21"/>
          <ac:spMkLst>
            <pc:docMk/>
            <pc:sldMk cId="0" sldId="260"/>
            <ac:spMk id="4157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2:56:30.553" v="64" actId="21"/>
          <ac:spMkLst>
            <pc:docMk/>
            <pc:sldMk cId="0" sldId="260"/>
            <ac:spMk id="4158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2:54:43.471" v="8" actId="21"/>
          <ac:spMkLst>
            <pc:docMk/>
            <pc:sldMk cId="0" sldId="260"/>
            <ac:spMk id="4162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2:55:00.060" v="15" actId="21"/>
          <ac:spMkLst>
            <pc:docMk/>
            <pc:sldMk cId="0" sldId="260"/>
            <ac:spMk id="4163" creationId="{00000000-0000-0000-0000-000000000000}"/>
          </ac:spMkLst>
        </pc:spChg>
        <pc:picChg chg="add mod ord">
          <ac:chgData name="Fivestarly Lathong [Chillibreeze]" userId="479dc9aa-69ea-4a23-b6ea-3a9d26ac15ab" providerId="ADAL" clId="{013ED13C-6829-4378-A6EF-2B6A713739E1}" dt="2024-06-12T12:55:18.147" v="20" actId="167"/>
          <ac:picMkLst>
            <pc:docMk/>
            <pc:sldMk cId="0" sldId="260"/>
            <ac:picMk id="10" creationId="{12905013-8C95-0FDB-61EB-73894FB63983}"/>
          </ac:picMkLst>
        </pc:picChg>
        <pc:picChg chg="del">
          <ac:chgData name="Fivestarly Lathong [Chillibreeze]" userId="479dc9aa-69ea-4a23-b6ea-3a9d26ac15ab" providerId="ADAL" clId="{013ED13C-6829-4378-A6EF-2B6A713739E1}" dt="2024-06-12T12:54:32.832" v="4" actId="21"/>
          <ac:picMkLst>
            <pc:docMk/>
            <pc:sldMk cId="0" sldId="260"/>
            <ac:picMk id="4148" creationId="{00000000-0000-0000-0000-000000000000}"/>
          </ac:picMkLst>
        </pc:picChg>
        <pc:cxnChg chg="del mod">
          <ac:chgData name="Fivestarly Lathong [Chillibreeze]" userId="479dc9aa-69ea-4a23-b6ea-3a9d26ac15ab" providerId="ADAL" clId="{013ED13C-6829-4378-A6EF-2B6A713739E1}" dt="2024-06-12T12:56:30.553" v="64" actId="21"/>
          <ac:cxnSpMkLst>
            <pc:docMk/>
            <pc:sldMk cId="0" sldId="260"/>
            <ac:cxnSpMk id="4159" creationId="{00000000-0000-0000-0000-000000000000}"/>
          </ac:cxnSpMkLst>
        </pc:cxnChg>
        <pc:cxnChg chg="del mod">
          <ac:chgData name="Fivestarly Lathong [Chillibreeze]" userId="479dc9aa-69ea-4a23-b6ea-3a9d26ac15ab" providerId="ADAL" clId="{013ED13C-6829-4378-A6EF-2B6A713739E1}" dt="2024-06-12T12:56:30.553" v="64" actId="21"/>
          <ac:cxnSpMkLst>
            <pc:docMk/>
            <pc:sldMk cId="0" sldId="260"/>
            <ac:cxnSpMk id="4160" creationId="{00000000-0000-0000-0000-000000000000}"/>
          </ac:cxnSpMkLst>
        </pc:cxnChg>
        <pc:cxnChg chg="del mod">
          <ac:chgData name="Fivestarly Lathong [Chillibreeze]" userId="479dc9aa-69ea-4a23-b6ea-3a9d26ac15ab" providerId="ADAL" clId="{013ED13C-6829-4378-A6EF-2B6A713739E1}" dt="2024-06-12T12:56:26.093" v="60" actId="21"/>
          <ac:cxnSpMkLst>
            <pc:docMk/>
            <pc:sldMk cId="0" sldId="260"/>
            <ac:cxnSpMk id="4161" creationId="{00000000-0000-0000-0000-000000000000}"/>
          </ac:cxnSpMkLst>
        </pc:cxnChg>
      </pc:sldChg>
      <pc:sldChg chg="addSp delSp modSp mod setBg modClrScheme chgLayout">
        <pc:chgData name="Fivestarly Lathong [Chillibreeze]" userId="479dc9aa-69ea-4a23-b6ea-3a9d26ac15ab" providerId="ADAL" clId="{013ED13C-6829-4378-A6EF-2B6A713739E1}" dt="2024-06-12T13:15:17.237" v="553"/>
        <pc:sldMkLst>
          <pc:docMk/>
          <pc:sldMk cId="0" sldId="261"/>
        </pc:sldMkLst>
        <pc:spChg chg="del mod">
          <ac:chgData name="Fivestarly Lathong [Chillibreeze]" userId="479dc9aa-69ea-4a23-b6ea-3a9d26ac15ab" providerId="ADAL" clId="{013ED13C-6829-4378-A6EF-2B6A713739E1}" dt="2024-06-12T12:58:26.439" v="86" actId="21"/>
          <ac:spMkLst>
            <pc:docMk/>
            <pc:sldMk cId="0" sldId="261"/>
            <ac:spMk id="2" creationId="{4D20092F-2B05-6907-207E-3C4BADF4689A}"/>
          </ac:spMkLst>
        </pc:spChg>
        <pc:spChg chg="add del mod">
          <ac:chgData name="Fivestarly Lathong [Chillibreeze]" userId="479dc9aa-69ea-4a23-b6ea-3a9d26ac15ab" providerId="ADAL" clId="{013ED13C-6829-4378-A6EF-2B6A713739E1}" dt="2024-06-12T12:57:04.036" v="70" actId="6264"/>
          <ac:spMkLst>
            <pc:docMk/>
            <pc:sldMk cId="0" sldId="261"/>
            <ac:spMk id="3" creationId="{05EF0408-DE3C-2655-53C9-4E8AC48E3FC5}"/>
          </ac:spMkLst>
        </pc:spChg>
        <pc:spChg chg="mod">
          <ac:chgData name="Fivestarly Lathong [Chillibreeze]" userId="479dc9aa-69ea-4a23-b6ea-3a9d26ac15ab" providerId="ADAL" clId="{013ED13C-6829-4378-A6EF-2B6A713739E1}" dt="2024-06-12T13:15:17.237" v="553"/>
          <ac:spMkLst>
            <pc:docMk/>
            <pc:sldMk cId="0" sldId="261"/>
            <ac:spMk id="4" creationId="{14E13CDE-397A-6910-FA76-73C5E1033D13}"/>
          </ac:spMkLst>
        </pc:spChg>
        <pc:spChg chg="add del mod">
          <ac:chgData name="Fivestarly Lathong [Chillibreeze]" userId="479dc9aa-69ea-4a23-b6ea-3a9d26ac15ab" providerId="ADAL" clId="{013ED13C-6829-4378-A6EF-2B6A713739E1}" dt="2024-06-12T12:57:04.213" v="71" actId="6264"/>
          <ac:spMkLst>
            <pc:docMk/>
            <pc:sldMk cId="0" sldId="261"/>
            <ac:spMk id="4" creationId="{E871BCEE-DE91-3AE2-4CA3-B799C0B3F246}"/>
          </ac:spMkLst>
        </pc:spChg>
        <pc:spChg chg="add del mod ord">
          <ac:chgData name="Fivestarly Lathong [Chillibreeze]" userId="479dc9aa-69ea-4a23-b6ea-3a9d26ac15ab" providerId="ADAL" clId="{013ED13C-6829-4378-A6EF-2B6A713739E1}" dt="2024-06-12T13:03:38.408" v="274" actId="478"/>
          <ac:spMkLst>
            <pc:docMk/>
            <pc:sldMk cId="0" sldId="261"/>
            <ac:spMk id="6" creationId="{D0362F05-4B15-0F33-E295-C14882AD842F}"/>
          </ac:spMkLst>
        </pc:spChg>
        <pc:spChg chg="add mod ord">
          <ac:chgData name="Fivestarly Lathong [Chillibreeze]" userId="479dc9aa-69ea-4a23-b6ea-3a9d26ac15ab" providerId="ADAL" clId="{013ED13C-6829-4378-A6EF-2B6A713739E1}" dt="2024-06-12T12:57:46.606" v="76" actId="167"/>
          <ac:spMkLst>
            <pc:docMk/>
            <pc:sldMk cId="0" sldId="261"/>
            <ac:spMk id="7" creationId="{61547119-BA17-D496-BD78-96AF34F29113}"/>
          </ac:spMkLst>
        </pc:spChg>
        <pc:spChg chg="add mod">
          <ac:chgData name="Fivestarly Lathong [Chillibreeze]" userId="479dc9aa-69ea-4a23-b6ea-3a9d26ac15ab" providerId="ADAL" clId="{013ED13C-6829-4378-A6EF-2B6A713739E1}" dt="2024-06-12T12:58:13.387" v="81"/>
          <ac:spMkLst>
            <pc:docMk/>
            <pc:sldMk cId="0" sldId="261"/>
            <ac:spMk id="8" creationId="{5C9EAAC2-0E5E-95FF-2600-5A4C2B880C01}"/>
          </ac:spMkLst>
        </pc:spChg>
        <pc:spChg chg="mod">
          <ac:chgData name="Fivestarly Lathong [Chillibreeze]" userId="479dc9aa-69ea-4a23-b6ea-3a9d26ac15ab" providerId="ADAL" clId="{013ED13C-6829-4378-A6EF-2B6A713739E1}" dt="2024-06-12T12:58:13.387" v="81"/>
          <ac:spMkLst>
            <pc:docMk/>
            <pc:sldMk cId="0" sldId="261"/>
            <ac:spMk id="10" creationId="{650DF08D-56B8-6EC6-8E33-7EBA09FB3B70}"/>
          </ac:spMkLst>
        </pc:spChg>
        <pc:spChg chg="mod">
          <ac:chgData name="Fivestarly Lathong [Chillibreeze]" userId="479dc9aa-69ea-4a23-b6ea-3a9d26ac15ab" providerId="ADAL" clId="{013ED13C-6829-4378-A6EF-2B6A713739E1}" dt="2024-06-12T12:58:13.387" v="81"/>
          <ac:spMkLst>
            <pc:docMk/>
            <pc:sldMk cId="0" sldId="261"/>
            <ac:spMk id="11" creationId="{DC78F5E9-99B6-D17C-F0F9-8EF1F2A77636}"/>
          </ac:spMkLst>
        </pc:spChg>
        <pc:spChg chg="add mod">
          <ac:chgData name="Fivestarly Lathong [Chillibreeze]" userId="479dc9aa-69ea-4a23-b6ea-3a9d26ac15ab" providerId="ADAL" clId="{013ED13C-6829-4378-A6EF-2B6A713739E1}" dt="2024-06-12T12:58:13.387" v="81"/>
          <ac:spMkLst>
            <pc:docMk/>
            <pc:sldMk cId="0" sldId="261"/>
            <ac:spMk id="12" creationId="{2F7AD0B3-62A3-A81C-C4C5-7AEE96013E65}"/>
          </ac:spMkLst>
        </pc:spChg>
        <pc:spChg chg="add mod">
          <ac:chgData name="Fivestarly Lathong [Chillibreeze]" userId="479dc9aa-69ea-4a23-b6ea-3a9d26ac15ab" providerId="ADAL" clId="{013ED13C-6829-4378-A6EF-2B6A713739E1}" dt="2024-06-12T12:58:21.666" v="84"/>
          <ac:spMkLst>
            <pc:docMk/>
            <pc:sldMk cId="0" sldId="261"/>
            <ac:spMk id="13" creationId="{A12EC51E-E13B-2510-FEDF-84F022D9D005}"/>
          </ac:spMkLst>
        </pc:spChg>
        <pc:spChg chg="add mod">
          <ac:chgData name="Fivestarly Lathong [Chillibreeze]" userId="479dc9aa-69ea-4a23-b6ea-3a9d26ac15ab" providerId="ADAL" clId="{013ED13C-6829-4378-A6EF-2B6A713739E1}" dt="2024-06-12T13:03:35.278" v="273"/>
          <ac:spMkLst>
            <pc:docMk/>
            <pc:sldMk cId="0" sldId="261"/>
            <ac:spMk id="16" creationId="{8707E7EC-4E95-1B42-5490-99CDE5B4FA85}"/>
          </ac:spMkLst>
        </pc:spChg>
        <pc:spChg chg="del mod">
          <ac:chgData name="Fivestarly Lathong [Chillibreeze]" userId="479dc9aa-69ea-4a23-b6ea-3a9d26ac15ab" providerId="ADAL" clId="{013ED13C-6829-4378-A6EF-2B6A713739E1}" dt="2024-06-12T12:58:37.371" v="87" actId="21"/>
          <ac:spMkLst>
            <pc:docMk/>
            <pc:sldMk cId="0" sldId="261"/>
            <ac:spMk id="4168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2:58:37.371" v="87" actId="21"/>
          <ac:spMkLst>
            <pc:docMk/>
            <pc:sldMk cId="0" sldId="261"/>
            <ac:spMk id="4169" creationId="{00000000-0000-0000-0000-000000000000}"/>
          </ac:spMkLst>
        </pc:spChg>
        <pc:spChg chg="mod ord">
          <ac:chgData name="Fivestarly Lathong [Chillibreeze]" userId="479dc9aa-69ea-4a23-b6ea-3a9d26ac15ab" providerId="ADAL" clId="{013ED13C-6829-4378-A6EF-2B6A713739E1}" dt="2024-06-12T12:59:03.809" v="96" actId="20577"/>
          <ac:spMkLst>
            <pc:docMk/>
            <pc:sldMk cId="0" sldId="261"/>
            <ac:spMk id="4170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2:58:38.451" v="88" actId="21"/>
          <ac:spMkLst>
            <pc:docMk/>
            <pc:sldMk cId="0" sldId="261"/>
            <ac:spMk id="4171" creationId="{00000000-0000-0000-0000-000000000000}"/>
          </ac:spMkLst>
        </pc:spChg>
        <pc:grpChg chg="add mod">
          <ac:chgData name="Fivestarly Lathong [Chillibreeze]" userId="479dc9aa-69ea-4a23-b6ea-3a9d26ac15ab" providerId="ADAL" clId="{013ED13C-6829-4378-A6EF-2B6A713739E1}" dt="2024-06-12T12:58:13.387" v="81"/>
          <ac:grpSpMkLst>
            <pc:docMk/>
            <pc:sldMk cId="0" sldId="261"/>
            <ac:grpSpMk id="9" creationId="{1027C6C5-D5E0-6DD5-76AD-14C81AF8BC7F}"/>
          </ac:grpSpMkLst>
        </pc:grpChg>
        <pc:picChg chg="add mod ord">
          <ac:chgData name="Fivestarly Lathong [Chillibreeze]" userId="479dc9aa-69ea-4a23-b6ea-3a9d26ac15ab" providerId="ADAL" clId="{013ED13C-6829-4378-A6EF-2B6A713739E1}" dt="2024-06-12T12:57:46.606" v="76" actId="167"/>
          <ac:picMkLst>
            <pc:docMk/>
            <pc:sldMk cId="0" sldId="261"/>
            <ac:picMk id="5" creationId="{F45F7644-3789-D9D9-9D91-1FC048051E40}"/>
          </ac:picMkLst>
        </pc:picChg>
        <pc:picChg chg="add mod">
          <ac:chgData name="Fivestarly Lathong [Chillibreeze]" userId="479dc9aa-69ea-4a23-b6ea-3a9d26ac15ab" providerId="ADAL" clId="{013ED13C-6829-4378-A6EF-2B6A713739E1}" dt="2024-06-12T12:58:13.387" v="81"/>
          <ac:picMkLst>
            <pc:docMk/>
            <pc:sldMk cId="0" sldId="261"/>
            <ac:picMk id="14" creationId="{55648841-E3E7-EFA7-2B62-F044B60B8FA3}"/>
          </ac:picMkLst>
        </pc:picChg>
        <pc:picChg chg="del mod">
          <ac:chgData name="Fivestarly Lathong [Chillibreeze]" userId="479dc9aa-69ea-4a23-b6ea-3a9d26ac15ab" providerId="ADAL" clId="{013ED13C-6829-4378-A6EF-2B6A713739E1}" dt="2024-06-12T12:58:37.371" v="87" actId="21"/>
          <ac:picMkLst>
            <pc:docMk/>
            <pc:sldMk cId="0" sldId="261"/>
            <ac:picMk id="4172" creationId="{00000000-0000-0000-0000-000000000000}"/>
          </ac:picMkLst>
        </pc:picChg>
        <pc:cxnChg chg="mod">
          <ac:chgData name="Fivestarly Lathong [Chillibreeze]" userId="479dc9aa-69ea-4a23-b6ea-3a9d26ac15ab" providerId="ADAL" clId="{013ED13C-6829-4378-A6EF-2B6A713739E1}" dt="2024-06-12T12:58:59.582" v="95" actId="14100"/>
          <ac:cxnSpMkLst>
            <pc:docMk/>
            <pc:sldMk cId="0" sldId="261"/>
            <ac:cxnSpMk id="3" creationId="{061C990D-85A2-8F7E-002F-4B4AEE7EA494}"/>
          </ac:cxnSpMkLst>
        </pc:cxnChg>
      </pc:sldChg>
      <pc:sldChg chg="addSp delSp modSp mod modClrScheme chgLayout">
        <pc:chgData name="Fivestarly Lathong [Chillibreeze]" userId="479dc9aa-69ea-4a23-b6ea-3a9d26ac15ab" providerId="ADAL" clId="{013ED13C-6829-4378-A6EF-2B6A713739E1}" dt="2024-06-12T13:03:17.816" v="269" actId="478"/>
        <pc:sldMkLst>
          <pc:docMk/>
          <pc:sldMk cId="0" sldId="262"/>
        </pc:sldMkLst>
        <pc:spChg chg="mod ord">
          <ac:chgData name="Fivestarly Lathong [Chillibreeze]" userId="479dc9aa-69ea-4a23-b6ea-3a9d26ac15ab" providerId="ADAL" clId="{013ED13C-6829-4378-A6EF-2B6A713739E1}" dt="2024-06-12T13:03:10.957" v="266" actId="6264"/>
          <ac:spMkLst>
            <pc:docMk/>
            <pc:sldMk cId="0" sldId="262"/>
            <ac:spMk id="2" creationId="{DA83D2E6-7B76-FC27-CD25-600EC9F3955B}"/>
          </ac:spMkLst>
        </pc:spChg>
        <pc:spChg chg="del mod">
          <ac:chgData name="Fivestarly Lathong [Chillibreeze]" userId="479dc9aa-69ea-4a23-b6ea-3a9d26ac15ab" providerId="ADAL" clId="{013ED13C-6829-4378-A6EF-2B6A713739E1}" dt="2024-06-12T12:59:25.876" v="99" actId="21"/>
          <ac:spMkLst>
            <pc:docMk/>
            <pc:sldMk cId="0" sldId="262"/>
            <ac:spMk id="3" creationId="{D22BB94C-2949-CE08-1ECF-2F23E76B54DA}"/>
          </ac:spMkLst>
        </pc:spChg>
        <pc:spChg chg="add mod ord">
          <ac:chgData name="Fivestarly Lathong [Chillibreeze]" userId="479dc9aa-69ea-4a23-b6ea-3a9d26ac15ab" providerId="ADAL" clId="{013ED13C-6829-4378-A6EF-2B6A713739E1}" dt="2024-06-12T12:59:44.989" v="104" actId="167"/>
          <ac:spMkLst>
            <pc:docMk/>
            <pc:sldMk cId="0" sldId="262"/>
            <ac:spMk id="5" creationId="{423CAA25-EB5A-E80D-C071-A8FBBDBFE3ED}"/>
          </ac:spMkLst>
        </pc:spChg>
        <pc:spChg chg="add mod ord">
          <ac:chgData name="Fivestarly Lathong [Chillibreeze]" userId="479dc9aa-69ea-4a23-b6ea-3a9d26ac15ab" providerId="ADAL" clId="{013ED13C-6829-4378-A6EF-2B6A713739E1}" dt="2024-06-12T12:59:44.989" v="104" actId="167"/>
          <ac:spMkLst>
            <pc:docMk/>
            <pc:sldMk cId="0" sldId="262"/>
            <ac:spMk id="6" creationId="{8C9C5E70-8ACA-78C8-55D9-DC46F257848B}"/>
          </ac:spMkLst>
        </pc:spChg>
        <pc:spChg chg="add mod ord">
          <ac:chgData name="Fivestarly Lathong [Chillibreeze]" userId="479dc9aa-69ea-4a23-b6ea-3a9d26ac15ab" providerId="ADAL" clId="{013ED13C-6829-4378-A6EF-2B6A713739E1}" dt="2024-06-12T12:59:44.989" v="104" actId="167"/>
          <ac:spMkLst>
            <pc:docMk/>
            <pc:sldMk cId="0" sldId="262"/>
            <ac:spMk id="7" creationId="{BBF5973E-192E-EE1E-FD25-9DB0642E9FAD}"/>
          </ac:spMkLst>
        </pc:spChg>
        <pc:spChg chg="add mod ord">
          <ac:chgData name="Fivestarly Lathong [Chillibreeze]" userId="479dc9aa-69ea-4a23-b6ea-3a9d26ac15ab" providerId="ADAL" clId="{013ED13C-6829-4378-A6EF-2B6A713739E1}" dt="2024-06-12T12:59:44.989" v="104" actId="167"/>
          <ac:spMkLst>
            <pc:docMk/>
            <pc:sldMk cId="0" sldId="262"/>
            <ac:spMk id="8" creationId="{BCC4DEF5-5DAF-38AB-3685-7595A16B9C4C}"/>
          </ac:spMkLst>
        </pc:spChg>
        <pc:spChg chg="add mod ord">
          <ac:chgData name="Fivestarly Lathong [Chillibreeze]" userId="479dc9aa-69ea-4a23-b6ea-3a9d26ac15ab" providerId="ADAL" clId="{013ED13C-6829-4378-A6EF-2B6A713739E1}" dt="2024-06-12T12:59:44.989" v="104" actId="167"/>
          <ac:spMkLst>
            <pc:docMk/>
            <pc:sldMk cId="0" sldId="262"/>
            <ac:spMk id="9" creationId="{F10A8DAB-AAA2-E475-EE22-8E0D62454001}"/>
          </ac:spMkLst>
        </pc:spChg>
        <pc:spChg chg="add mod ord">
          <ac:chgData name="Fivestarly Lathong [Chillibreeze]" userId="479dc9aa-69ea-4a23-b6ea-3a9d26ac15ab" providerId="ADAL" clId="{013ED13C-6829-4378-A6EF-2B6A713739E1}" dt="2024-06-12T12:59:44.989" v="104" actId="167"/>
          <ac:spMkLst>
            <pc:docMk/>
            <pc:sldMk cId="0" sldId="262"/>
            <ac:spMk id="10" creationId="{6424A8F5-6CE4-6E4E-407B-5C2898B0A726}"/>
          </ac:spMkLst>
        </pc:spChg>
        <pc:spChg chg="add mod ord">
          <ac:chgData name="Fivestarly Lathong [Chillibreeze]" userId="479dc9aa-69ea-4a23-b6ea-3a9d26ac15ab" providerId="ADAL" clId="{013ED13C-6829-4378-A6EF-2B6A713739E1}" dt="2024-06-12T12:59:44.989" v="104" actId="167"/>
          <ac:spMkLst>
            <pc:docMk/>
            <pc:sldMk cId="0" sldId="262"/>
            <ac:spMk id="11" creationId="{897EA1E9-F2CD-0FA0-9E2F-A23240550C05}"/>
          </ac:spMkLst>
        </pc:spChg>
        <pc:spChg chg="add mod ord">
          <ac:chgData name="Fivestarly Lathong [Chillibreeze]" userId="479dc9aa-69ea-4a23-b6ea-3a9d26ac15ab" providerId="ADAL" clId="{013ED13C-6829-4378-A6EF-2B6A713739E1}" dt="2024-06-12T12:59:44.989" v="104" actId="167"/>
          <ac:spMkLst>
            <pc:docMk/>
            <pc:sldMk cId="0" sldId="262"/>
            <ac:spMk id="12" creationId="{55CF9975-230E-5D78-2615-CE680B9934F9}"/>
          </ac:spMkLst>
        </pc:spChg>
        <pc:spChg chg="mod">
          <ac:chgData name="Fivestarly Lathong [Chillibreeze]" userId="479dc9aa-69ea-4a23-b6ea-3a9d26ac15ab" providerId="ADAL" clId="{013ED13C-6829-4378-A6EF-2B6A713739E1}" dt="2024-06-12T12:59:42.997" v="102"/>
          <ac:spMkLst>
            <pc:docMk/>
            <pc:sldMk cId="0" sldId="262"/>
            <ac:spMk id="14" creationId="{1FBFA6C2-517C-C713-7985-20250C5D0B20}"/>
          </ac:spMkLst>
        </pc:spChg>
        <pc:spChg chg="mod">
          <ac:chgData name="Fivestarly Lathong [Chillibreeze]" userId="479dc9aa-69ea-4a23-b6ea-3a9d26ac15ab" providerId="ADAL" clId="{013ED13C-6829-4378-A6EF-2B6A713739E1}" dt="2024-06-12T12:59:42.997" v="102"/>
          <ac:spMkLst>
            <pc:docMk/>
            <pc:sldMk cId="0" sldId="262"/>
            <ac:spMk id="15" creationId="{CB10029B-8CC4-51D7-0AB2-0F874C9DBF2E}"/>
          </ac:spMkLst>
        </pc:spChg>
        <pc:spChg chg="mod">
          <ac:chgData name="Fivestarly Lathong [Chillibreeze]" userId="479dc9aa-69ea-4a23-b6ea-3a9d26ac15ab" providerId="ADAL" clId="{013ED13C-6829-4378-A6EF-2B6A713739E1}" dt="2024-06-12T12:59:42.997" v="102"/>
          <ac:spMkLst>
            <pc:docMk/>
            <pc:sldMk cId="0" sldId="262"/>
            <ac:spMk id="17" creationId="{282786B1-B893-BF8C-7E36-1F11077E083F}"/>
          </ac:spMkLst>
        </pc:spChg>
        <pc:spChg chg="mod">
          <ac:chgData name="Fivestarly Lathong [Chillibreeze]" userId="479dc9aa-69ea-4a23-b6ea-3a9d26ac15ab" providerId="ADAL" clId="{013ED13C-6829-4378-A6EF-2B6A713739E1}" dt="2024-06-12T12:59:42.997" v="102"/>
          <ac:spMkLst>
            <pc:docMk/>
            <pc:sldMk cId="0" sldId="262"/>
            <ac:spMk id="18" creationId="{30F3B035-99CF-93EC-C5EE-2EE2D71BCB06}"/>
          </ac:spMkLst>
        </pc:spChg>
        <pc:spChg chg="mod">
          <ac:chgData name="Fivestarly Lathong [Chillibreeze]" userId="479dc9aa-69ea-4a23-b6ea-3a9d26ac15ab" providerId="ADAL" clId="{013ED13C-6829-4378-A6EF-2B6A713739E1}" dt="2024-06-12T12:59:42.997" v="102"/>
          <ac:spMkLst>
            <pc:docMk/>
            <pc:sldMk cId="0" sldId="262"/>
            <ac:spMk id="20" creationId="{94AFAC89-7E93-E252-C385-EBA6F564B1CC}"/>
          </ac:spMkLst>
        </pc:spChg>
        <pc:spChg chg="mod">
          <ac:chgData name="Fivestarly Lathong [Chillibreeze]" userId="479dc9aa-69ea-4a23-b6ea-3a9d26ac15ab" providerId="ADAL" clId="{013ED13C-6829-4378-A6EF-2B6A713739E1}" dt="2024-06-12T12:59:42.997" v="102"/>
          <ac:spMkLst>
            <pc:docMk/>
            <pc:sldMk cId="0" sldId="262"/>
            <ac:spMk id="21" creationId="{4D82FD48-C3A8-7BBF-0EA4-01CEB2E723DA}"/>
          </ac:spMkLst>
        </pc:spChg>
        <pc:spChg chg="add mod ord">
          <ac:chgData name="Fivestarly Lathong [Chillibreeze]" userId="479dc9aa-69ea-4a23-b6ea-3a9d26ac15ab" providerId="ADAL" clId="{013ED13C-6829-4378-A6EF-2B6A713739E1}" dt="2024-06-12T12:59:44.989" v="104" actId="167"/>
          <ac:spMkLst>
            <pc:docMk/>
            <pc:sldMk cId="0" sldId="262"/>
            <ac:spMk id="22" creationId="{42EF9FCA-ED3D-4519-1B86-D06E77AAE74A}"/>
          </ac:spMkLst>
        </pc:spChg>
        <pc:spChg chg="add mod ord">
          <ac:chgData name="Fivestarly Lathong [Chillibreeze]" userId="479dc9aa-69ea-4a23-b6ea-3a9d26ac15ab" providerId="ADAL" clId="{013ED13C-6829-4378-A6EF-2B6A713739E1}" dt="2024-06-12T12:59:44.989" v="104" actId="167"/>
          <ac:spMkLst>
            <pc:docMk/>
            <pc:sldMk cId="0" sldId="262"/>
            <ac:spMk id="23" creationId="{4F33050B-5994-A1C1-A1C9-69CD16BFAE37}"/>
          </ac:spMkLst>
        </pc:spChg>
        <pc:spChg chg="add mod ord">
          <ac:chgData name="Fivestarly Lathong [Chillibreeze]" userId="479dc9aa-69ea-4a23-b6ea-3a9d26ac15ab" providerId="ADAL" clId="{013ED13C-6829-4378-A6EF-2B6A713739E1}" dt="2024-06-12T12:59:44.989" v="104" actId="167"/>
          <ac:spMkLst>
            <pc:docMk/>
            <pc:sldMk cId="0" sldId="262"/>
            <ac:spMk id="24" creationId="{EE3C3B26-9499-E173-A6E0-0B53159D872D}"/>
          </ac:spMkLst>
        </pc:spChg>
        <pc:spChg chg="add mod ord">
          <ac:chgData name="Fivestarly Lathong [Chillibreeze]" userId="479dc9aa-69ea-4a23-b6ea-3a9d26ac15ab" providerId="ADAL" clId="{013ED13C-6829-4378-A6EF-2B6A713739E1}" dt="2024-06-12T12:59:44.989" v="104" actId="167"/>
          <ac:spMkLst>
            <pc:docMk/>
            <pc:sldMk cId="0" sldId="262"/>
            <ac:spMk id="25" creationId="{54C7B9A9-3509-9566-92F6-C7F408887370}"/>
          </ac:spMkLst>
        </pc:spChg>
        <pc:spChg chg="add del mod ord">
          <ac:chgData name="Fivestarly Lathong [Chillibreeze]" userId="479dc9aa-69ea-4a23-b6ea-3a9d26ac15ab" providerId="ADAL" clId="{013ED13C-6829-4378-A6EF-2B6A713739E1}" dt="2024-06-12T12:59:55.260" v="152" actId="21"/>
          <ac:spMkLst>
            <pc:docMk/>
            <pc:sldMk cId="0" sldId="262"/>
            <ac:spMk id="26" creationId="{C9B7D740-88D7-E996-7389-1071A5AC36F5}"/>
          </ac:spMkLst>
        </pc:spChg>
        <pc:spChg chg="add mod ord">
          <ac:chgData name="Fivestarly Lathong [Chillibreeze]" userId="479dc9aa-69ea-4a23-b6ea-3a9d26ac15ab" providerId="ADAL" clId="{013ED13C-6829-4378-A6EF-2B6A713739E1}" dt="2024-06-12T13:00:05.856" v="157"/>
          <ac:spMkLst>
            <pc:docMk/>
            <pc:sldMk cId="0" sldId="262"/>
            <ac:spMk id="28" creationId="{408814FD-FEE3-C827-3230-74C1A0381A90}"/>
          </ac:spMkLst>
        </pc:spChg>
        <pc:spChg chg="add mod ord">
          <ac:chgData name="Fivestarly Lathong [Chillibreeze]" userId="479dc9aa-69ea-4a23-b6ea-3a9d26ac15ab" providerId="ADAL" clId="{013ED13C-6829-4378-A6EF-2B6A713739E1}" dt="2024-06-12T13:00:12.533" v="160"/>
          <ac:spMkLst>
            <pc:docMk/>
            <pc:sldMk cId="0" sldId="262"/>
            <ac:spMk id="29" creationId="{967CA259-169C-DBB0-064C-0FE32DF80DE1}"/>
          </ac:spMkLst>
        </pc:spChg>
        <pc:spChg chg="add mod ord">
          <ac:chgData name="Fivestarly Lathong [Chillibreeze]" userId="479dc9aa-69ea-4a23-b6ea-3a9d26ac15ab" providerId="ADAL" clId="{013ED13C-6829-4378-A6EF-2B6A713739E1}" dt="2024-06-12T13:00:15.383" v="163"/>
          <ac:spMkLst>
            <pc:docMk/>
            <pc:sldMk cId="0" sldId="262"/>
            <ac:spMk id="30" creationId="{1DB098C4-A74B-890A-0066-7400016D2C5A}"/>
          </ac:spMkLst>
        </pc:spChg>
        <pc:spChg chg="add mod ord">
          <ac:chgData name="Fivestarly Lathong [Chillibreeze]" userId="479dc9aa-69ea-4a23-b6ea-3a9d26ac15ab" providerId="ADAL" clId="{013ED13C-6829-4378-A6EF-2B6A713739E1}" dt="2024-06-12T13:00:17.940" v="166"/>
          <ac:spMkLst>
            <pc:docMk/>
            <pc:sldMk cId="0" sldId="262"/>
            <ac:spMk id="31" creationId="{28D20417-FB8A-D832-4E8D-F2EBBB04179E}"/>
          </ac:spMkLst>
        </pc:spChg>
        <pc:spChg chg="add del mod">
          <ac:chgData name="Fivestarly Lathong [Chillibreeze]" userId="479dc9aa-69ea-4a23-b6ea-3a9d26ac15ab" providerId="ADAL" clId="{013ED13C-6829-4378-A6EF-2B6A713739E1}" dt="2024-06-12T12:59:49.853" v="108" actId="6264"/>
          <ac:spMkLst>
            <pc:docMk/>
            <pc:sldMk cId="0" sldId="262"/>
            <ac:spMk id="32" creationId="{38CF9C1E-4F9A-796D-BA93-3DDD21BD001C}"/>
          </ac:spMkLst>
        </pc:spChg>
        <pc:spChg chg="add del mod">
          <ac:chgData name="Fivestarly Lathong [Chillibreeze]" userId="479dc9aa-69ea-4a23-b6ea-3a9d26ac15ab" providerId="ADAL" clId="{013ED13C-6829-4378-A6EF-2B6A713739E1}" dt="2024-06-12T12:59:50.058" v="109" actId="6264"/>
          <ac:spMkLst>
            <pc:docMk/>
            <pc:sldMk cId="0" sldId="262"/>
            <ac:spMk id="33" creationId="{3422B220-B6AC-A183-522A-0DC2CFAFBBDD}"/>
          </ac:spMkLst>
        </pc:spChg>
        <pc:spChg chg="add del mod">
          <ac:chgData name="Fivestarly Lathong [Chillibreeze]" userId="479dc9aa-69ea-4a23-b6ea-3a9d26ac15ab" providerId="ADAL" clId="{013ED13C-6829-4378-A6EF-2B6A713739E1}" dt="2024-06-12T13:03:17.816" v="269" actId="478"/>
          <ac:spMkLst>
            <pc:docMk/>
            <pc:sldMk cId="0" sldId="262"/>
            <ac:spMk id="34" creationId="{5033250C-1DA5-BD59-792D-1613194848C7}"/>
          </ac:spMkLst>
        </pc:spChg>
        <pc:spChg chg="add del mod ord">
          <ac:chgData name="Fivestarly Lathong [Chillibreeze]" userId="479dc9aa-69ea-4a23-b6ea-3a9d26ac15ab" providerId="ADAL" clId="{013ED13C-6829-4378-A6EF-2B6A713739E1}" dt="2024-06-12T13:03:09.643" v="264" actId="21"/>
          <ac:spMkLst>
            <pc:docMk/>
            <pc:sldMk cId="0" sldId="262"/>
            <ac:spMk id="35" creationId="{B0C79CC1-1F83-116E-0DE4-34C7B128A8BD}"/>
          </ac:spMkLst>
        </pc:spChg>
        <pc:spChg chg="add del mod">
          <ac:chgData name="Fivestarly Lathong [Chillibreeze]" userId="479dc9aa-69ea-4a23-b6ea-3a9d26ac15ab" providerId="ADAL" clId="{013ED13C-6829-4378-A6EF-2B6A713739E1}" dt="2024-06-12T13:03:10.957" v="266" actId="6264"/>
          <ac:spMkLst>
            <pc:docMk/>
            <pc:sldMk cId="0" sldId="262"/>
            <ac:spMk id="36" creationId="{CA9B3644-59A2-EA46-2C33-E9EAA1DB5C29}"/>
          </ac:spMkLst>
        </pc:spChg>
        <pc:spChg chg="add mod">
          <ac:chgData name="Fivestarly Lathong [Chillibreeze]" userId="479dc9aa-69ea-4a23-b6ea-3a9d26ac15ab" providerId="ADAL" clId="{013ED13C-6829-4378-A6EF-2B6A713739E1}" dt="2024-06-12T13:03:16.353" v="268"/>
          <ac:spMkLst>
            <pc:docMk/>
            <pc:sldMk cId="0" sldId="262"/>
            <ac:spMk id="37" creationId="{B0C79CC1-1F83-116E-0DE4-34C7B128A8BD}"/>
          </ac:spMkLst>
        </pc:spChg>
        <pc:spChg chg="del mod">
          <ac:chgData name="Fivestarly Lathong [Chillibreeze]" userId="479dc9aa-69ea-4a23-b6ea-3a9d26ac15ab" providerId="ADAL" clId="{013ED13C-6829-4378-A6EF-2B6A713739E1}" dt="2024-06-12T13:02:45.305" v="227" actId="478"/>
          <ac:spMkLst>
            <pc:docMk/>
            <pc:sldMk cId="0" sldId="262"/>
            <ac:spMk id="4177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3:00:23.512" v="170" actId="21"/>
          <ac:spMkLst>
            <pc:docMk/>
            <pc:sldMk cId="0" sldId="262"/>
            <ac:spMk id="4184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3:00:23.512" v="170" actId="21"/>
          <ac:spMkLst>
            <pc:docMk/>
            <pc:sldMk cId="0" sldId="262"/>
            <ac:spMk id="4185" creationId="{00000000-0000-0000-0000-000000000000}"/>
          </ac:spMkLst>
        </pc:spChg>
        <pc:grpChg chg="add mod ord">
          <ac:chgData name="Fivestarly Lathong [Chillibreeze]" userId="479dc9aa-69ea-4a23-b6ea-3a9d26ac15ab" providerId="ADAL" clId="{013ED13C-6829-4378-A6EF-2B6A713739E1}" dt="2024-06-12T12:59:44.989" v="104" actId="167"/>
          <ac:grpSpMkLst>
            <pc:docMk/>
            <pc:sldMk cId="0" sldId="262"/>
            <ac:grpSpMk id="13" creationId="{CFAE073C-B0D2-7616-B5B8-457EB6714599}"/>
          </ac:grpSpMkLst>
        </pc:grpChg>
        <pc:grpChg chg="add mod ord">
          <ac:chgData name="Fivestarly Lathong [Chillibreeze]" userId="479dc9aa-69ea-4a23-b6ea-3a9d26ac15ab" providerId="ADAL" clId="{013ED13C-6829-4378-A6EF-2B6A713739E1}" dt="2024-06-12T12:59:44.989" v="104" actId="167"/>
          <ac:grpSpMkLst>
            <pc:docMk/>
            <pc:sldMk cId="0" sldId="262"/>
            <ac:grpSpMk id="16" creationId="{B5189078-5776-A415-BE4B-D6898D54FAD3}"/>
          </ac:grpSpMkLst>
        </pc:grpChg>
        <pc:grpChg chg="add mod ord">
          <ac:chgData name="Fivestarly Lathong [Chillibreeze]" userId="479dc9aa-69ea-4a23-b6ea-3a9d26ac15ab" providerId="ADAL" clId="{013ED13C-6829-4378-A6EF-2B6A713739E1}" dt="2024-06-12T12:59:44.989" v="104" actId="167"/>
          <ac:grpSpMkLst>
            <pc:docMk/>
            <pc:sldMk cId="0" sldId="262"/>
            <ac:grpSpMk id="19" creationId="{48AB574E-F43C-6BBC-2C50-B0F53B33BAD6}"/>
          </ac:grpSpMkLst>
        </pc:grpChg>
        <pc:grpChg chg="del mod">
          <ac:chgData name="Fivestarly Lathong [Chillibreeze]" userId="479dc9aa-69ea-4a23-b6ea-3a9d26ac15ab" providerId="ADAL" clId="{013ED13C-6829-4378-A6EF-2B6A713739E1}" dt="2024-06-12T13:00:23.512" v="170" actId="21"/>
          <ac:grpSpMkLst>
            <pc:docMk/>
            <pc:sldMk cId="0" sldId="262"/>
            <ac:grpSpMk id="4178" creationId="{00000000-0000-0000-0000-000000000000}"/>
          </ac:grpSpMkLst>
        </pc:grpChg>
        <pc:grpChg chg="del mod">
          <ac:chgData name="Fivestarly Lathong [Chillibreeze]" userId="479dc9aa-69ea-4a23-b6ea-3a9d26ac15ab" providerId="ADAL" clId="{013ED13C-6829-4378-A6EF-2B6A713739E1}" dt="2024-06-12T13:00:23.512" v="170" actId="21"/>
          <ac:grpSpMkLst>
            <pc:docMk/>
            <pc:sldMk cId="0" sldId="262"/>
            <ac:grpSpMk id="4181" creationId="{00000000-0000-0000-0000-000000000000}"/>
          </ac:grpSpMkLst>
        </pc:grpChg>
        <pc:grpChg chg="del mod">
          <ac:chgData name="Fivestarly Lathong [Chillibreeze]" userId="479dc9aa-69ea-4a23-b6ea-3a9d26ac15ab" providerId="ADAL" clId="{013ED13C-6829-4378-A6EF-2B6A713739E1}" dt="2024-06-12T13:00:23.512" v="170" actId="21"/>
          <ac:grpSpMkLst>
            <pc:docMk/>
            <pc:sldMk cId="0" sldId="262"/>
            <ac:grpSpMk id="4187" creationId="{00000000-0000-0000-0000-000000000000}"/>
          </ac:grpSpMkLst>
        </pc:grpChg>
        <pc:picChg chg="add mod ord">
          <ac:chgData name="Fivestarly Lathong [Chillibreeze]" userId="479dc9aa-69ea-4a23-b6ea-3a9d26ac15ab" providerId="ADAL" clId="{013ED13C-6829-4378-A6EF-2B6A713739E1}" dt="2024-06-12T12:59:44.989" v="104" actId="167"/>
          <ac:picMkLst>
            <pc:docMk/>
            <pc:sldMk cId="0" sldId="262"/>
            <ac:picMk id="4" creationId="{C1E54C84-6524-C807-055D-A660C5FA6B05}"/>
          </ac:picMkLst>
        </pc:picChg>
        <pc:picChg chg="add mod ord">
          <ac:chgData name="Fivestarly Lathong [Chillibreeze]" userId="479dc9aa-69ea-4a23-b6ea-3a9d26ac15ab" providerId="ADAL" clId="{013ED13C-6829-4378-A6EF-2B6A713739E1}" dt="2024-06-12T12:59:44.989" v="104" actId="167"/>
          <ac:picMkLst>
            <pc:docMk/>
            <pc:sldMk cId="0" sldId="262"/>
            <ac:picMk id="27" creationId="{E8E57ED4-10BD-E488-268F-09BC4E2EB2CB}"/>
          </ac:picMkLst>
        </pc:picChg>
        <pc:picChg chg="add del mod">
          <ac:chgData name="Fivestarly Lathong [Chillibreeze]" userId="479dc9aa-69ea-4a23-b6ea-3a9d26ac15ab" providerId="ADAL" clId="{013ED13C-6829-4378-A6EF-2B6A713739E1}" dt="2024-06-12T13:00:21.004" v="169" actId="21"/>
          <ac:picMkLst>
            <pc:docMk/>
            <pc:sldMk cId="0" sldId="262"/>
            <ac:picMk id="4186" creationId="{00000000-0000-0000-0000-000000000000}"/>
          </ac:picMkLst>
        </pc:picChg>
      </pc:sldChg>
      <pc:sldChg chg="addSp delSp modSp mod setBg modClrScheme chgLayout">
        <pc:chgData name="Fivestarly Lathong [Chillibreeze]" userId="479dc9aa-69ea-4a23-b6ea-3a9d26ac15ab" providerId="ADAL" clId="{013ED13C-6829-4378-A6EF-2B6A713739E1}" dt="2024-06-12T13:01:39.596" v="199" actId="21"/>
        <pc:sldMkLst>
          <pc:docMk/>
          <pc:sldMk cId="0" sldId="263"/>
        </pc:sldMkLst>
        <pc:spChg chg="del mod ord">
          <ac:chgData name="Fivestarly Lathong [Chillibreeze]" userId="479dc9aa-69ea-4a23-b6ea-3a9d26ac15ab" providerId="ADAL" clId="{013ED13C-6829-4378-A6EF-2B6A713739E1}" dt="2024-06-12T13:00:46.434" v="174" actId="700"/>
          <ac:spMkLst>
            <pc:docMk/>
            <pc:sldMk cId="0" sldId="263"/>
            <ac:spMk id="2" creationId="{14CDFB26-7018-9931-84B1-743414E9BB4B}"/>
          </ac:spMkLst>
        </pc:spChg>
        <pc:spChg chg="del mod">
          <ac:chgData name="Fivestarly Lathong [Chillibreeze]" userId="479dc9aa-69ea-4a23-b6ea-3a9d26ac15ab" providerId="ADAL" clId="{013ED13C-6829-4378-A6EF-2B6A713739E1}" dt="2024-06-12T13:01:39.596" v="199" actId="21"/>
          <ac:spMkLst>
            <pc:docMk/>
            <pc:sldMk cId="0" sldId="263"/>
            <ac:spMk id="3" creationId="{87B37D47-4D21-88E5-59A6-2B3D8B4DC1CA}"/>
          </ac:spMkLst>
        </pc:spChg>
        <pc:spChg chg="add mod ord">
          <ac:chgData name="Fivestarly Lathong [Chillibreeze]" userId="479dc9aa-69ea-4a23-b6ea-3a9d26ac15ab" providerId="ADAL" clId="{013ED13C-6829-4378-A6EF-2B6A713739E1}" dt="2024-06-12T13:01:37.184" v="198" actId="166"/>
          <ac:spMkLst>
            <pc:docMk/>
            <pc:sldMk cId="0" sldId="263"/>
            <ac:spMk id="4" creationId="{C99ED3D4-8D2E-CC53-3329-3FAC7B4F12EE}"/>
          </ac:spMkLst>
        </pc:spChg>
        <pc:spChg chg="mod">
          <ac:chgData name="Fivestarly Lathong [Chillibreeze]" userId="479dc9aa-69ea-4a23-b6ea-3a9d26ac15ab" providerId="ADAL" clId="{013ED13C-6829-4378-A6EF-2B6A713739E1}" dt="2024-06-12T13:00:52.263" v="176"/>
          <ac:spMkLst>
            <pc:docMk/>
            <pc:sldMk cId="0" sldId="263"/>
            <ac:spMk id="6" creationId="{A1050A3F-58F3-ED28-22E0-5CF75CA5FDAE}"/>
          </ac:spMkLst>
        </pc:spChg>
        <pc:spChg chg="mod">
          <ac:chgData name="Fivestarly Lathong [Chillibreeze]" userId="479dc9aa-69ea-4a23-b6ea-3a9d26ac15ab" providerId="ADAL" clId="{013ED13C-6829-4378-A6EF-2B6A713739E1}" dt="2024-06-12T13:00:52.263" v="176"/>
          <ac:spMkLst>
            <pc:docMk/>
            <pc:sldMk cId="0" sldId="263"/>
            <ac:spMk id="7" creationId="{EAF24742-6732-CC2B-1976-8529D706B19F}"/>
          </ac:spMkLst>
        </pc:spChg>
        <pc:spChg chg="add mod">
          <ac:chgData name="Fivestarly Lathong [Chillibreeze]" userId="479dc9aa-69ea-4a23-b6ea-3a9d26ac15ab" providerId="ADAL" clId="{013ED13C-6829-4378-A6EF-2B6A713739E1}" dt="2024-06-12T13:00:52.263" v="176"/>
          <ac:spMkLst>
            <pc:docMk/>
            <pc:sldMk cId="0" sldId="263"/>
            <ac:spMk id="8" creationId="{5D6BD453-F336-6004-D669-A28A0CB4FACB}"/>
          </ac:spMkLst>
        </pc:spChg>
        <pc:spChg chg="add mod">
          <ac:chgData name="Fivestarly Lathong [Chillibreeze]" userId="479dc9aa-69ea-4a23-b6ea-3a9d26ac15ab" providerId="ADAL" clId="{013ED13C-6829-4378-A6EF-2B6A713739E1}" dt="2024-06-12T13:00:52.263" v="176"/>
          <ac:spMkLst>
            <pc:docMk/>
            <pc:sldMk cId="0" sldId="263"/>
            <ac:spMk id="9" creationId="{071C0064-0FC9-5FF2-F2EE-34B6CC1A0665}"/>
          </ac:spMkLst>
        </pc:spChg>
        <pc:spChg chg="add mod">
          <ac:chgData name="Fivestarly Lathong [Chillibreeze]" userId="479dc9aa-69ea-4a23-b6ea-3a9d26ac15ab" providerId="ADAL" clId="{013ED13C-6829-4378-A6EF-2B6A713739E1}" dt="2024-06-12T13:00:52.263" v="176"/>
          <ac:spMkLst>
            <pc:docMk/>
            <pc:sldMk cId="0" sldId="263"/>
            <ac:spMk id="10" creationId="{465E9F60-F797-AB92-FCB1-318DDDCBBE1F}"/>
          </ac:spMkLst>
        </pc:spChg>
        <pc:spChg chg="add mod">
          <ac:chgData name="Fivestarly Lathong [Chillibreeze]" userId="479dc9aa-69ea-4a23-b6ea-3a9d26ac15ab" providerId="ADAL" clId="{013ED13C-6829-4378-A6EF-2B6A713739E1}" dt="2024-06-12T13:01:35.140" v="197" actId="12788"/>
          <ac:spMkLst>
            <pc:docMk/>
            <pc:sldMk cId="0" sldId="263"/>
            <ac:spMk id="11" creationId="{FD869AB0-2B99-EBD8-1BE7-D46616F0574A}"/>
          </ac:spMkLst>
        </pc:spChg>
        <pc:spChg chg="add del mod">
          <ac:chgData name="Fivestarly Lathong [Chillibreeze]" userId="479dc9aa-69ea-4a23-b6ea-3a9d26ac15ab" providerId="ADAL" clId="{013ED13C-6829-4378-A6EF-2B6A713739E1}" dt="2024-06-12T13:01:11.515" v="184" actId="6264"/>
          <ac:spMkLst>
            <pc:docMk/>
            <pc:sldMk cId="0" sldId="263"/>
            <ac:spMk id="16" creationId="{82E1B0D7-0A62-39D0-DE90-5D289C5ACF1A}"/>
          </ac:spMkLst>
        </pc:spChg>
        <pc:spChg chg="del">
          <ac:chgData name="Fivestarly Lathong [Chillibreeze]" userId="479dc9aa-69ea-4a23-b6ea-3a9d26ac15ab" providerId="ADAL" clId="{013ED13C-6829-4378-A6EF-2B6A713739E1}" dt="2024-06-12T13:00:56.969" v="177" actId="21"/>
          <ac:spMkLst>
            <pc:docMk/>
            <pc:sldMk cId="0" sldId="263"/>
            <ac:spMk id="4194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3:01:39.596" v="199" actId="21"/>
          <ac:spMkLst>
            <pc:docMk/>
            <pc:sldMk cId="0" sldId="263"/>
            <ac:spMk id="4195" creationId="{00000000-0000-0000-0000-000000000000}"/>
          </ac:spMkLst>
        </pc:spChg>
        <pc:grpChg chg="add mod">
          <ac:chgData name="Fivestarly Lathong [Chillibreeze]" userId="479dc9aa-69ea-4a23-b6ea-3a9d26ac15ab" providerId="ADAL" clId="{013ED13C-6829-4378-A6EF-2B6A713739E1}" dt="2024-06-12T13:00:52.263" v="176"/>
          <ac:grpSpMkLst>
            <pc:docMk/>
            <pc:sldMk cId="0" sldId="263"/>
            <ac:grpSpMk id="5" creationId="{021F83E8-C89D-5C48-D7C4-1103084E4E28}"/>
          </ac:grpSpMkLst>
        </pc:grpChg>
        <pc:picChg chg="add mod">
          <ac:chgData name="Fivestarly Lathong [Chillibreeze]" userId="479dc9aa-69ea-4a23-b6ea-3a9d26ac15ab" providerId="ADAL" clId="{013ED13C-6829-4378-A6EF-2B6A713739E1}" dt="2024-06-12T13:00:52.263" v="176"/>
          <ac:picMkLst>
            <pc:docMk/>
            <pc:sldMk cId="0" sldId="263"/>
            <ac:picMk id="12" creationId="{FABF9BC9-D6E7-B152-BDEB-1ECFC8CD430D}"/>
          </ac:picMkLst>
        </pc:picChg>
        <pc:picChg chg="add mod">
          <ac:chgData name="Fivestarly Lathong [Chillibreeze]" userId="479dc9aa-69ea-4a23-b6ea-3a9d26ac15ab" providerId="ADAL" clId="{013ED13C-6829-4378-A6EF-2B6A713739E1}" dt="2024-06-12T13:00:52.263" v="176"/>
          <ac:picMkLst>
            <pc:docMk/>
            <pc:sldMk cId="0" sldId="263"/>
            <ac:picMk id="13" creationId="{44025AE8-5CBE-CDDF-CFEF-8B04B2B71EA9}"/>
          </ac:picMkLst>
        </pc:picChg>
        <pc:picChg chg="add mod">
          <ac:chgData name="Fivestarly Lathong [Chillibreeze]" userId="479dc9aa-69ea-4a23-b6ea-3a9d26ac15ab" providerId="ADAL" clId="{013ED13C-6829-4378-A6EF-2B6A713739E1}" dt="2024-06-12T13:00:52.263" v="176"/>
          <ac:picMkLst>
            <pc:docMk/>
            <pc:sldMk cId="0" sldId="263"/>
            <ac:picMk id="14" creationId="{7671615E-875A-F185-B406-B4F2DBE8808D}"/>
          </ac:picMkLst>
        </pc:picChg>
        <pc:picChg chg="add mod">
          <ac:chgData name="Fivestarly Lathong [Chillibreeze]" userId="479dc9aa-69ea-4a23-b6ea-3a9d26ac15ab" providerId="ADAL" clId="{013ED13C-6829-4378-A6EF-2B6A713739E1}" dt="2024-06-12T13:00:52.263" v="176"/>
          <ac:picMkLst>
            <pc:docMk/>
            <pc:sldMk cId="0" sldId="263"/>
            <ac:picMk id="15" creationId="{646E3D12-FEB7-CD38-F6DD-7F40434EE476}"/>
          </ac:picMkLst>
        </pc:picChg>
      </pc:sldChg>
      <pc:sldChg chg="addSp delSp modSp mod setBg modClrScheme chgLayout">
        <pc:chgData name="Fivestarly Lathong [Chillibreeze]" userId="479dc9aa-69ea-4a23-b6ea-3a9d26ac15ab" providerId="ADAL" clId="{013ED13C-6829-4378-A6EF-2B6A713739E1}" dt="2024-06-12T14:36:21.085" v="1740" actId="6549"/>
        <pc:sldMkLst>
          <pc:docMk/>
          <pc:sldMk cId="0" sldId="264"/>
        </pc:sldMkLst>
        <pc:spChg chg="del mod ord">
          <ac:chgData name="Fivestarly Lathong [Chillibreeze]" userId="479dc9aa-69ea-4a23-b6ea-3a9d26ac15ab" providerId="ADAL" clId="{013ED13C-6829-4378-A6EF-2B6A713739E1}" dt="2024-06-12T13:01:55.450" v="203" actId="700"/>
          <ac:spMkLst>
            <pc:docMk/>
            <pc:sldMk cId="0" sldId="264"/>
            <ac:spMk id="2" creationId="{022700C3-074F-9758-CE8A-15DDF0F12DEE}"/>
          </ac:spMkLst>
        </pc:spChg>
        <pc:spChg chg="del">
          <ac:chgData name="Fivestarly Lathong [Chillibreeze]" userId="479dc9aa-69ea-4a23-b6ea-3a9d26ac15ab" providerId="ADAL" clId="{013ED13C-6829-4378-A6EF-2B6A713739E1}" dt="2024-06-12T13:01:45.569" v="200" actId="21"/>
          <ac:spMkLst>
            <pc:docMk/>
            <pc:sldMk cId="0" sldId="264"/>
            <ac:spMk id="3" creationId="{867BC949-4A6A-1D04-4ED5-583832424B68}"/>
          </ac:spMkLst>
        </pc:spChg>
        <pc:spChg chg="add mod ord">
          <ac:chgData name="Fivestarly Lathong [Chillibreeze]" userId="479dc9aa-69ea-4a23-b6ea-3a9d26ac15ab" providerId="ADAL" clId="{013ED13C-6829-4378-A6EF-2B6A713739E1}" dt="2024-06-12T14:36:21.085" v="1740" actId="6549"/>
          <ac:spMkLst>
            <pc:docMk/>
            <pc:sldMk cId="0" sldId="264"/>
            <ac:spMk id="4" creationId="{35EE7085-A9F2-E6E6-C142-113F8AC93A80}"/>
          </ac:spMkLst>
        </pc:spChg>
        <pc:spChg chg="add del mod">
          <ac:chgData name="Fivestarly Lathong [Chillibreeze]" userId="479dc9aa-69ea-4a23-b6ea-3a9d26ac15ab" providerId="ADAL" clId="{013ED13C-6829-4378-A6EF-2B6A713739E1}" dt="2024-06-12T13:02:09.971" v="208" actId="6264"/>
          <ac:spMkLst>
            <pc:docMk/>
            <pc:sldMk cId="0" sldId="264"/>
            <ac:spMk id="5" creationId="{298DFA8C-5B71-4B6E-71AD-0ADD2653E607}"/>
          </ac:spMkLst>
        </pc:spChg>
        <pc:spChg chg="add del mod">
          <ac:chgData name="Fivestarly Lathong [Chillibreeze]" userId="479dc9aa-69ea-4a23-b6ea-3a9d26ac15ab" providerId="ADAL" clId="{013ED13C-6829-4378-A6EF-2B6A713739E1}" dt="2024-06-12T13:02:10.165" v="209" actId="6264"/>
          <ac:spMkLst>
            <pc:docMk/>
            <pc:sldMk cId="0" sldId="264"/>
            <ac:spMk id="6" creationId="{23EABEB7-DCA2-F2E0-BA56-4132DAABA38B}"/>
          </ac:spMkLst>
        </pc:spChg>
        <pc:spChg chg="add mod ord">
          <ac:chgData name="Fivestarly Lathong [Chillibreeze]" userId="479dc9aa-69ea-4a23-b6ea-3a9d26ac15ab" providerId="ADAL" clId="{013ED13C-6829-4378-A6EF-2B6A713739E1}" dt="2024-06-12T13:48:22.805" v="959" actId="167"/>
          <ac:spMkLst>
            <pc:docMk/>
            <pc:sldMk cId="0" sldId="264"/>
            <ac:spMk id="8" creationId="{14EE387F-A824-BEA6-A1AB-3FA3CE25EB8D}"/>
          </ac:spMkLst>
        </pc:spChg>
        <pc:spChg chg="add mod ord">
          <ac:chgData name="Fivestarly Lathong [Chillibreeze]" userId="479dc9aa-69ea-4a23-b6ea-3a9d26ac15ab" providerId="ADAL" clId="{013ED13C-6829-4378-A6EF-2B6A713739E1}" dt="2024-06-12T13:48:22.805" v="959" actId="167"/>
          <ac:spMkLst>
            <pc:docMk/>
            <pc:sldMk cId="0" sldId="264"/>
            <ac:spMk id="9" creationId="{0EA31F0C-44F2-5679-2CA5-FCE692F8ADAF}"/>
          </ac:spMkLst>
        </pc:spChg>
        <pc:spChg chg="add mod">
          <ac:chgData name="Fivestarly Lathong [Chillibreeze]" userId="479dc9aa-69ea-4a23-b6ea-3a9d26ac15ab" providerId="ADAL" clId="{013ED13C-6829-4378-A6EF-2B6A713739E1}" dt="2024-06-12T13:03:48.873" v="275"/>
          <ac:spMkLst>
            <pc:docMk/>
            <pc:sldMk cId="0" sldId="264"/>
            <ac:spMk id="10" creationId="{F4683D32-C8D9-9CF1-3EB3-B59C71F4E176}"/>
          </ac:spMkLst>
        </pc:spChg>
        <pc:spChg chg="add mod">
          <ac:chgData name="Fivestarly Lathong [Chillibreeze]" userId="479dc9aa-69ea-4a23-b6ea-3a9d26ac15ab" providerId="ADAL" clId="{013ED13C-6829-4378-A6EF-2B6A713739E1}" dt="2024-06-12T13:03:48.873" v="275"/>
          <ac:spMkLst>
            <pc:docMk/>
            <pc:sldMk cId="0" sldId="264"/>
            <ac:spMk id="12" creationId="{515A3027-DCD0-E0ED-9DC6-2163349007A3}"/>
          </ac:spMkLst>
        </pc:spChg>
        <pc:spChg chg="add mod">
          <ac:chgData name="Fivestarly Lathong [Chillibreeze]" userId="479dc9aa-69ea-4a23-b6ea-3a9d26ac15ab" providerId="ADAL" clId="{013ED13C-6829-4378-A6EF-2B6A713739E1}" dt="2024-06-12T13:03:48.873" v="275"/>
          <ac:spMkLst>
            <pc:docMk/>
            <pc:sldMk cId="0" sldId="264"/>
            <ac:spMk id="13" creationId="{FE4FBF3A-FB9B-BE5C-18D6-1C77749AC876}"/>
          </ac:spMkLst>
        </pc:spChg>
        <pc:spChg chg="add mod">
          <ac:chgData name="Fivestarly Lathong [Chillibreeze]" userId="479dc9aa-69ea-4a23-b6ea-3a9d26ac15ab" providerId="ADAL" clId="{013ED13C-6829-4378-A6EF-2B6A713739E1}" dt="2024-06-12T13:03:48.873" v="275"/>
          <ac:spMkLst>
            <pc:docMk/>
            <pc:sldMk cId="0" sldId="264"/>
            <ac:spMk id="14" creationId="{45AAC02B-4233-22D9-D5EE-4C6A27654F23}"/>
          </ac:spMkLst>
        </pc:spChg>
        <pc:spChg chg="add mod">
          <ac:chgData name="Fivestarly Lathong [Chillibreeze]" userId="479dc9aa-69ea-4a23-b6ea-3a9d26ac15ab" providerId="ADAL" clId="{013ED13C-6829-4378-A6EF-2B6A713739E1}" dt="2024-06-12T13:04:16.155" v="284"/>
          <ac:spMkLst>
            <pc:docMk/>
            <pc:sldMk cId="0" sldId="264"/>
            <ac:spMk id="16" creationId="{B0F05E7E-F609-2A9C-BA34-2D723143E3A2}"/>
          </ac:spMkLst>
        </pc:spChg>
        <pc:spChg chg="add mod">
          <ac:chgData name="Fivestarly Lathong [Chillibreeze]" userId="479dc9aa-69ea-4a23-b6ea-3a9d26ac15ab" providerId="ADAL" clId="{013ED13C-6829-4378-A6EF-2B6A713739E1}" dt="2024-06-12T13:04:24.265" v="291"/>
          <ac:spMkLst>
            <pc:docMk/>
            <pc:sldMk cId="0" sldId="264"/>
            <ac:spMk id="18" creationId="{35005348-36CB-528B-5B05-583D720923BF}"/>
          </ac:spMkLst>
        </pc:spChg>
        <pc:spChg chg="add mod">
          <ac:chgData name="Fivestarly Lathong [Chillibreeze]" userId="479dc9aa-69ea-4a23-b6ea-3a9d26ac15ab" providerId="ADAL" clId="{013ED13C-6829-4378-A6EF-2B6A713739E1}" dt="2024-06-12T13:04:31.752" v="296"/>
          <ac:spMkLst>
            <pc:docMk/>
            <pc:sldMk cId="0" sldId="264"/>
            <ac:spMk id="20" creationId="{516F58AC-F450-F384-F3DC-51F4EE6E1F24}"/>
          </ac:spMkLst>
        </pc:spChg>
        <pc:spChg chg="add mod">
          <ac:chgData name="Fivestarly Lathong [Chillibreeze]" userId="479dc9aa-69ea-4a23-b6ea-3a9d26ac15ab" providerId="ADAL" clId="{013ED13C-6829-4378-A6EF-2B6A713739E1}" dt="2024-06-12T13:03:48.873" v="275"/>
          <ac:spMkLst>
            <pc:docMk/>
            <pc:sldMk cId="0" sldId="264"/>
            <ac:spMk id="22" creationId="{169B7895-4F5A-E7C1-47C3-DB1FA07D59FD}"/>
          </ac:spMkLst>
        </pc:spChg>
        <pc:spChg chg="add mod">
          <ac:chgData name="Fivestarly Lathong [Chillibreeze]" userId="479dc9aa-69ea-4a23-b6ea-3a9d26ac15ab" providerId="ADAL" clId="{013ED13C-6829-4378-A6EF-2B6A713739E1}" dt="2024-06-12T13:04:59.900" v="307"/>
          <ac:spMkLst>
            <pc:docMk/>
            <pc:sldMk cId="0" sldId="264"/>
            <ac:spMk id="23" creationId="{139F8BF8-4DF9-E34D-2FDD-56E1E45FCA8B}"/>
          </ac:spMkLst>
        </pc:spChg>
        <pc:spChg chg="add mod">
          <ac:chgData name="Fivestarly Lathong [Chillibreeze]" userId="479dc9aa-69ea-4a23-b6ea-3a9d26ac15ab" providerId="ADAL" clId="{013ED13C-6829-4378-A6EF-2B6A713739E1}" dt="2024-06-12T13:04:53.483" v="304"/>
          <ac:spMkLst>
            <pc:docMk/>
            <pc:sldMk cId="0" sldId="264"/>
            <ac:spMk id="24" creationId="{0103AA3A-4E02-AC12-F6B8-143D5D6F9325}"/>
          </ac:spMkLst>
        </pc:spChg>
        <pc:spChg chg="del mod">
          <ac:chgData name="Fivestarly Lathong [Chillibreeze]" userId="479dc9aa-69ea-4a23-b6ea-3a9d26ac15ab" providerId="ADAL" clId="{013ED13C-6829-4378-A6EF-2B6A713739E1}" dt="2024-06-12T13:05:02.389" v="308" actId="21"/>
          <ac:spMkLst>
            <pc:docMk/>
            <pc:sldMk cId="0" sldId="264"/>
            <ac:spMk id="4201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3:14:27.426" v="540" actId="21"/>
          <ac:spMkLst>
            <pc:docMk/>
            <pc:sldMk cId="0" sldId="264"/>
            <ac:spMk id="4202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3:14:27.426" v="540" actId="21"/>
          <ac:spMkLst>
            <pc:docMk/>
            <pc:sldMk cId="0" sldId="264"/>
            <ac:spMk id="4203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3:05:02.389" v="308" actId="21"/>
          <ac:spMkLst>
            <pc:docMk/>
            <pc:sldMk cId="0" sldId="264"/>
            <ac:spMk id="4204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3:14:27.426" v="540" actId="21"/>
          <ac:spMkLst>
            <pc:docMk/>
            <pc:sldMk cId="0" sldId="264"/>
            <ac:spMk id="4205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3:05:02.389" v="308" actId="21"/>
          <ac:spMkLst>
            <pc:docMk/>
            <pc:sldMk cId="0" sldId="264"/>
            <ac:spMk id="4206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3:05:02.389" v="308" actId="21"/>
          <ac:spMkLst>
            <pc:docMk/>
            <pc:sldMk cId="0" sldId="264"/>
            <ac:spMk id="4207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3:14:27.426" v="540" actId="21"/>
          <ac:spMkLst>
            <pc:docMk/>
            <pc:sldMk cId="0" sldId="264"/>
            <ac:spMk id="4209" creationId="{00000000-0000-0000-0000-000000000000}"/>
          </ac:spMkLst>
        </pc:spChg>
        <pc:picChg chg="add mod ord">
          <ac:chgData name="Fivestarly Lathong [Chillibreeze]" userId="479dc9aa-69ea-4a23-b6ea-3a9d26ac15ab" providerId="ADAL" clId="{013ED13C-6829-4378-A6EF-2B6A713739E1}" dt="2024-06-12T13:48:22.805" v="959" actId="167"/>
          <ac:picMkLst>
            <pc:docMk/>
            <pc:sldMk cId="0" sldId="264"/>
            <ac:picMk id="7" creationId="{5DFE599B-9C8C-3928-DED0-707493AEE83C}"/>
          </ac:picMkLst>
        </pc:picChg>
        <pc:picChg chg="add mod">
          <ac:chgData name="Fivestarly Lathong [Chillibreeze]" userId="479dc9aa-69ea-4a23-b6ea-3a9d26ac15ab" providerId="ADAL" clId="{013ED13C-6829-4378-A6EF-2B6A713739E1}" dt="2024-06-12T13:03:48.873" v="275"/>
          <ac:picMkLst>
            <pc:docMk/>
            <pc:sldMk cId="0" sldId="264"/>
            <ac:picMk id="11" creationId="{64BE2B88-46B0-FBA9-A054-A253B6C0359B}"/>
          </ac:picMkLst>
        </pc:picChg>
        <pc:picChg chg="add mod">
          <ac:chgData name="Fivestarly Lathong [Chillibreeze]" userId="479dc9aa-69ea-4a23-b6ea-3a9d26ac15ab" providerId="ADAL" clId="{013ED13C-6829-4378-A6EF-2B6A713739E1}" dt="2024-06-12T13:03:48.873" v="275"/>
          <ac:picMkLst>
            <pc:docMk/>
            <pc:sldMk cId="0" sldId="264"/>
            <ac:picMk id="15" creationId="{1DC9A32E-4FB5-43E0-A18D-3A7CAAD2AC2A}"/>
          </ac:picMkLst>
        </pc:picChg>
        <pc:picChg chg="add mod">
          <ac:chgData name="Fivestarly Lathong [Chillibreeze]" userId="479dc9aa-69ea-4a23-b6ea-3a9d26ac15ab" providerId="ADAL" clId="{013ED13C-6829-4378-A6EF-2B6A713739E1}" dt="2024-06-12T13:03:48.873" v="275"/>
          <ac:picMkLst>
            <pc:docMk/>
            <pc:sldMk cId="0" sldId="264"/>
            <ac:picMk id="17" creationId="{E89ECBF4-FCDC-F6D7-6E44-AB403A0112DD}"/>
          </ac:picMkLst>
        </pc:picChg>
        <pc:picChg chg="add mod">
          <ac:chgData name="Fivestarly Lathong [Chillibreeze]" userId="479dc9aa-69ea-4a23-b6ea-3a9d26ac15ab" providerId="ADAL" clId="{013ED13C-6829-4378-A6EF-2B6A713739E1}" dt="2024-06-12T13:03:48.873" v="275"/>
          <ac:picMkLst>
            <pc:docMk/>
            <pc:sldMk cId="0" sldId="264"/>
            <ac:picMk id="19" creationId="{EF218C7C-279A-4615-06A7-D7EDA9C24D6D}"/>
          </ac:picMkLst>
        </pc:picChg>
        <pc:picChg chg="add mod">
          <ac:chgData name="Fivestarly Lathong [Chillibreeze]" userId="479dc9aa-69ea-4a23-b6ea-3a9d26ac15ab" providerId="ADAL" clId="{013ED13C-6829-4378-A6EF-2B6A713739E1}" dt="2024-06-12T13:03:48.873" v="275"/>
          <ac:picMkLst>
            <pc:docMk/>
            <pc:sldMk cId="0" sldId="264"/>
            <ac:picMk id="21" creationId="{B8D85C98-C0D9-4B33-95B1-6481A28F2EDF}"/>
          </ac:picMkLst>
        </pc:picChg>
        <pc:picChg chg="del mod">
          <ac:chgData name="Fivestarly Lathong [Chillibreeze]" userId="479dc9aa-69ea-4a23-b6ea-3a9d26ac15ab" providerId="ADAL" clId="{013ED13C-6829-4378-A6EF-2B6A713739E1}" dt="2024-06-12T13:05:02.389" v="308" actId="21"/>
          <ac:picMkLst>
            <pc:docMk/>
            <pc:sldMk cId="0" sldId="264"/>
            <ac:picMk id="4200" creationId="{00000000-0000-0000-0000-000000000000}"/>
          </ac:picMkLst>
        </pc:picChg>
        <pc:picChg chg="del mod">
          <ac:chgData name="Fivestarly Lathong [Chillibreeze]" userId="479dc9aa-69ea-4a23-b6ea-3a9d26ac15ab" providerId="ADAL" clId="{013ED13C-6829-4378-A6EF-2B6A713739E1}" dt="2024-06-12T13:05:02.389" v="308" actId="21"/>
          <ac:picMkLst>
            <pc:docMk/>
            <pc:sldMk cId="0" sldId="264"/>
            <ac:picMk id="4208" creationId="{00000000-0000-0000-0000-000000000000}"/>
          </ac:picMkLst>
        </pc:picChg>
        <pc:picChg chg="del mod">
          <ac:chgData name="Fivestarly Lathong [Chillibreeze]" userId="479dc9aa-69ea-4a23-b6ea-3a9d26ac15ab" providerId="ADAL" clId="{013ED13C-6829-4378-A6EF-2B6A713739E1}" dt="2024-06-12T13:05:02.389" v="308" actId="21"/>
          <ac:picMkLst>
            <pc:docMk/>
            <pc:sldMk cId="0" sldId="264"/>
            <ac:picMk id="4210" creationId="{00000000-0000-0000-0000-000000000000}"/>
          </ac:picMkLst>
        </pc:picChg>
        <pc:picChg chg="del mod">
          <ac:chgData name="Fivestarly Lathong [Chillibreeze]" userId="479dc9aa-69ea-4a23-b6ea-3a9d26ac15ab" providerId="ADAL" clId="{013ED13C-6829-4378-A6EF-2B6A713739E1}" dt="2024-06-12T13:05:02.389" v="308" actId="21"/>
          <ac:picMkLst>
            <pc:docMk/>
            <pc:sldMk cId="0" sldId="264"/>
            <ac:picMk id="4211" creationId="{00000000-0000-0000-0000-000000000000}"/>
          </ac:picMkLst>
        </pc:picChg>
      </pc:sldChg>
      <pc:sldChg chg="addSp delSp modSp mod setBg modClrScheme chgLayout">
        <pc:chgData name="Fivestarly Lathong [Chillibreeze]" userId="479dc9aa-69ea-4a23-b6ea-3a9d26ac15ab" providerId="ADAL" clId="{013ED13C-6829-4378-A6EF-2B6A713739E1}" dt="2024-06-12T14:36:13.619" v="1739"/>
        <pc:sldMkLst>
          <pc:docMk/>
          <pc:sldMk cId="0" sldId="265"/>
        </pc:sldMkLst>
        <pc:spChg chg="del">
          <ac:chgData name="Fivestarly Lathong [Chillibreeze]" userId="479dc9aa-69ea-4a23-b6ea-3a9d26ac15ab" providerId="ADAL" clId="{013ED13C-6829-4378-A6EF-2B6A713739E1}" dt="2024-06-12T13:47:25.449" v="941" actId="478"/>
          <ac:spMkLst>
            <pc:docMk/>
            <pc:sldMk cId="0" sldId="265"/>
            <ac:spMk id="2" creationId="{7DB72860-BB56-6935-6BF2-2C5B05D1989F}"/>
          </ac:spMkLst>
        </pc:spChg>
        <pc:spChg chg="del mod">
          <ac:chgData name="Fivestarly Lathong [Chillibreeze]" userId="479dc9aa-69ea-4a23-b6ea-3a9d26ac15ab" providerId="ADAL" clId="{013ED13C-6829-4378-A6EF-2B6A713739E1}" dt="2024-06-12T13:48:28.625" v="963" actId="21"/>
          <ac:spMkLst>
            <pc:docMk/>
            <pc:sldMk cId="0" sldId="265"/>
            <ac:spMk id="3" creationId="{78198872-F936-AF51-1133-249F4C86EF89}"/>
          </ac:spMkLst>
        </pc:spChg>
        <pc:spChg chg="add mod ord">
          <ac:chgData name="Fivestarly Lathong [Chillibreeze]" userId="479dc9aa-69ea-4a23-b6ea-3a9d26ac15ab" providerId="ADAL" clId="{013ED13C-6829-4378-A6EF-2B6A713739E1}" dt="2024-06-12T13:48:14.629" v="956" actId="207"/>
          <ac:spMkLst>
            <pc:docMk/>
            <pc:sldMk cId="0" sldId="265"/>
            <ac:spMk id="4" creationId="{725FE8ED-C484-6620-F90C-1E59E4FF57B2}"/>
          </ac:spMkLst>
        </pc:spChg>
        <pc:spChg chg="add mod ord">
          <ac:chgData name="Fivestarly Lathong [Chillibreeze]" userId="479dc9aa-69ea-4a23-b6ea-3a9d26ac15ab" providerId="ADAL" clId="{013ED13C-6829-4378-A6EF-2B6A713739E1}" dt="2024-06-12T13:49:42.875" v="976" actId="12789"/>
          <ac:spMkLst>
            <pc:docMk/>
            <pc:sldMk cId="0" sldId="265"/>
            <ac:spMk id="5" creationId="{DBCDC0D6-CDB4-CB0B-AF26-2FA36769FC4F}"/>
          </ac:spMkLst>
        </pc:spChg>
        <pc:spChg chg="add mod ord">
          <ac:chgData name="Fivestarly Lathong [Chillibreeze]" userId="479dc9aa-69ea-4a23-b6ea-3a9d26ac15ab" providerId="ADAL" clId="{013ED13C-6829-4378-A6EF-2B6A713739E1}" dt="2024-06-12T13:47:37.029" v="946" actId="167"/>
          <ac:spMkLst>
            <pc:docMk/>
            <pc:sldMk cId="0" sldId="265"/>
            <ac:spMk id="6" creationId="{C8EC9F4E-400C-91CC-8F9D-6D8E43B5E0BD}"/>
          </ac:spMkLst>
        </pc:spChg>
        <pc:spChg chg="add mod ord">
          <ac:chgData name="Fivestarly Lathong [Chillibreeze]" userId="479dc9aa-69ea-4a23-b6ea-3a9d26ac15ab" providerId="ADAL" clId="{013ED13C-6829-4378-A6EF-2B6A713739E1}" dt="2024-06-12T13:47:37.029" v="946" actId="167"/>
          <ac:spMkLst>
            <pc:docMk/>
            <pc:sldMk cId="0" sldId="265"/>
            <ac:spMk id="7" creationId="{31C89802-FB3A-71FC-E327-64863817512F}"/>
          </ac:spMkLst>
        </pc:spChg>
        <pc:spChg chg="add mod ord">
          <ac:chgData name="Fivestarly Lathong [Chillibreeze]" userId="479dc9aa-69ea-4a23-b6ea-3a9d26ac15ab" providerId="ADAL" clId="{013ED13C-6829-4378-A6EF-2B6A713739E1}" dt="2024-06-12T13:47:37.029" v="946" actId="167"/>
          <ac:spMkLst>
            <pc:docMk/>
            <pc:sldMk cId="0" sldId="265"/>
            <ac:spMk id="8" creationId="{DD707491-EFE4-D1EB-768A-88B523DDA7C5}"/>
          </ac:spMkLst>
        </pc:spChg>
        <pc:spChg chg="mod">
          <ac:chgData name="Fivestarly Lathong [Chillibreeze]" userId="479dc9aa-69ea-4a23-b6ea-3a9d26ac15ab" providerId="ADAL" clId="{013ED13C-6829-4378-A6EF-2B6A713739E1}" dt="2024-06-12T13:49:01.501" v="970" actId="207"/>
          <ac:spMkLst>
            <pc:docMk/>
            <pc:sldMk cId="0" sldId="265"/>
            <ac:spMk id="11" creationId="{737B764E-F0B6-D69F-B44F-97CD671E23AF}"/>
          </ac:spMkLst>
        </pc:spChg>
        <pc:spChg chg="mod">
          <ac:chgData name="Fivestarly Lathong [Chillibreeze]" userId="479dc9aa-69ea-4a23-b6ea-3a9d26ac15ab" providerId="ADAL" clId="{013ED13C-6829-4378-A6EF-2B6A713739E1}" dt="2024-06-12T13:49:11.596" v="975"/>
          <ac:spMkLst>
            <pc:docMk/>
            <pc:sldMk cId="0" sldId="265"/>
            <ac:spMk id="15" creationId="{010DF0CB-EDC6-073C-3D0F-BCD73C6105FF}"/>
          </ac:spMkLst>
        </pc:spChg>
        <pc:spChg chg="mod">
          <ac:chgData name="Fivestarly Lathong [Chillibreeze]" userId="479dc9aa-69ea-4a23-b6ea-3a9d26ac15ab" providerId="ADAL" clId="{013ED13C-6829-4378-A6EF-2B6A713739E1}" dt="2024-06-12T13:47:35.056" v="945"/>
          <ac:spMkLst>
            <pc:docMk/>
            <pc:sldMk cId="0" sldId="265"/>
            <ac:spMk id="23" creationId="{42CCF31F-501B-EEAD-54FB-D99A58B42AD1}"/>
          </ac:spMkLst>
        </pc:spChg>
        <pc:spChg chg="mod">
          <ac:chgData name="Fivestarly Lathong [Chillibreeze]" userId="479dc9aa-69ea-4a23-b6ea-3a9d26ac15ab" providerId="ADAL" clId="{013ED13C-6829-4378-A6EF-2B6A713739E1}" dt="2024-06-12T13:47:35.056" v="945"/>
          <ac:spMkLst>
            <pc:docMk/>
            <pc:sldMk cId="0" sldId="265"/>
            <ac:spMk id="24" creationId="{C5D70077-D659-33F6-C2E5-053B1807F4B2}"/>
          </ac:spMkLst>
        </pc:spChg>
        <pc:spChg chg="add del mod">
          <ac:chgData name="Fivestarly Lathong [Chillibreeze]" userId="479dc9aa-69ea-4a23-b6ea-3a9d26ac15ab" providerId="ADAL" clId="{013ED13C-6829-4378-A6EF-2B6A713739E1}" dt="2024-06-12T13:47:58.153" v="948" actId="6264"/>
          <ac:spMkLst>
            <pc:docMk/>
            <pc:sldMk cId="0" sldId="265"/>
            <ac:spMk id="25" creationId="{601C7AA0-BDEC-F003-7014-9210937E5628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36:10.888" v="1738" actId="21"/>
          <ac:spMkLst>
            <pc:docMk/>
            <pc:sldMk cId="0" sldId="265"/>
            <ac:spMk id="27" creationId="{52816362-B137-3568-6918-4E3A6108A558}"/>
          </ac:spMkLst>
        </pc:spChg>
        <pc:spChg chg="add mod ord">
          <ac:chgData name="Fivestarly Lathong [Chillibreeze]" userId="479dc9aa-69ea-4a23-b6ea-3a9d26ac15ab" providerId="ADAL" clId="{013ED13C-6829-4378-A6EF-2B6A713739E1}" dt="2024-06-12T13:48:30.387" v="964" actId="166"/>
          <ac:spMkLst>
            <pc:docMk/>
            <pc:sldMk cId="0" sldId="265"/>
            <ac:spMk id="28" creationId="{D5A581A6-0E30-55BF-0563-76360E5A5BB4}"/>
          </ac:spMkLst>
        </pc:spChg>
        <pc:spChg chg="add mod">
          <ac:chgData name="Fivestarly Lathong [Chillibreeze]" userId="479dc9aa-69ea-4a23-b6ea-3a9d26ac15ab" providerId="ADAL" clId="{013ED13C-6829-4378-A6EF-2B6A713739E1}" dt="2024-06-12T14:36:13.619" v="1739"/>
          <ac:spMkLst>
            <pc:docMk/>
            <pc:sldMk cId="0" sldId="265"/>
            <ac:spMk id="29" creationId="{F48A3EF6-21AC-111D-020C-10DED4BA4D88}"/>
          </ac:spMkLst>
        </pc:spChg>
        <pc:spChg chg="del">
          <ac:chgData name="Fivestarly Lathong [Chillibreeze]" userId="479dc9aa-69ea-4a23-b6ea-3a9d26ac15ab" providerId="ADAL" clId="{013ED13C-6829-4378-A6EF-2B6A713739E1}" dt="2024-06-12T13:47:25.449" v="941" actId="478"/>
          <ac:spMkLst>
            <pc:docMk/>
            <pc:sldMk cId="0" sldId="265"/>
            <ac:spMk id="4216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47:25.449" v="941" actId="478"/>
          <ac:spMkLst>
            <pc:docMk/>
            <pc:sldMk cId="0" sldId="265"/>
            <ac:spMk id="4224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47:25.449" v="941" actId="478"/>
          <ac:spMkLst>
            <pc:docMk/>
            <pc:sldMk cId="0" sldId="265"/>
            <ac:spMk id="4225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47:25.449" v="941" actId="478"/>
          <ac:spMkLst>
            <pc:docMk/>
            <pc:sldMk cId="0" sldId="265"/>
            <ac:spMk id="4226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47:25.449" v="941" actId="478"/>
          <ac:spMkLst>
            <pc:docMk/>
            <pc:sldMk cId="0" sldId="265"/>
            <ac:spMk id="4230" creationId="{00000000-0000-0000-0000-000000000000}"/>
          </ac:spMkLst>
        </pc:spChg>
        <pc:grpChg chg="add mod ord">
          <ac:chgData name="Fivestarly Lathong [Chillibreeze]" userId="479dc9aa-69ea-4a23-b6ea-3a9d26ac15ab" providerId="ADAL" clId="{013ED13C-6829-4378-A6EF-2B6A713739E1}" dt="2024-06-12T13:47:37.029" v="946" actId="167"/>
          <ac:grpSpMkLst>
            <pc:docMk/>
            <pc:sldMk cId="0" sldId="265"/>
            <ac:grpSpMk id="9" creationId="{17675474-8052-61D5-97FE-5CD0DCCB0DDC}"/>
          </ac:grpSpMkLst>
        </pc:grpChg>
        <pc:grpChg chg="add mod ord">
          <ac:chgData name="Fivestarly Lathong [Chillibreeze]" userId="479dc9aa-69ea-4a23-b6ea-3a9d26ac15ab" providerId="ADAL" clId="{013ED13C-6829-4378-A6EF-2B6A713739E1}" dt="2024-06-12T13:47:37.029" v="946" actId="167"/>
          <ac:grpSpMkLst>
            <pc:docMk/>
            <pc:sldMk cId="0" sldId="265"/>
            <ac:grpSpMk id="13" creationId="{7C39DF8B-AE49-A318-9DA2-381CFB5EB869}"/>
          </ac:grpSpMkLst>
        </pc:grpChg>
        <pc:grpChg chg="add mod ord">
          <ac:chgData name="Fivestarly Lathong [Chillibreeze]" userId="479dc9aa-69ea-4a23-b6ea-3a9d26ac15ab" providerId="ADAL" clId="{013ED13C-6829-4378-A6EF-2B6A713739E1}" dt="2024-06-12T13:49:42.875" v="976" actId="12789"/>
          <ac:grpSpMkLst>
            <pc:docMk/>
            <pc:sldMk cId="0" sldId="265"/>
            <ac:grpSpMk id="22" creationId="{611BAEB5-D1F9-5591-2A88-495D840A34A8}"/>
          </ac:grpSpMkLst>
        </pc:grpChg>
        <pc:grpChg chg="del">
          <ac:chgData name="Fivestarly Lathong [Chillibreeze]" userId="479dc9aa-69ea-4a23-b6ea-3a9d26ac15ab" providerId="ADAL" clId="{013ED13C-6829-4378-A6EF-2B6A713739E1}" dt="2024-06-12T13:47:25.449" v="941" actId="478"/>
          <ac:grpSpMkLst>
            <pc:docMk/>
            <pc:sldMk cId="0" sldId="265"/>
            <ac:grpSpMk id="4227" creationId="{00000000-0000-0000-0000-000000000000}"/>
          </ac:grpSpMkLst>
        </pc:grpChg>
        <pc:picChg chg="mod">
          <ac:chgData name="Fivestarly Lathong [Chillibreeze]" userId="479dc9aa-69ea-4a23-b6ea-3a9d26ac15ab" providerId="ADAL" clId="{013ED13C-6829-4378-A6EF-2B6A713739E1}" dt="2024-06-12T13:47:35.056" v="945"/>
          <ac:picMkLst>
            <pc:docMk/>
            <pc:sldMk cId="0" sldId="265"/>
            <ac:picMk id="10" creationId="{E5FF8639-BCE4-D70F-35C5-30D5F1F3A3FC}"/>
          </ac:picMkLst>
        </pc:picChg>
        <pc:picChg chg="add mod ord">
          <ac:chgData name="Fivestarly Lathong [Chillibreeze]" userId="479dc9aa-69ea-4a23-b6ea-3a9d26ac15ab" providerId="ADAL" clId="{013ED13C-6829-4378-A6EF-2B6A713739E1}" dt="2024-06-12T13:47:37.029" v="946" actId="167"/>
          <ac:picMkLst>
            <pc:docMk/>
            <pc:sldMk cId="0" sldId="265"/>
            <ac:picMk id="12" creationId="{56E9A58B-A255-3668-B964-931080294043}"/>
          </ac:picMkLst>
        </pc:picChg>
        <pc:picChg chg="mod">
          <ac:chgData name="Fivestarly Lathong [Chillibreeze]" userId="479dc9aa-69ea-4a23-b6ea-3a9d26ac15ab" providerId="ADAL" clId="{013ED13C-6829-4378-A6EF-2B6A713739E1}" dt="2024-06-12T13:47:35.056" v="945"/>
          <ac:picMkLst>
            <pc:docMk/>
            <pc:sldMk cId="0" sldId="265"/>
            <ac:picMk id="14" creationId="{E6AF19D7-08F4-EE1B-6A22-0218EAD990F0}"/>
          </ac:picMkLst>
        </pc:picChg>
        <pc:picChg chg="add mod ord">
          <ac:chgData name="Fivestarly Lathong [Chillibreeze]" userId="479dc9aa-69ea-4a23-b6ea-3a9d26ac15ab" providerId="ADAL" clId="{013ED13C-6829-4378-A6EF-2B6A713739E1}" dt="2024-06-12T13:49:42.875" v="976" actId="12789"/>
          <ac:picMkLst>
            <pc:docMk/>
            <pc:sldMk cId="0" sldId="265"/>
            <ac:picMk id="16" creationId="{04C775FE-D306-21F0-289B-2FEB37766321}"/>
          </ac:picMkLst>
        </pc:picChg>
        <pc:picChg chg="add mod ord">
          <ac:chgData name="Fivestarly Lathong [Chillibreeze]" userId="479dc9aa-69ea-4a23-b6ea-3a9d26ac15ab" providerId="ADAL" clId="{013ED13C-6829-4378-A6EF-2B6A713739E1}" dt="2024-06-12T13:49:42.875" v="976" actId="12789"/>
          <ac:picMkLst>
            <pc:docMk/>
            <pc:sldMk cId="0" sldId="265"/>
            <ac:picMk id="17" creationId="{1345031E-B57E-2917-9787-507EBC670751}"/>
          </ac:picMkLst>
        </pc:picChg>
        <pc:picChg chg="add mod ord">
          <ac:chgData name="Fivestarly Lathong [Chillibreeze]" userId="479dc9aa-69ea-4a23-b6ea-3a9d26ac15ab" providerId="ADAL" clId="{013ED13C-6829-4378-A6EF-2B6A713739E1}" dt="2024-06-12T13:49:42.875" v="976" actId="12789"/>
          <ac:picMkLst>
            <pc:docMk/>
            <pc:sldMk cId="0" sldId="265"/>
            <ac:picMk id="18" creationId="{1ABD9988-5F5E-8302-3E9B-A6F72456E108}"/>
          </ac:picMkLst>
        </pc:picChg>
        <pc:picChg chg="add mod ord">
          <ac:chgData name="Fivestarly Lathong [Chillibreeze]" userId="479dc9aa-69ea-4a23-b6ea-3a9d26ac15ab" providerId="ADAL" clId="{013ED13C-6829-4378-A6EF-2B6A713739E1}" dt="2024-06-12T13:49:42.875" v="976" actId="12789"/>
          <ac:picMkLst>
            <pc:docMk/>
            <pc:sldMk cId="0" sldId="265"/>
            <ac:picMk id="19" creationId="{0086A093-E134-B3AC-979C-5D26D770C599}"/>
          </ac:picMkLst>
        </pc:picChg>
        <pc:picChg chg="add mod ord">
          <ac:chgData name="Fivestarly Lathong [Chillibreeze]" userId="479dc9aa-69ea-4a23-b6ea-3a9d26ac15ab" providerId="ADAL" clId="{013ED13C-6829-4378-A6EF-2B6A713739E1}" dt="2024-06-12T13:49:42.875" v="976" actId="12789"/>
          <ac:picMkLst>
            <pc:docMk/>
            <pc:sldMk cId="0" sldId="265"/>
            <ac:picMk id="20" creationId="{1DF44384-F0E5-69CE-32A1-0002D7BD662D}"/>
          </ac:picMkLst>
        </pc:picChg>
        <pc:picChg chg="add mod ord">
          <ac:chgData name="Fivestarly Lathong [Chillibreeze]" userId="479dc9aa-69ea-4a23-b6ea-3a9d26ac15ab" providerId="ADAL" clId="{013ED13C-6829-4378-A6EF-2B6A713739E1}" dt="2024-06-12T13:49:42.875" v="976" actId="12789"/>
          <ac:picMkLst>
            <pc:docMk/>
            <pc:sldMk cId="0" sldId="265"/>
            <ac:picMk id="21" creationId="{34C7525A-921C-09CC-F3A2-0E2FB411F738}"/>
          </ac:picMkLst>
        </pc:picChg>
        <pc:picChg chg="add mod ord">
          <ac:chgData name="Fivestarly Lathong [Chillibreeze]" userId="479dc9aa-69ea-4a23-b6ea-3a9d26ac15ab" providerId="ADAL" clId="{013ED13C-6829-4378-A6EF-2B6A713739E1}" dt="2024-06-12T13:48:27.323" v="962" actId="167"/>
          <ac:picMkLst>
            <pc:docMk/>
            <pc:sldMk cId="0" sldId="265"/>
            <ac:picMk id="26" creationId="{E9873C66-A09F-512F-F8AA-B0E4731367DB}"/>
          </ac:picMkLst>
        </pc:picChg>
        <pc:picChg chg="del">
          <ac:chgData name="Fivestarly Lathong [Chillibreeze]" userId="479dc9aa-69ea-4a23-b6ea-3a9d26ac15ab" providerId="ADAL" clId="{013ED13C-6829-4378-A6EF-2B6A713739E1}" dt="2024-06-12T13:47:25.449" v="941" actId="478"/>
          <ac:picMkLst>
            <pc:docMk/>
            <pc:sldMk cId="0" sldId="265"/>
            <ac:picMk id="4217" creationId="{00000000-0000-0000-0000-000000000000}"/>
          </ac:picMkLst>
        </pc:picChg>
        <pc:picChg chg="del">
          <ac:chgData name="Fivestarly Lathong [Chillibreeze]" userId="479dc9aa-69ea-4a23-b6ea-3a9d26ac15ab" providerId="ADAL" clId="{013ED13C-6829-4378-A6EF-2B6A713739E1}" dt="2024-06-12T13:47:25.449" v="941" actId="478"/>
          <ac:picMkLst>
            <pc:docMk/>
            <pc:sldMk cId="0" sldId="265"/>
            <ac:picMk id="4218" creationId="{00000000-0000-0000-0000-000000000000}"/>
          </ac:picMkLst>
        </pc:picChg>
        <pc:picChg chg="del">
          <ac:chgData name="Fivestarly Lathong [Chillibreeze]" userId="479dc9aa-69ea-4a23-b6ea-3a9d26ac15ab" providerId="ADAL" clId="{013ED13C-6829-4378-A6EF-2B6A713739E1}" dt="2024-06-12T13:47:25.449" v="941" actId="478"/>
          <ac:picMkLst>
            <pc:docMk/>
            <pc:sldMk cId="0" sldId="265"/>
            <ac:picMk id="4219" creationId="{00000000-0000-0000-0000-000000000000}"/>
          </ac:picMkLst>
        </pc:picChg>
        <pc:picChg chg="del">
          <ac:chgData name="Fivestarly Lathong [Chillibreeze]" userId="479dc9aa-69ea-4a23-b6ea-3a9d26ac15ab" providerId="ADAL" clId="{013ED13C-6829-4378-A6EF-2B6A713739E1}" dt="2024-06-12T13:47:25.449" v="941" actId="478"/>
          <ac:picMkLst>
            <pc:docMk/>
            <pc:sldMk cId="0" sldId="265"/>
            <ac:picMk id="4220" creationId="{00000000-0000-0000-0000-000000000000}"/>
          </ac:picMkLst>
        </pc:picChg>
        <pc:picChg chg="del">
          <ac:chgData name="Fivestarly Lathong [Chillibreeze]" userId="479dc9aa-69ea-4a23-b6ea-3a9d26ac15ab" providerId="ADAL" clId="{013ED13C-6829-4378-A6EF-2B6A713739E1}" dt="2024-06-12T13:47:25.449" v="941" actId="478"/>
          <ac:picMkLst>
            <pc:docMk/>
            <pc:sldMk cId="0" sldId="265"/>
            <ac:picMk id="4221" creationId="{00000000-0000-0000-0000-000000000000}"/>
          </ac:picMkLst>
        </pc:picChg>
        <pc:picChg chg="del">
          <ac:chgData name="Fivestarly Lathong [Chillibreeze]" userId="479dc9aa-69ea-4a23-b6ea-3a9d26ac15ab" providerId="ADAL" clId="{013ED13C-6829-4378-A6EF-2B6A713739E1}" dt="2024-06-12T13:47:25.449" v="941" actId="478"/>
          <ac:picMkLst>
            <pc:docMk/>
            <pc:sldMk cId="0" sldId="265"/>
            <ac:picMk id="4222" creationId="{00000000-0000-0000-0000-000000000000}"/>
          </ac:picMkLst>
        </pc:picChg>
        <pc:picChg chg="del">
          <ac:chgData name="Fivestarly Lathong [Chillibreeze]" userId="479dc9aa-69ea-4a23-b6ea-3a9d26ac15ab" providerId="ADAL" clId="{013ED13C-6829-4378-A6EF-2B6A713739E1}" dt="2024-06-12T13:47:25.449" v="941" actId="478"/>
          <ac:picMkLst>
            <pc:docMk/>
            <pc:sldMk cId="0" sldId="265"/>
            <ac:picMk id="4223" creationId="{00000000-0000-0000-0000-000000000000}"/>
          </ac:picMkLst>
        </pc:picChg>
      </pc:sldChg>
      <pc:sldChg chg="addSp delSp modSp mod setBg modClrScheme chgLayout">
        <pc:chgData name="Fivestarly Lathong [Chillibreeze]" userId="479dc9aa-69ea-4a23-b6ea-3a9d26ac15ab" providerId="ADAL" clId="{013ED13C-6829-4378-A6EF-2B6A713739E1}" dt="2024-06-12T13:15:08.298" v="551"/>
        <pc:sldMkLst>
          <pc:docMk/>
          <pc:sldMk cId="0" sldId="266"/>
        </pc:sldMkLst>
        <pc:spChg chg="del mod">
          <ac:chgData name="Fivestarly Lathong [Chillibreeze]" userId="479dc9aa-69ea-4a23-b6ea-3a9d26ac15ab" providerId="ADAL" clId="{013ED13C-6829-4378-A6EF-2B6A713739E1}" dt="2024-06-12T13:06:28.669" v="325" actId="21"/>
          <ac:spMkLst>
            <pc:docMk/>
            <pc:sldMk cId="0" sldId="266"/>
            <ac:spMk id="2" creationId="{E7F4D234-689B-7610-5B66-05AD249E1E35}"/>
          </ac:spMkLst>
        </pc:spChg>
        <pc:spChg chg="add mod">
          <ac:chgData name="Fivestarly Lathong [Chillibreeze]" userId="479dc9aa-69ea-4a23-b6ea-3a9d26ac15ab" providerId="ADAL" clId="{013ED13C-6829-4378-A6EF-2B6A713739E1}" dt="2024-06-12T13:06:01.627" v="319"/>
          <ac:spMkLst>
            <pc:docMk/>
            <pc:sldMk cId="0" sldId="266"/>
            <ac:spMk id="3" creationId="{D29B7556-CEFC-9E01-7D70-A81D7E9B97C3}"/>
          </ac:spMkLst>
        </pc:spChg>
        <pc:spChg chg="add del mod">
          <ac:chgData name="Fivestarly Lathong [Chillibreeze]" userId="479dc9aa-69ea-4a23-b6ea-3a9d26ac15ab" providerId="ADAL" clId="{013ED13C-6829-4378-A6EF-2B6A713739E1}" dt="2024-06-12T13:07:31.973" v="334" actId="21"/>
          <ac:spMkLst>
            <pc:docMk/>
            <pc:sldMk cId="0" sldId="266"/>
            <ac:spMk id="5" creationId="{CA051E10-34CC-1019-A86F-CB9CEF63B61F}"/>
          </ac:spMkLst>
        </pc:spChg>
        <pc:spChg chg="add del mod">
          <ac:chgData name="Fivestarly Lathong [Chillibreeze]" userId="479dc9aa-69ea-4a23-b6ea-3a9d26ac15ab" providerId="ADAL" clId="{013ED13C-6829-4378-A6EF-2B6A713739E1}" dt="2024-06-12T13:06:04.171" v="320" actId="21"/>
          <ac:spMkLst>
            <pc:docMk/>
            <pc:sldMk cId="0" sldId="266"/>
            <ac:spMk id="6" creationId="{3D5D112F-D219-E724-4152-9EA771880406}"/>
          </ac:spMkLst>
        </pc:spChg>
        <pc:spChg chg="add del mod ord">
          <ac:chgData name="Fivestarly Lathong [Chillibreeze]" userId="479dc9aa-69ea-4a23-b6ea-3a9d26ac15ab" providerId="ADAL" clId="{013ED13C-6829-4378-A6EF-2B6A713739E1}" dt="2024-06-12T13:07:54.794" v="380" actId="21"/>
          <ac:spMkLst>
            <pc:docMk/>
            <pc:sldMk cId="0" sldId="266"/>
            <ac:spMk id="7" creationId="{291F4955-9391-B1C2-CC38-97EC1FADE496}"/>
          </ac:spMkLst>
        </pc:spChg>
        <pc:spChg chg="add del mod">
          <ac:chgData name="Fivestarly Lathong [Chillibreeze]" userId="479dc9aa-69ea-4a23-b6ea-3a9d26ac15ab" providerId="ADAL" clId="{013ED13C-6829-4378-A6EF-2B6A713739E1}" dt="2024-06-12T13:07:31.973" v="334" actId="21"/>
          <ac:spMkLst>
            <pc:docMk/>
            <pc:sldMk cId="0" sldId="266"/>
            <ac:spMk id="8" creationId="{EB249FE1-ED69-D2F2-D2AE-704EAE427192}"/>
          </ac:spMkLst>
        </pc:spChg>
        <pc:spChg chg="mod">
          <ac:chgData name="Fivestarly Lathong [Chillibreeze]" userId="479dc9aa-69ea-4a23-b6ea-3a9d26ac15ab" providerId="ADAL" clId="{013ED13C-6829-4378-A6EF-2B6A713739E1}" dt="2024-06-12T13:06:01.627" v="319"/>
          <ac:spMkLst>
            <pc:docMk/>
            <pc:sldMk cId="0" sldId="266"/>
            <ac:spMk id="11" creationId="{5C2BFBAF-0ADB-7D15-8348-65B66C8C0089}"/>
          </ac:spMkLst>
        </pc:spChg>
        <pc:spChg chg="mod">
          <ac:chgData name="Fivestarly Lathong [Chillibreeze]" userId="479dc9aa-69ea-4a23-b6ea-3a9d26ac15ab" providerId="ADAL" clId="{013ED13C-6829-4378-A6EF-2B6A713739E1}" dt="2024-06-12T13:06:01.627" v="319"/>
          <ac:spMkLst>
            <pc:docMk/>
            <pc:sldMk cId="0" sldId="266"/>
            <ac:spMk id="13" creationId="{DFF056BF-55A7-F65A-838E-B5FC206A8638}"/>
          </ac:spMkLst>
        </pc:spChg>
        <pc:spChg chg="mod">
          <ac:chgData name="Fivestarly Lathong [Chillibreeze]" userId="479dc9aa-69ea-4a23-b6ea-3a9d26ac15ab" providerId="ADAL" clId="{013ED13C-6829-4378-A6EF-2B6A713739E1}" dt="2024-06-12T13:06:01.627" v="319"/>
          <ac:spMkLst>
            <pc:docMk/>
            <pc:sldMk cId="0" sldId="266"/>
            <ac:spMk id="14" creationId="{80E4EA5D-E917-5A4C-A9BB-5A41FAD48711}"/>
          </ac:spMkLst>
        </pc:spChg>
        <pc:spChg chg="mod">
          <ac:chgData name="Fivestarly Lathong [Chillibreeze]" userId="479dc9aa-69ea-4a23-b6ea-3a9d26ac15ab" providerId="ADAL" clId="{013ED13C-6829-4378-A6EF-2B6A713739E1}" dt="2024-06-12T13:08:06.871" v="386"/>
          <ac:spMkLst>
            <pc:docMk/>
            <pc:sldMk cId="0" sldId="266"/>
            <ac:spMk id="15" creationId="{7D596169-BD48-7C51-B526-3826D4CD7748}"/>
          </ac:spMkLst>
        </pc:spChg>
        <pc:spChg chg="add mod">
          <ac:chgData name="Fivestarly Lathong [Chillibreeze]" userId="479dc9aa-69ea-4a23-b6ea-3a9d26ac15ab" providerId="ADAL" clId="{013ED13C-6829-4378-A6EF-2B6A713739E1}" dt="2024-06-12T13:08:22.786" v="401"/>
          <ac:spMkLst>
            <pc:docMk/>
            <pc:sldMk cId="0" sldId="266"/>
            <ac:spMk id="16" creationId="{A8BE1DD1-ADE1-61B3-C485-7AC39FFDCEC9}"/>
          </ac:spMkLst>
        </pc:spChg>
        <pc:spChg chg="mod">
          <ac:chgData name="Fivestarly Lathong [Chillibreeze]" userId="479dc9aa-69ea-4a23-b6ea-3a9d26ac15ab" providerId="ADAL" clId="{013ED13C-6829-4378-A6EF-2B6A713739E1}" dt="2024-06-12T13:06:01.627" v="319"/>
          <ac:spMkLst>
            <pc:docMk/>
            <pc:sldMk cId="0" sldId="266"/>
            <ac:spMk id="18" creationId="{09C69635-E2C9-6B9C-4EC0-6476CC311609}"/>
          </ac:spMkLst>
        </pc:spChg>
        <pc:spChg chg="mod">
          <ac:chgData name="Fivestarly Lathong [Chillibreeze]" userId="479dc9aa-69ea-4a23-b6ea-3a9d26ac15ab" providerId="ADAL" clId="{013ED13C-6829-4378-A6EF-2B6A713739E1}" dt="2024-06-12T13:06:01.627" v="319"/>
          <ac:spMkLst>
            <pc:docMk/>
            <pc:sldMk cId="0" sldId="266"/>
            <ac:spMk id="19" creationId="{2C2E6779-970D-3BD5-997B-9DCCCD1BE44F}"/>
          </ac:spMkLst>
        </pc:spChg>
        <pc:spChg chg="mod">
          <ac:chgData name="Fivestarly Lathong [Chillibreeze]" userId="479dc9aa-69ea-4a23-b6ea-3a9d26ac15ab" providerId="ADAL" clId="{013ED13C-6829-4378-A6EF-2B6A713739E1}" dt="2024-06-12T13:08:12.032" v="391"/>
          <ac:spMkLst>
            <pc:docMk/>
            <pc:sldMk cId="0" sldId="266"/>
            <ac:spMk id="20" creationId="{10007D42-CAB1-0942-41D2-1631A3704D8E}"/>
          </ac:spMkLst>
        </pc:spChg>
        <pc:spChg chg="add mod">
          <ac:chgData name="Fivestarly Lathong [Chillibreeze]" userId="479dc9aa-69ea-4a23-b6ea-3a9d26ac15ab" providerId="ADAL" clId="{013ED13C-6829-4378-A6EF-2B6A713739E1}" dt="2024-06-12T13:08:27.012" v="406"/>
          <ac:spMkLst>
            <pc:docMk/>
            <pc:sldMk cId="0" sldId="266"/>
            <ac:spMk id="21" creationId="{2808F16C-12D9-2968-0F2B-35BA41AD86A7}"/>
          </ac:spMkLst>
        </pc:spChg>
        <pc:spChg chg="mod">
          <ac:chgData name="Fivestarly Lathong [Chillibreeze]" userId="479dc9aa-69ea-4a23-b6ea-3a9d26ac15ab" providerId="ADAL" clId="{013ED13C-6829-4378-A6EF-2B6A713739E1}" dt="2024-06-12T13:06:01.627" v="319"/>
          <ac:spMkLst>
            <pc:docMk/>
            <pc:sldMk cId="0" sldId="266"/>
            <ac:spMk id="23" creationId="{F04E618A-1A70-581A-70FB-7205E60A81B2}"/>
          </ac:spMkLst>
        </pc:spChg>
        <pc:spChg chg="mod">
          <ac:chgData name="Fivestarly Lathong [Chillibreeze]" userId="479dc9aa-69ea-4a23-b6ea-3a9d26ac15ab" providerId="ADAL" clId="{013ED13C-6829-4378-A6EF-2B6A713739E1}" dt="2024-06-12T13:06:01.627" v="319"/>
          <ac:spMkLst>
            <pc:docMk/>
            <pc:sldMk cId="0" sldId="266"/>
            <ac:spMk id="24" creationId="{769FA3F2-71E1-2947-E1BF-7897E27A208D}"/>
          </ac:spMkLst>
        </pc:spChg>
        <pc:spChg chg="mod">
          <ac:chgData name="Fivestarly Lathong [Chillibreeze]" userId="479dc9aa-69ea-4a23-b6ea-3a9d26ac15ab" providerId="ADAL" clId="{013ED13C-6829-4378-A6EF-2B6A713739E1}" dt="2024-06-12T13:08:16.486" v="396"/>
          <ac:spMkLst>
            <pc:docMk/>
            <pc:sldMk cId="0" sldId="266"/>
            <ac:spMk id="25" creationId="{425A30C3-851F-0C25-CD94-0D3A17598002}"/>
          </ac:spMkLst>
        </pc:spChg>
        <pc:spChg chg="add mod">
          <ac:chgData name="Fivestarly Lathong [Chillibreeze]" userId="479dc9aa-69ea-4a23-b6ea-3a9d26ac15ab" providerId="ADAL" clId="{013ED13C-6829-4378-A6EF-2B6A713739E1}" dt="2024-06-12T13:08:35.533" v="413" actId="14100"/>
          <ac:spMkLst>
            <pc:docMk/>
            <pc:sldMk cId="0" sldId="266"/>
            <ac:spMk id="26" creationId="{52D2100A-D6A7-740D-3723-C7934E04587C}"/>
          </ac:spMkLst>
        </pc:spChg>
        <pc:spChg chg="add mod ord">
          <ac:chgData name="Fivestarly Lathong [Chillibreeze]" userId="479dc9aa-69ea-4a23-b6ea-3a9d26ac15ab" providerId="ADAL" clId="{013ED13C-6829-4378-A6EF-2B6A713739E1}" dt="2024-06-12T13:06:15.544" v="323" actId="167"/>
          <ac:spMkLst>
            <pc:docMk/>
            <pc:sldMk cId="0" sldId="266"/>
            <ac:spMk id="28" creationId="{65404188-8F01-8555-BDAE-AB174B6FA75B}"/>
          </ac:spMkLst>
        </pc:spChg>
        <pc:spChg chg="add mod">
          <ac:chgData name="Fivestarly Lathong [Chillibreeze]" userId="479dc9aa-69ea-4a23-b6ea-3a9d26ac15ab" providerId="ADAL" clId="{013ED13C-6829-4378-A6EF-2B6A713739E1}" dt="2024-06-12T13:06:27.439" v="324"/>
          <ac:spMkLst>
            <pc:docMk/>
            <pc:sldMk cId="0" sldId="266"/>
            <ac:spMk id="29" creationId="{9F6754EC-5256-94C2-FDA6-2250C8505511}"/>
          </ac:spMkLst>
        </pc:spChg>
        <pc:spChg chg="add mod">
          <ac:chgData name="Fivestarly Lathong [Chillibreeze]" userId="479dc9aa-69ea-4a23-b6ea-3a9d26ac15ab" providerId="ADAL" clId="{013ED13C-6829-4378-A6EF-2B6A713739E1}" dt="2024-06-12T13:15:08.298" v="551"/>
          <ac:spMkLst>
            <pc:docMk/>
            <pc:sldMk cId="0" sldId="266"/>
            <ac:spMk id="31" creationId="{B3E2DBC2-74D9-70C2-964F-303AC52C8342}"/>
          </ac:spMkLst>
        </pc:spChg>
        <pc:spChg chg="add del mod">
          <ac:chgData name="Fivestarly Lathong [Chillibreeze]" userId="479dc9aa-69ea-4a23-b6ea-3a9d26ac15ab" providerId="ADAL" clId="{013ED13C-6829-4378-A6EF-2B6A713739E1}" dt="2024-06-12T13:07:34.582" v="335" actId="6264"/>
          <ac:spMkLst>
            <pc:docMk/>
            <pc:sldMk cId="0" sldId="266"/>
            <ac:spMk id="33" creationId="{E125D22D-6B96-5B03-4626-5A7EA41B68FE}"/>
          </ac:spMkLst>
        </pc:spChg>
        <pc:spChg chg="mod ord">
          <ac:chgData name="Fivestarly Lathong [Chillibreeze]" userId="479dc9aa-69ea-4a23-b6ea-3a9d26ac15ab" providerId="ADAL" clId="{013ED13C-6829-4378-A6EF-2B6A713739E1}" dt="2024-06-12T13:07:53.306" v="379"/>
          <ac:spMkLst>
            <pc:docMk/>
            <pc:sldMk cId="0" sldId="266"/>
            <ac:spMk id="4236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05:46.935" v="315" actId="21"/>
          <ac:spMkLst>
            <pc:docMk/>
            <pc:sldMk cId="0" sldId="266"/>
            <ac:spMk id="4237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3:08:38.469" v="414" actId="21"/>
          <ac:spMkLst>
            <pc:docMk/>
            <pc:sldMk cId="0" sldId="266"/>
            <ac:spMk id="4238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3:08:38.469" v="414" actId="21"/>
          <ac:spMkLst>
            <pc:docMk/>
            <pc:sldMk cId="0" sldId="266"/>
            <ac:spMk id="4239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3:08:38.469" v="414" actId="21"/>
          <ac:spMkLst>
            <pc:docMk/>
            <pc:sldMk cId="0" sldId="266"/>
            <ac:spMk id="4240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3:08:38.469" v="414" actId="21"/>
          <ac:spMkLst>
            <pc:docMk/>
            <pc:sldMk cId="0" sldId="266"/>
            <ac:spMk id="4241" creationId="{00000000-0000-0000-0000-000000000000}"/>
          </ac:spMkLst>
        </pc:spChg>
        <pc:spChg chg="del mod ord">
          <ac:chgData name="Fivestarly Lathong [Chillibreeze]" userId="479dc9aa-69ea-4a23-b6ea-3a9d26ac15ab" providerId="ADAL" clId="{013ED13C-6829-4378-A6EF-2B6A713739E1}" dt="2024-06-12T13:08:38.469" v="414" actId="21"/>
          <ac:spMkLst>
            <pc:docMk/>
            <pc:sldMk cId="0" sldId="266"/>
            <ac:spMk id="4242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3:07:57.903" v="381" actId="21"/>
          <ac:spMkLst>
            <pc:docMk/>
            <pc:sldMk cId="0" sldId="266"/>
            <ac:spMk id="4247" creationId="{00000000-0000-0000-0000-000000000000}"/>
          </ac:spMkLst>
        </pc:spChg>
        <pc:grpChg chg="add mod">
          <ac:chgData name="Fivestarly Lathong [Chillibreeze]" userId="479dc9aa-69ea-4a23-b6ea-3a9d26ac15ab" providerId="ADAL" clId="{013ED13C-6829-4378-A6EF-2B6A713739E1}" dt="2024-06-12T13:06:01.627" v="319"/>
          <ac:grpSpMkLst>
            <pc:docMk/>
            <pc:sldMk cId="0" sldId="266"/>
            <ac:grpSpMk id="9" creationId="{74392C06-4120-1A09-5C63-73E2EC193B44}"/>
          </ac:grpSpMkLst>
        </pc:grpChg>
        <pc:grpChg chg="add mod">
          <ac:chgData name="Fivestarly Lathong [Chillibreeze]" userId="479dc9aa-69ea-4a23-b6ea-3a9d26ac15ab" providerId="ADAL" clId="{013ED13C-6829-4378-A6EF-2B6A713739E1}" dt="2024-06-12T13:06:01.627" v="319"/>
          <ac:grpSpMkLst>
            <pc:docMk/>
            <pc:sldMk cId="0" sldId="266"/>
            <ac:grpSpMk id="12" creationId="{6DE8D636-FC79-5AC4-848A-D2776B9ABDCB}"/>
          </ac:grpSpMkLst>
        </pc:grpChg>
        <pc:grpChg chg="add mod">
          <ac:chgData name="Fivestarly Lathong [Chillibreeze]" userId="479dc9aa-69ea-4a23-b6ea-3a9d26ac15ab" providerId="ADAL" clId="{013ED13C-6829-4378-A6EF-2B6A713739E1}" dt="2024-06-12T13:06:01.627" v="319"/>
          <ac:grpSpMkLst>
            <pc:docMk/>
            <pc:sldMk cId="0" sldId="266"/>
            <ac:grpSpMk id="17" creationId="{25CC733D-8735-B629-980D-881C9E41F858}"/>
          </ac:grpSpMkLst>
        </pc:grpChg>
        <pc:grpChg chg="add mod">
          <ac:chgData name="Fivestarly Lathong [Chillibreeze]" userId="479dc9aa-69ea-4a23-b6ea-3a9d26ac15ab" providerId="ADAL" clId="{013ED13C-6829-4378-A6EF-2B6A713739E1}" dt="2024-06-12T13:06:01.627" v="319"/>
          <ac:grpSpMkLst>
            <pc:docMk/>
            <pc:sldMk cId="0" sldId="266"/>
            <ac:grpSpMk id="22" creationId="{2509F6B0-1BEF-DAA6-87AC-02704D9FA686}"/>
          </ac:grpSpMkLst>
        </pc:grpChg>
        <pc:grpChg chg="del mod">
          <ac:chgData name="Fivestarly Lathong [Chillibreeze]" userId="479dc9aa-69ea-4a23-b6ea-3a9d26ac15ab" providerId="ADAL" clId="{013ED13C-6829-4378-A6EF-2B6A713739E1}" dt="2024-06-12T13:07:57.903" v="381" actId="21"/>
          <ac:grpSpMkLst>
            <pc:docMk/>
            <pc:sldMk cId="0" sldId="266"/>
            <ac:grpSpMk id="4243" creationId="{00000000-0000-0000-0000-000000000000}"/>
          </ac:grpSpMkLst>
        </pc:grpChg>
        <pc:picChg chg="mod">
          <ac:chgData name="Fivestarly Lathong [Chillibreeze]" userId="479dc9aa-69ea-4a23-b6ea-3a9d26ac15ab" providerId="ADAL" clId="{013ED13C-6829-4378-A6EF-2B6A713739E1}" dt="2024-06-12T13:06:01.627" v="319"/>
          <ac:picMkLst>
            <pc:docMk/>
            <pc:sldMk cId="0" sldId="266"/>
            <ac:picMk id="10" creationId="{66FBDA3B-CBFC-5F7A-6314-2FB7585ECFF1}"/>
          </ac:picMkLst>
        </pc:picChg>
        <pc:picChg chg="add mod ord">
          <ac:chgData name="Fivestarly Lathong [Chillibreeze]" userId="479dc9aa-69ea-4a23-b6ea-3a9d26ac15ab" providerId="ADAL" clId="{013ED13C-6829-4378-A6EF-2B6A713739E1}" dt="2024-06-12T13:06:15.544" v="323" actId="167"/>
          <ac:picMkLst>
            <pc:docMk/>
            <pc:sldMk cId="0" sldId="266"/>
            <ac:picMk id="27" creationId="{362487E0-74CC-597C-768D-89575B852FBF}"/>
          </ac:picMkLst>
        </pc:picChg>
        <pc:picChg chg="del">
          <ac:chgData name="Fivestarly Lathong [Chillibreeze]" userId="479dc9aa-69ea-4a23-b6ea-3a9d26ac15ab" providerId="ADAL" clId="{013ED13C-6829-4378-A6EF-2B6A713739E1}" dt="2024-06-12T13:05:40.496" v="313" actId="21"/>
          <ac:picMkLst>
            <pc:docMk/>
            <pc:sldMk cId="0" sldId="266"/>
            <ac:picMk id="4235" creationId="{00000000-0000-0000-0000-000000000000}"/>
          </ac:picMkLst>
        </pc:picChg>
        <pc:cxnChg chg="add del mod">
          <ac:chgData name="Fivestarly Lathong [Chillibreeze]" userId="479dc9aa-69ea-4a23-b6ea-3a9d26ac15ab" providerId="ADAL" clId="{013ED13C-6829-4378-A6EF-2B6A713739E1}" dt="2024-06-12T13:07:31.973" v="334" actId="21"/>
          <ac:cxnSpMkLst>
            <pc:docMk/>
            <pc:sldMk cId="0" sldId="266"/>
            <ac:cxnSpMk id="4" creationId="{59B9C111-85F0-E015-8381-25CE59F112C2}"/>
          </ac:cxnSpMkLst>
        </pc:cxnChg>
        <pc:cxnChg chg="add mod">
          <ac:chgData name="Fivestarly Lathong [Chillibreeze]" userId="479dc9aa-69ea-4a23-b6ea-3a9d26ac15ab" providerId="ADAL" clId="{013ED13C-6829-4378-A6EF-2B6A713739E1}" dt="2024-06-12T13:07:29.244" v="333" actId="14100"/>
          <ac:cxnSpMkLst>
            <pc:docMk/>
            <pc:sldMk cId="0" sldId="266"/>
            <ac:cxnSpMk id="30" creationId="{ACAE4659-FF61-1A43-6A5C-BC964E973CB1}"/>
          </ac:cxnSpMkLst>
        </pc:cxnChg>
      </pc:sldChg>
      <pc:sldChg chg="addSp delSp modSp mod setBg chgLayout">
        <pc:chgData name="Fivestarly Lathong [Chillibreeze]" userId="479dc9aa-69ea-4a23-b6ea-3a9d26ac15ab" providerId="ADAL" clId="{013ED13C-6829-4378-A6EF-2B6A713739E1}" dt="2024-06-12T13:15:02.710" v="547"/>
        <pc:sldMkLst>
          <pc:docMk/>
          <pc:sldMk cId="0" sldId="267"/>
        </pc:sldMkLst>
        <pc:spChg chg="del mod">
          <ac:chgData name="Fivestarly Lathong [Chillibreeze]" userId="479dc9aa-69ea-4a23-b6ea-3a9d26ac15ab" providerId="ADAL" clId="{013ED13C-6829-4378-A6EF-2B6A713739E1}" dt="2024-06-12T13:09:12.321" v="417" actId="478"/>
          <ac:spMkLst>
            <pc:docMk/>
            <pc:sldMk cId="0" sldId="267"/>
            <ac:spMk id="2" creationId="{0A2604A9-34B1-3A37-8233-3D0932466C58}"/>
          </ac:spMkLst>
        </pc:spChg>
        <pc:spChg chg="add mod ord">
          <ac:chgData name="Fivestarly Lathong [Chillibreeze]" userId="479dc9aa-69ea-4a23-b6ea-3a9d26ac15ab" providerId="ADAL" clId="{013ED13C-6829-4378-A6EF-2B6A713739E1}" dt="2024-06-12T13:09:46.455" v="482" actId="207"/>
          <ac:spMkLst>
            <pc:docMk/>
            <pc:sldMk cId="0" sldId="267"/>
            <ac:spMk id="4" creationId="{3A905B9A-1C16-7D81-B63D-293C091A379E}"/>
          </ac:spMkLst>
        </pc:spChg>
        <pc:spChg chg="add mod ord">
          <ac:chgData name="Fivestarly Lathong [Chillibreeze]" userId="479dc9aa-69ea-4a23-b6ea-3a9d26ac15ab" providerId="ADAL" clId="{013ED13C-6829-4378-A6EF-2B6A713739E1}" dt="2024-06-12T13:09:25.794" v="421" actId="167"/>
          <ac:spMkLst>
            <pc:docMk/>
            <pc:sldMk cId="0" sldId="267"/>
            <ac:spMk id="5" creationId="{60745462-BF25-34A5-6B20-CC4A49891D47}"/>
          </ac:spMkLst>
        </pc:spChg>
        <pc:spChg chg="add mod ord">
          <ac:chgData name="Fivestarly Lathong [Chillibreeze]" userId="479dc9aa-69ea-4a23-b6ea-3a9d26ac15ab" providerId="ADAL" clId="{013ED13C-6829-4378-A6EF-2B6A713739E1}" dt="2024-06-12T13:09:25.794" v="421" actId="167"/>
          <ac:spMkLst>
            <pc:docMk/>
            <pc:sldMk cId="0" sldId="267"/>
            <ac:spMk id="6" creationId="{FE8F88A2-B650-073E-4611-FE910A80541A}"/>
          </ac:spMkLst>
        </pc:spChg>
        <pc:spChg chg="add mod ord">
          <ac:chgData name="Fivestarly Lathong [Chillibreeze]" userId="479dc9aa-69ea-4a23-b6ea-3a9d26ac15ab" providerId="ADAL" clId="{013ED13C-6829-4378-A6EF-2B6A713739E1}" dt="2024-06-12T13:09:25.794" v="421" actId="167"/>
          <ac:spMkLst>
            <pc:docMk/>
            <pc:sldMk cId="0" sldId="267"/>
            <ac:spMk id="7" creationId="{B9FC376F-8D4B-FF59-6A79-54CEA71ACFE1}"/>
          </ac:spMkLst>
        </pc:spChg>
        <pc:spChg chg="add mod ord">
          <ac:chgData name="Fivestarly Lathong [Chillibreeze]" userId="479dc9aa-69ea-4a23-b6ea-3a9d26ac15ab" providerId="ADAL" clId="{013ED13C-6829-4378-A6EF-2B6A713739E1}" dt="2024-06-12T13:09:25.794" v="421" actId="167"/>
          <ac:spMkLst>
            <pc:docMk/>
            <pc:sldMk cId="0" sldId="267"/>
            <ac:spMk id="8" creationId="{E9ECB595-A2E6-58F2-0F29-7230447A48FD}"/>
          </ac:spMkLst>
        </pc:spChg>
        <pc:spChg chg="add mod ord">
          <ac:chgData name="Fivestarly Lathong [Chillibreeze]" userId="479dc9aa-69ea-4a23-b6ea-3a9d26ac15ab" providerId="ADAL" clId="{013ED13C-6829-4378-A6EF-2B6A713739E1}" dt="2024-06-12T13:09:25.794" v="421" actId="167"/>
          <ac:spMkLst>
            <pc:docMk/>
            <pc:sldMk cId="0" sldId="267"/>
            <ac:spMk id="9" creationId="{0A61B8DB-B93B-EF58-7E28-77A8E45334FD}"/>
          </ac:spMkLst>
        </pc:spChg>
        <pc:spChg chg="add mod ord">
          <ac:chgData name="Fivestarly Lathong [Chillibreeze]" userId="479dc9aa-69ea-4a23-b6ea-3a9d26ac15ab" providerId="ADAL" clId="{013ED13C-6829-4378-A6EF-2B6A713739E1}" dt="2024-06-12T13:09:25.794" v="421" actId="167"/>
          <ac:spMkLst>
            <pc:docMk/>
            <pc:sldMk cId="0" sldId="267"/>
            <ac:spMk id="10" creationId="{CF08B25E-E7A5-6A75-9AA5-120AABEE3E74}"/>
          </ac:spMkLst>
        </pc:spChg>
        <pc:spChg chg="add del mod ord">
          <ac:chgData name="Fivestarly Lathong [Chillibreeze]" userId="479dc9aa-69ea-4a23-b6ea-3a9d26ac15ab" providerId="ADAL" clId="{013ED13C-6829-4378-A6EF-2B6A713739E1}" dt="2024-06-12T13:09:47.815" v="483" actId="21"/>
          <ac:spMkLst>
            <pc:docMk/>
            <pc:sldMk cId="0" sldId="267"/>
            <ac:spMk id="12" creationId="{C4107AA5-30BD-534B-6EA3-22D93EF0FF27}"/>
          </ac:spMkLst>
        </pc:spChg>
        <pc:spChg chg="add del mod ord">
          <ac:chgData name="Fivestarly Lathong [Chillibreeze]" userId="479dc9aa-69ea-4a23-b6ea-3a9d26ac15ab" providerId="ADAL" clId="{013ED13C-6829-4378-A6EF-2B6A713739E1}" dt="2024-06-12T13:09:41.051" v="481" actId="21"/>
          <ac:spMkLst>
            <pc:docMk/>
            <pc:sldMk cId="0" sldId="267"/>
            <ac:spMk id="13" creationId="{E1C6F9D4-C35E-37AF-8D32-2370CD15E1F3}"/>
          </ac:spMkLst>
        </pc:spChg>
        <pc:spChg chg="add del mod ord">
          <ac:chgData name="Fivestarly Lathong [Chillibreeze]" userId="479dc9aa-69ea-4a23-b6ea-3a9d26ac15ab" providerId="ADAL" clId="{013ED13C-6829-4378-A6EF-2B6A713739E1}" dt="2024-06-12T13:09:47.815" v="483" actId="21"/>
          <ac:spMkLst>
            <pc:docMk/>
            <pc:sldMk cId="0" sldId="267"/>
            <ac:spMk id="14" creationId="{0E29F168-A940-63DF-CA29-AC90EB89953E}"/>
          </ac:spMkLst>
        </pc:spChg>
        <pc:spChg chg="mod">
          <ac:chgData name="Fivestarly Lathong [Chillibreeze]" userId="479dc9aa-69ea-4a23-b6ea-3a9d26ac15ab" providerId="ADAL" clId="{013ED13C-6829-4378-A6EF-2B6A713739E1}" dt="2024-06-12T13:09:24.214" v="420"/>
          <ac:spMkLst>
            <pc:docMk/>
            <pc:sldMk cId="0" sldId="267"/>
            <ac:spMk id="16" creationId="{65FC31B9-3996-C4D8-7237-1D7F416B49B5}"/>
          </ac:spMkLst>
        </pc:spChg>
        <pc:spChg chg="mod">
          <ac:chgData name="Fivestarly Lathong [Chillibreeze]" userId="479dc9aa-69ea-4a23-b6ea-3a9d26ac15ab" providerId="ADAL" clId="{013ED13C-6829-4378-A6EF-2B6A713739E1}" dt="2024-06-12T13:09:24.214" v="420"/>
          <ac:spMkLst>
            <pc:docMk/>
            <pc:sldMk cId="0" sldId="267"/>
            <ac:spMk id="17" creationId="{7CBE2597-EFBB-5BEE-A042-1059E031538A}"/>
          </ac:spMkLst>
        </pc:spChg>
        <pc:spChg chg="add mod ord">
          <ac:chgData name="Fivestarly Lathong [Chillibreeze]" userId="479dc9aa-69ea-4a23-b6ea-3a9d26ac15ab" providerId="ADAL" clId="{013ED13C-6829-4378-A6EF-2B6A713739E1}" dt="2024-06-12T13:11:14.431" v="493"/>
          <ac:spMkLst>
            <pc:docMk/>
            <pc:sldMk cId="0" sldId="267"/>
            <ac:spMk id="19" creationId="{4DE6B7A4-FB2C-92F3-FC94-9C4BBEEC3FCA}"/>
          </ac:spMkLst>
        </pc:spChg>
        <pc:spChg chg="add mod ord">
          <ac:chgData name="Fivestarly Lathong [Chillibreeze]" userId="479dc9aa-69ea-4a23-b6ea-3a9d26ac15ab" providerId="ADAL" clId="{013ED13C-6829-4378-A6EF-2B6A713739E1}" dt="2024-06-12T13:11:20.102" v="496"/>
          <ac:spMkLst>
            <pc:docMk/>
            <pc:sldMk cId="0" sldId="267"/>
            <ac:spMk id="20" creationId="{DA6D6997-6AB5-5216-05DA-A7F2E9687207}"/>
          </ac:spMkLst>
        </pc:spChg>
        <pc:spChg chg="add mod ord">
          <ac:chgData name="Fivestarly Lathong [Chillibreeze]" userId="479dc9aa-69ea-4a23-b6ea-3a9d26ac15ab" providerId="ADAL" clId="{013ED13C-6829-4378-A6EF-2B6A713739E1}" dt="2024-06-12T13:11:24.572" v="499"/>
          <ac:spMkLst>
            <pc:docMk/>
            <pc:sldMk cId="0" sldId="267"/>
            <ac:spMk id="21" creationId="{2CF5AF71-6EEA-E28A-5D28-B0B349C3F093}"/>
          </ac:spMkLst>
        </pc:spChg>
        <pc:spChg chg="add mod ord">
          <ac:chgData name="Fivestarly Lathong [Chillibreeze]" userId="479dc9aa-69ea-4a23-b6ea-3a9d26ac15ab" providerId="ADAL" clId="{013ED13C-6829-4378-A6EF-2B6A713739E1}" dt="2024-06-12T13:11:28.622" v="502"/>
          <ac:spMkLst>
            <pc:docMk/>
            <pc:sldMk cId="0" sldId="267"/>
            <ac:spMk id="22" creationId="{CF31C72D-7D95-A5B4-F39A-29785AA46AB5}"/>
          </ac:spMkLst>
        </pc:spChg>
        <pc:spChg chg="add mod ord">
          <ac:chgData name="Fivestarly Lathong [Chillibreeze]" userId="479dc9aa-69ea-4a23-b6ea-3a9d26ac15ab" providerId="ADAL" clId="{013ED13C-6829-4378-A6EF-2B6A713739E1}" dt="2024-06-12T13:11:32.945" v="505"/>
          <ac:spMkLst>
            <pc:docMk/>
            <pc:sldMk cId="0" sldId="267"/>
            <ac:spMk id="23" creationId="{3C17F1D0-D40D-5A23-ADEC-5A42F4FE02E9}"/>
          </ac:spMkLst>
        </pc:spChg>
        <pc:spChg chg="add mod ord">
          <ac:chgData name="Fivestarly Lathong [Chillibreeze]" userId="479dc9aa-69ea-4a23-b6ea-3a9d26ac15ab" providerId="ADAL" clId="{013ED13C-6829-4378-A6EF-2B6A713739E1}" dt="2024-06-12T13:11:37.115" v="508"/>
          <ac:spMkLst>
            <pc:docMk/>
            <pc:sldMk cId="0" sldId="267"/>
            <ac:spMk id="24" creationId="{9B325C3A-3A29-AC92-2CEF-F1BF66864E02}"/>
          </ac:spMkLst>
        </pc:spChg>
        <pc:spChg chg="mod">
          <ac:chgData name="Fivestarly Lathong [Chillibreeze]" userId="479dc9aa-69ea-4a23-b6ea-3a9d26ac15ab" providerId="ADAL" clId="{013ED13C-6829-4378-A6EF-2B6A713739E1}" dt="2024-06-12T13:09:24.214" v="420"/>
          <ac:spMkLst>
            <pc:docMk/>
            <pc:sldMk cId="0" sldId="267"/>
            <ac:spMk id="28" creationId="{7EB8E7FB-4E24-AA32-AC00-953BFFD230A6}"/>
          </ac:spMkLst>
        </pc:spChg>
        <pc:spChg chg="mod">
          <ac:chgData name="Fivestarly Lathong [Chillibreeze]" userId="479dc9aa-69ea-4a23-b6ea-3a9d26ac15ab" providerId="ADAL" clId="{013ED13C-6829-4378-A6EF-2B6A713739E1}" dt="2024-06-12T13:09:24.214" v="420"/>
          <ac:spMkLst>
            <pc:docMk/>
            <pc:sldMk cId="0" sldId="267"/>
            <ac:spMk id="29" creationId="{ECA7B7ED-E337-FE14-7B6E-9F80D1FFCE3E}"/>
          </ac:spMkLst>
        </pc:spChg>
        <pc:spChg chg="add mod ord">
          <ac:chgData name="Fivestarly Lathong [Chillibreeze]" userId="479dc9aa-69ea-4a23-b6ea-3a9d26ac15ab" providerId="ADAL" clId="{013ED13C-6829-4378-A6EF-2B6A713739E1}" dt="2024-06-12T13:11:41.718" v="511"/>
          <ac:spMkLst>
            <pc:docMk/>
            <pc:sldMk cId="0" sldId="267"/>
            <ac:spMk id="30" creationId="{A4B7825A-6FF3-EC86-92A9-7520A052DCCE}"/>
          </ac:spMkLst>
        </pc:spChg>
        <pc:spChg chg="add mod ord">
          <ac:chgData name="Fivestarly Lathong [Chillibreeze]" userId="479dc9aa-69ea-4a23-b6ea-3a9d26ac15ab" providerId="ADAL" clId="{013ED13C-6829-4378-A6EF-2B6A713739E1}" dt="2024-06-12T13:12:04.552" v="514"/>
          <ac:spMkLst>
            <pc:docMk/>
            <pc:sldMk cId="0" sldId="267"/>
            <ac:spMk id="31" creationId="{A2AC91C6-F97A-7A4D-4653-3FA4192CC909}"/>
          </ac:spMkLst>
        </pc:spChg>
        <pc:spChg chg="add mod ord">
          <ac:chgData name="Fivestarly Lathong [Chillibreeze]" userId="479dc9aa-69ea-4a23-b6ea-3a9d26ac15ab" providerId="ADAL" clId="{013ED13C-6829-4378-A6EF-2B6A713739E1}" dt="2024-06-12T13:12:12.931" v="517"/>
          <ac:spMkLst>
            <pc:docMk/>
            <pc:sldMk cId="0" sldId="267"/>
            <ac:spMk id="32" creationId="{A532DEF1-CE44-6925-79DE-2AFC134EE246}"/>
          </ac:spMkLst>
        </pc:spChg>
        <pc:spChg chg="add mod ord">
          <ac:chgData name="Fivestarly Lathong [Chillibreeze]" userId="479dc9aa-69ea-4a23-b6ea-3a9d26ac15ab" providerId="ADAL" clId="{013ED13C-6829-4378-A6EF-2B6A713739E1}" dt="2024-06-12T13:12:17.292" v="520"/>
          <ac:spMkLst>
            <pc:docMk/>
            <pc:sldMk cId="0" sldId="267"/>
            <ac:spMk id="33" creationId="{CCC0F8EA-06FE-7A5D-9A9C-15AB4A588346}"/>
          </ac:spMkLst>
        </pc:spChg>
        <pc:spChg chg="add mod ord">
          <ac:chgData name="Fivestarly Lathong [Chillibreeze]" userId="479dc9aa-69ea-4a23-b6ea-3a9d26ac15ab" providerId="ADAL" clId="{013ED13C-6829-4378-A6EF-2B6A713739E1}" dt="2024-06-12T13:12:21.217" v="522"/>
          <ac:spMkLst>
            <pc:docMk/>
            <pc:sldMk cId="0" sldId="267"/>
            <ac:spMk id="34" creationId="{7CCA1CE9-367F-5421-2D83-60942E1C05E8}"/>
          </ac:spMkLst>
        </pc:spChg>
        <pc:spChg chg="add mod ord">
          <ac:chgData name="Fivestarly Lathong [Chillibreeze]" userId="479dc9aa-69ea-4a23-b6ea-3a9d26ac15ab" providerId="ADAL" clId="{013ED13C-6829-4378-A6EF-2B6A713739E1}" dt="2024-06-12T13:09:25.794" v="421" actId="167"/>
          <ac:spMkLst>
            <pc:docMk/>
            <pc:sldMk cId="0" sldId="267"/>
            <ac:spMk id="35" creationId="{2AD2E38B-44CF-0D59-F44C-8C3D9F4BCA47}"/>
          </ac:spMkLst>
        </pc:spChg>
        <pc:spChg chg="add mod ord">
          <ac:chgData name="Fivestarly Lathong [Chillibreeze]" userId="479dc9aa-69ea-4a23-b6ea-3a9d26ac15ab" providerId="ADAL" clId="{013ED13C-6829-4378-A6EF-2B6A713739E1}" dt="2024-06-12T13:09:25.794" v="421" actId="167"/>
          <ac:spMkLst>
            <pc:docMk/>
            <pc:sldMk cId="0" sldId="267"/>
            <ac:spMk id="36" creationId="{303D2ED5-A868-8735-9995-E4653B7E93FB}"/>
          </ac:spMkLst>
        </pc:spChg>
        <pc:spChg chg="add mod ord">
          <ac:chgData name="Fivestarly Lathong [Chillibreeze]" userId="479dc9aa-69ea-4a23-b6ea-3a9d26ac15ab" providerId="ADAL" clId="{013ED13C-6829-4378-A6EF-2B6A713739E1}" dt="2024-06-12T13:09:25.794" v="421" actId="167"/>
          <ac:spMkLst>
            <pc:docMk/>
            <pc:sldMk cId="0" sldId="267"/>
            <ac:spMk id="37" creationId="{70DD2210-6422-FBB4-931A-88CC130A3B34}"/>
          </ac:spMkLst>
        </pc:spChg>
        <pc:spChg chg="add mod ord">
          <ac:chgData name="Fivestarly Lathong [Chillibreeze]" userId="479dc9aa-69ea-4a23-b6ea-3a9d26ac15ab" providerId="ADAL" clId="{013ED13C-6829-4378-A6EF-2B6A713739E1}" dt="2024-06-12T13:09:25.794" v="421" actId="167"/>
          <ac:spMkLst>
            <pc:docMk/>
            <pc:sldMk cId="0" sldId="267"/>
            <ac:spMk id="38" creationId="{EE3AAD6D-615B-A166-DCDF-21CB1A5E7704}"/>
          </ac:spMkLst>
        </pc:spChg>
        <pc:spChg chg="add del mod">
          <ac:chgData name="Fivestarly Lathong [Chillibreeze]" userId="479dc9aa-69ea-4a23-b6ea-3a9d26ac15ab" providerId="ADAL" clId="{013ED13C-6829-4378-A6EF-2B6A713739E1}" dt="2024-06-12T13:09:34.390" v="423" actId="6264"/>
          <ac:spMkLst>
            <pc:docMk/>
            <pc:sldMk cId="0" sldId="267"/>
            <ac:spMk id="39" creationId="{9F36C0B6-8DFD-DA32-5134-0311E5B7B359}"/>
          </ac:spMkLst>
        </pc:spChg>
        <pc:spChg chg="add del mod">
          <ac:chgData name="Fivestarly Lathong [Chillibreeze]" userId="479dc9aa-69ea-4a23-b6ea-3a9d26ac15ab" providerId="ADAL" clId="{013ED13C-6829-4378-A6EF-2B6A713739E1}" dt="2024-06-12T13:09:34.594" v="424" actId="6264"/>
          <ac:spMkLst>
            <pc:docMk/>
            <pc:sldMk cId="0" sldId="267"/>
            <ac:spMk id="40" creationId="{8F12A68D-0B14-9D05-E3BF-45734539A3C5}"/>
          </ac:spMkLst>
        </pc:spChg>
        <pc:spChg chg="add mod">
          <ac:chgData name="Fivestarly Lathong [Chillibreeze]" userId="479dc9aa-69ea-4a23-b6ea-3a9d26ac15ab" providerId="ADAL" clId="{013ED13C-6829-4378-A6EF-2B6A713739E1}" dt="2024-06-12T13:15:02.710" v="547"/>
          <ac:spMkLst>
            <pc:docMk/>
            <pc:sldMk cId="0" sldId="267"/>
            <ac:spMk id="42" creationId="{00575D37-E06D-9C94-16AA-EAE68F218D7C}"/>
          </ac:spMkLst>
        </pc:spChg>
        <pc:spChg chg="del">
          <ac:chgData name="Fivestarly Lathong [Chillibreeze]" userId="479dc9aa-69ea-4a23-b6ea-3a9d26ac15ab" providerId="ADAL" clId="{013ED13C-6829-4378-A6EF-2B6A713739E1}" dt="2024-06-12T13:09:08.785" v="416" actId="21"/>
          <ac:spMkLst>
            <pc:docMk/>
            <pc:sldMk cId="0" sldId="267"/>
            <ac:spMk id="4252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09:08.785" v="416" actId="21"/>
          <ac:spMkLst>
            <pc:docMk/>
            <pc:sldMk cId="0" sldId="267"/>
            <ac:spMk id="4253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09:08.785" v="416" actId="21"/>
          <ac:spMkLst>
            <pc:docMk/>
            <pc:sldMk cId="0" sldId="267"/>
            <ac:spMk id="4254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09:08.785" v="416" actId="21"/>
          <ac:spMkLst>
            <pc:docMk/>
            <pc:sldMk cId="0" sldId="267"/>
            <ac:spMk id="4255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09:08.785" v="416" actId="21"/>
          <ac:spMkLst>
            <pc:docMk/>
            <pc:sldMk cId="0" sldId="267"/>
            <ac:spMk id="4256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09:08.785" v="416" actId="21"/>
          <ac:spMkLst>
            <pc:docMk/>
            <pc:sldMk cId="0" sldId="267"/>
            <ac:spMk id="4257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09:08.785" v="416" actId="21"/>
          <ac:spMkLst>
            <pc:docMk/>
            <pc:sldMk cId="0" sldId="267"/>
            <ac:spMk id="4258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09:08.785" v="416" actId="21"/>
          <ac:spMkLst>
            <pc:docMk/>
            <pc:sldMk cId="0" sldId="267"/>
            <ac:spMk id="4259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09:08.785" v="416" actId="21"/>
          <ac:spMkLst>
            <pc:docMk/>
            <pc:sldMk cId="0" sldId="267"/>
            <ac:spMk id="4260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09:08.785" v="416" actId="21"/>
          <ac:spMkLst>
            <pc:docMk/>
            <pc:sldMk cId="0" sldId="267"/>
            <ac:spMk id="4261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09:08.785" v="416" actId="21"/>
          <ac:spMkLst>
            <pc:docMk/>
            <pc:sldMk cId="0" sldId="267"/>
            <ac:spMk id="4262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09:08.785" v="416" actId="21"/>
          <ac:spMkLst>
            <pc:docMk/>
            <pc:sldMk cId="0" sldId="267"/>
            <ac:spMk id="4263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09:08.785" v="416" actId="21"/>
          <ac:spMkLst>
            <pc:docMk/>
            <pc:sldMk cId="0" sldId="267"/>
            <ac:spMk id="4264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09:08.785" v="416" actId="21"/>
          <ac:spMkLst>
            <pc:docMk/>
            <pc:sldMk cId="0" sldId="267"/>
            <ac:spMk id="4265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09:08.785" v="416" actId="21"/>
          <ac:spMkLst>
            <pc:docMk/>
            <pc:sldMk cId="0" sldId="267"/>
            <ac:spMk id="4266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09:08.785" v="416" actId="21"/>
          <ac:spMkLst>
            <pc:docMk/>
            <pc:sldMk cId="0" sldId="267"/>
            <ac:spMk id="4267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09:08.785" v="416" actId="21"/>
          <ac:spMkLst>
            <pc:docMk/>
            <pc:sldMk cId="0" sldId="267"/>
            <ac:spMk id="4274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09:08.785" v="416" actId="21"/>
          <ac:spMkLst>
            <pc:docMk/>
            <pc:sldMk cId="0" sldId="267"/>
            <ac:spMk id="4275" creationId="{00000000-0000-0000-0000-000000000000}"/>
          </ac:spMkLst>
        </pc:spChg>
        <pc:grpChg chg="add mod ord">
          <ac:chgData name="Fivestarly Lathong [Chillibreeze]" userId="479dc9aa-69ea-4a23-b6ea-3a9d26ac15ab" providerId="ADAL" clId="{013ED13C-6829-4378-A6EF-2B6A713739E1}" dt="2024-06-12T13:09:25.794" v="421" actId="167"/>
          <ac:grpSpMkLst>
            <pc:docMk/>
            <pc:sldMk cId="0" sldId="267"/>
            <ac:grpSpMk id="15" creationId="{EEA671F3-4545-156B-561D-6C532EC1AD51}"/>
          </ac:grpSpMkLst>
        </pc:grpChg>
        <pc:grpChg chg="add mod ord">
          <ac:chgData name="Fivestarly Lathong [Chillibreeze]" userId="479dc9aa-69ea-4a23-b6ea-3a9d26ac15ab" providerId="ADAL" clId="{013ED13C-6829-4378-A6EF-2B6A713739E1}" dt="2024-06-12T13:09:25.794" v="421" actId="167"/>
          <ac:grpSpMkLst>
            <pc:docMk/>
            <pc:sldMk cId="0" sldId="267"/>
            <ac:grpSpMk id="25" creationId="{E4F2A12F-8E3E-15BB-29F4-7D56FD0E71C9}"/>
          </ac:grpSpMkLst>
        </pc:grpChg>
        <pc:grpChg chg="mod">
          <ac:chgData name="Fivestarly Lathong [Chillibreeze]" userId="479dc9aa-69ea-4a23-b6ea-3a9d26ac15ab" providerId="ADAL" clId="{013ED13C-6829-4378-A6EF-2B6A713739E1}" dt="2024-06-12T13:09:24.214" v="420"/>
          <ac:grpSpMkLst>
            <pc:docMk/>
            <pc:sldMk cId="0" sldId="267"/>
            <ac:grpSpMk id="26" creationId="{C09BB09A-42B7-9D91-E7FB-E0DE694599B1}"/>
          </ac:grpSpMkLst>
        </pc:grpChg>
        <pc:grpChg chg="del">
          <ac:chgData name="Fivestarly Lathong [Chillibreeze]" userId="479dc9aa-69ea-4a23-b6ea-3a9d26ac15ab" providerId="ADAL" clId="{013ED13C-6829-4378-A6EF-2B6A713739E1}" dt="2024-06-12T13:09:08.785" v="416" actId="21"/>
          <ac:grpSpMkLst>
            <pc:docMk/>
            <pc:sldMk cId="0" sldId="267"/>
            <ac:grpSpMk id="4268" creationId="{00000000-0000-0000-0000-000000000000}"/>
          </ac:grpSpMkLst>
        </pc:grpChg>
        <pc:grpChg chg="del">
          <ac:chgData name="Fivestarly Lathong [Chillibreeze]" userId="479dc9aa-69ea-4a23-b6ea-3a9d26ac15ab" providerId="ADAL" clId="{013ED13C-6829-4378-A6EF-2B6A713739E1}" dt="2024-06-12T13:09:08.785" v="416" actId="21"/>
          <ac:grpSpMkLst>
            <pc:docMk/>
            <pc:sldMk cId="0" sldId="267"/>
            <ac:grpSpMk id="4271" creationId="{00000000-0000-0000-0000-000000000000}"/>
          </ac:grpSpMkLst>
        </pc:grpChg>
        <pc:picChg chg="mod">
          <ac:chgData name="Fivestarly Lathong [Chillibreeze]" userId="479dc9aa-69ea-4a23-b6ea-3a9d26ac15ab" providerId="ADAL" clId="{013ED13C-6829-4378-A6EF-2B6A713739E1}" dt="2024-06-12T13:09:24.214" v="420"/>
          <ac:picMkLst>
            <pc:docMk/>
            <pc:sldMk cId="0" sldId="267"/>
            <ac:picMk id="18" creationId="{8D6CEE95-406F-7E4E-216F-D83573D91D44}"/>
          </ac:picMkLst>
        </pc:picChg>
        <pc:picChg chg="mod">
          <ac:chgData name="Fivestarly Lathong [Chillibreeze]" userId="479dc9aa-69ea-4a23-b6ea-3a9d26ac15ab" providerId="ADAL" clId="{013ED13C-6829-4378-A6EF-2B6A713739E1}" dt="2024-06-12T13:09:24.214" v="420"/>
          <ac:picMkLst>
            <pc:docMk/>
            <pc:sldMk cId="0" sldId="267"/>
            <ac:picMk id="27" creationId="{F23C8146-AACA-6999-DD47-8A1A3251141F}"/>
          </ac:picMkLst>
        </pc:picChg>
        <pc:cxnChg chg="add del mod ord">
          <ac:chgData name="Fivestarly Lathong [Chillibreeze]" userId="479dc9aa-69ea-4a23-b6ea-3a9d26ac15ab" providerId="ADAL" clId="{013ED13C-6829-4378-A6EF-2B6A713739E1}" dt="2024-06-12T13:09:47.815" v="483" actId="21"/>
          <ac:cxnSpMkLst>
            <pc:docMk/>
            <pc:sldMk cId="0" sldId="267"/>
            <ac:cxnSpMk id="11" creationId="{E145EA51-8A3F-70A1-6090-7DBDE13807E9}"/>
          </ac:cxnSpMkLst>
        </pc:cxnChg>
        <pc:cxnChg chg="add mod">
          <ac:chgData name="Fivestarly Lathong [Chillibreeze]" userId="479dc9aa-69ea-4a23-b6ea-3a9d26ac15ab" providerId="ADAL" clId="{013ED13C-6829-4378-A6EF-2B6A713739E1}" dt="2024-06-12T13:10:06.420" v="490" actId="14100"/>
          <ac:cxnSpMkLst>
            <pc:docMk/>
            <pc:sldMk cId="0" sldId="267"/>
            <ac:cxnSpMk id="41" creationId="{AE95805A-8420-8C6F-7B72-B226B8719564}"/>
          </ac:cxnSpMkLst>
        </pc:cxnChg>
      </pc:sldChg>
      <pc:sldChg chg="addSp delSp modSp mod setBg modClrScheme chgLayout">
        <pc:chgData name="Fivestarly Lathong [Chillibreeze]" userId="479dc9aa-69ea-4a23-b6ea-3a9d26ac15ab" providerId="ADAL" clId="{013ED13C-6829-4378-A6EF-2B6A713739E1}" dt="2024-06-12T13:17:24.119" v="597"/>
        <pc:sldMkLst>
          <pc:docMk/>
          <pc:sldMk cId="0" sldId="268"/>
        </pc:sldMkLst>
        <pc:spChg chg="del mod">
          <ac:chgData name="Fivestarly Lathong [Chillibreeze]" userId="479dc9aa-69ea-4a23-b6ea-3a9d26ac15ab" providerId="ADAL" clId="{013ED13C-6829-4378-A6EF-2B6A713739E1}" dt="2024-06-12T13:14:15.007" v="539" actId="21"/>
          <ac:spMkLst>
            <pc:docMk/>
            <pc:sldMk cId="0" sldId="268"/>
            <ac:spMk id="2" creationId="{1408AA9B-7509-82E3-F79B-C568BDD886C6}"/>
          </ac:spMkLst>
        </pc:spChg>
        <pc:spChg chg="add del mod ord">
          <ac:chgData name="Fivestarly Lathong [Chillibreeze]" userId="479dc9aa-69ea-4a23-b6ea-3a9d26ac15ab" providerId="ADAL" clId="{013ED13C-6829-4378-A6EF-2B6A713739E1}" dt="2024-06-12T13:12:57.385" v="530" actId="700"/>
          <ac:spMkLst>
            <pc:docMk/>
            <pc:sldMk cId="0" sldId="268"/>
            <ac:spMk id="4" creationId="{F77344E6-D7B8-EAD5-FFE4-46AB76B6E759}"/>
          </ac:spMkLst>
        </pc:spChg>
        <pc:spChg chg="add mod ord">
          <ac:chgData name="Fivestarly Lathong [Chillibreeze]" userId="479dc9aa-69ea-4a23-b6ea-3a9d26ac15ab" providerId="ADAL" clId="{013ED13C-6829-4378-A6EF-2B6A713739E1}" dt="2024-06-12T13:15:43.935" v="554" actId="207"/>
          <ac:spMkLst>
            <pc:docMk/>
            <pc:sldMk cId="0" sldId="268"/>
            <ac:spMk id="5" creationId="{C66CFC6F-F304-FB20-2C07-4C0853C8A9C8}"/>
          </ac:spMkLst>
        </pc:spChg>
        <pc:spChg chg="add mod">
          <ac:chgData name="Fivestarly Lathong [Chillibreeze]" userId="479dc9aa-69ea-4a23-b6ea-3a9d26ac15ab" providerId="ADAL" clId="{013ED13C-6829-4378-A6EF-2B6A713739E1}" dt="2024-06-12T13:12:58.358" v="531"/>
          <ac:spMkLst>
            <pc:docMk/>
            <pc:sldMk cId="0" sldId="268"/>
            <ac:spMk id="6" creationId="{B419671B-3352-DF02-8AFE-6CB71178E563}"/>
          </ac:spMkLst>
        </pc:spChg>
        <pc:spChg chg="add mod">
          <ac:chgData name="Fivestarly Lathong [Chillibreeze]" userId="479dc9aa-69ea-4a23-b6ea-3a9d26ac15ab" providerId="ADAL" clId="{013ED13C-6829-4378-A6EF-2B6A713739E1}" dt="2024-06-12T13:12:58.358" v="531"/>
          <ac:spMkLst>
            <pc:docMk/>
            <pc:sldMk cId="0" sldId="268"/>
            <ac:spMk id="7" creationId="{FBFC2A09-ACC9-18A0-0E49-2515F5A1751C}"/>
          </ac:spMkLst>
        </pc:spChg>
        <pc:spChg chg="add mod">
          <ac:chgData name="Fivestarly Lathong [Chillibreeze]" userId="479dc9aa-69ea-4a23-b6ea-3a9d26ac15ab" providerId="ADAL" clId="{013ED13C-6829-4378-A6EF-2B6A713739E1}" dt="2024-06-12T13:12:58.358" v="531"/>
          <ac:spMkLst>
            <pc:docMk/>
            <pc:sldMk cId="0" sldId="268"/>
            <ac:spMk id="8" creationId="{47D792C5-2ECF-8E17-C017-D2F3E3DCE0C7}"/>
          </ac:spMkLst>
        </pc:spChg>
        <pc:spChg chg="mod">
          <ac:chgData name="Fivestarly Lathong [Chillibreeze]" userId="479dc9aa-69ea-4a23-b6ea-3a9d26ac15ab" providerId="ADAL" clId="{013ED13C-6829-4378-A6EF-2B6A713739E1}" dt="2024-06-12T13:12:58.358" v="531"/>
          <ac:spMkLst>
            <pc:docMk/>
            <pc:sldMk cId="0" sldId="268"/>
            <ac:spMk id="12" creationId="{0EA98C0D-343A-A72C-4285-7E9F5AA46572}"/>
          </ac:spMkLst>
        </pc:spChg>
        <pc:spChg chg="mod">
          <ac:chgData name="Fivestarly Lathong [Chillibreeze]" userId="479dc9aa-69ea-4a23-b6ea-3a9d26ac15ab" providerId="ADAL" clId="{013ED13C-6829-4378-A6EF-2B6A713739E1}" dt="2024-06-12T13:12:58.358" v="531"/>
          <ac:spMkLst>
            <pc:docMk/>
            <pc:sldMk cId="0" sldId="268"/>
            <ac:spMk id="13" creationId="{1EDD23DF-60AE-F3BE-326E-2505EC0A5FA8}"/>
          </ac:spMkLst>
        </pc:spChg>
        <pc:spChg chg="add mod">
          <ac:chgData name="Fivestarly Lathong [Chillibreeze]" userId="479dc9aa-69ea-4a23-b6ea-3a9d26ac15ab" providerId="ADAL" clId="{013ED13C-6829-4378-A6EF-2B6A713739E1}" dt="2024-06-12T13:16:33.049" v="569" actId="12788"/>
          <ac:spMkLst>
            <pc:docMk/>
            <pc:sldMk cId="0" sldId="268"/>
            <ac:spMk id="14" creationId="{6947A327-5311-8BF1-979B-5D1B59BFA2EE}"/>
          </ac:spMkLst>
        </pc:spChg>
        <pc:spChg chg="mod">
          <ac:chgData name="Fivestarly Lathong [Chillibreeze]" userId="479dc9aa-69ea-4a23-b6ea-3a9d26ac15ab" providerId="ADAL" clId="{013ED13C-6829-4378-A6EF-2B6A713739E1}" dt="2024-06-12T13:12:58.358" v="531"/>
          <ac:spMkLst>
            <pc:docMk/>
            <pc:sldMk cId="0" sldId="268"/>
            <ac:spMk id="16" creationId="{CD18E3F6-CFF6-D5C6-FD44-AA57CFBE3D34}"/>
          </ac:spMkLst>
        </pc:spChg>
        <pc:spChg chg="mod">
          <ac:chgData name="Fivestarly Lathong [Chillibreeze]" userId="479dc9aa-69ea-4a23-b6ea-3a9d26ac15ab" providerId="ADAL" clId="{013ED13C-6829-4378-A6EF-2B6A713739E1}" dt="2024-06-12T13:12:58.358" v="531"/>
          <ac:spMkLst>
            <pc:docMk/>
            <pc:sldMk cId="0" sldId="268"/>
            <ac:spMk id="17" creationId="{8CCA8BFB-E611-6FD8-8CAC-F5A620D6EB26}"/>
          </ac:spMkLst>
        </pc:spChg>
        <pc:spChg chg="add mod">
          <ac:chgData name="Fivestarly Lathong [Chillibreeze]" userId="479dc9aa-69ea-4a23-b6ea-3a9d26ac15ab" providerId="ADAL" clId="{013ED13C-6829-4378-A6EF-2B6A713739E1}" dt="2024-06-12T13:16:36.408" v="570" actId="12788"/>
          <ac:spMkLst>
            <pc:docMk/>
            <pc:sldMk cId="0" sldId="268"/>
            <ac:spMk id="18" creationId="{0366D29F-603B-B88D-54CD-2BC36A8C097C}"/>
          </ac:spMkLst>
        </pc:spChg>
        <pc:spChg chg="mod">
          <ac:chgData name="Fivestarly Lathong [Chillibreeze]" userId="479dc9aa-69ea-4a23-b6ea-3a9d26ac15ab" providerId="ADAL" clId="{013ED13C-6829-4378-A6EF-2B6A713739E1}" dt="2024-06-12T13:12:58.358" v="531"/>
          <ac:spMkLst>
            <pc:docMk/>
            <pc:sldMk cId="0" sldId="268"/>
            <ac:spMk id="20" creationId="{552D35AB-6420-B3F8-A413-FF1B624DDF97}"/>
          </ac:spMkLst>
        </pc:spChg>
        <pc:spChg chg="mod">
          <ac:chgData name="Fivestarly Lathong [Chillibreeze]" userId="479dc9aa-69ea-4a23-b6ea-3a9d26ac15ab" providerId="ADAL" clId="{013ED13C-6829-4378-A6EF-2B6A713739E1}" dt="2024-06-12T13:12:58.358" v="531"/>
          <ac:spMkLst>
            <pc:docMk/>
            <pc:sldMk cId="0" sldId="268"/>
            <ac:spMk id="21" creationId="{CC0CF61D-9ED4-644F-ECC7-35CE434F55A0}"/>
          </ac:spMkLst>
        </pc:spChg>
        <pc:spChg chg="add mod">
          <ac:chgData name="Fivestarly Lathong [Chillibreeze]" userId="479dc9aa-69ea-4a23-b6ea-3a9d26ac15ab" providerId="ADAL" clId="{013ED13C-6829-4378-A6EF-2B6A713739E1}" dt="2024-06-12T13:16:41.712" v="571" actId="12788"/>
          <ac:spMkLst>
            <pc:docMk/>
            <pc:sldMk cId="0" sldId="268"/>
            <ac:spMk id="22" creationId="{6B565BCA-18CB-2F27-D6E7-304E63F7A6BC}"/>
          </ac:spMkLst>
        </pc:spChg>
        <pc:spChg chg="add mod">
          <ac:chgData name="Fivestarly Lathong [Chillibreeze]" userId="479dc9aa-69ea-4a23-b6ea-3a9d26ac15ab" providerId="ADAL" clId="{013ED13C-6829-4378-A6EF-2B6A713739E1}" dt="2024-06-12T13:17:19.774" v="594"/>
          <ac:spMkLst>
            <pc:docMk/>
            <pc:sldMk cId="0" sldId="268"/>
            <ac:spMk id="23" creationId="{1845029D-B75B-D73C-76AB-8E58AF8CBAEA}"/>
          </ac:spMkLst>
        </pc:spChg>
        <pc:spChg chg="add mod">
          <ac:chgData name="Fivestarly Lathong [Chillibreeze]" userId="479dc9aa-69ea-4a23-b6ea-3a9d26ac15ab" providerId="ADAL" clId="{013ED13C-6829-4378-A6EF-2B6A713739E1}" dt="2024-06-12T13:17:15.141" v="591"/>
          <ac:spMkLst>
            <pc:docMk/>
            <pc:sldMk cId="0" sldId="268"/>
            <ac:spMk id="24" creationId="{9C860F77-AEEA-7769-DE50-44A33C1D5812}"/>
          </ac:spMkLst>
        </pc:spChg>
        <pc:spChg chg="add mod">
          <ac:chgData name="Fivestarly Lathong [Chillibreeze]" userId="479dc9aa-69ea-4a23-b6ea-3a9d26ac15ab" providerId="ADAL" clId="{013ED13C-6829-4378-A6EF-2B6A713739E1}" dt="2024-06-12T13:17:24.119" v="597"/>
          <ac:spMkLst>
            <pc:docMk/>
            <pc:sldMk cId="0" sldId="268"/>
            <ac:spMk id="25" creationId="{66D46230-55D1-F537-0887-0CC0B4DEA8EF}"/>
          </ac:spMkLst>
        </pc:spChg>
        <pc:spChg chg="mod">
          <ac:chgData name="Fivestarly Lathong [Chillibreeze]" userId="479dc9aa-69ea-4a23-b6ea-3a9d26ac15ab" providerId="ADAL" clId="{013ED13C-6829-4378-A6EF-2B6A713739E1}" dt="2024-06-12T13:12:58.358" v="531"/>
          <ac:spMkLst>
            <pc:docMk/>
            <pc:sldMk cId="0" sldId="268"/>
            <ac:spMk id="27" creationId="{F1CD7641-3C83-E96D-814B-DFAFB510F155}"/>
          </ac:spMkLst>
        </pc:spChg>
        <pc:spChg chg="mod">
          <ac:chgData name="Fivestarly Lathong [Chillibreeze]" userId="479dc9aa-69ea-4a23-b6ea-3a9d26ac15ab" providerId="ADAL" clId="{013ED13C-6829-4378-A6EF-2B6A713739E1}" dt="2024-06-12T13:12:58.358" v="531"/>
          <ac:spMkLst>
            <pc:docMk/>
            <pc:sldMk cId="0" sldId="268"/>
            <ac:spMk id="28" creationId="{B358CF6E-3EA8-A24B-0225-2C736BA03C22}"/>
          </ac:spMkLst>
        </pc:spChg>
        <pc:spChg chg="mod">
          <ac:chgData name="Fivestarly Lathong [Chillibreeze]" userId="479dc9aa-69ea-4a23-b6ea-3a9d26ac15ab" providerId="ADAL" clId="{013ED13C-6829-4378-A6EF-2B6A713739E1}" dt="2024-06-12T13:16:54.348" v="576"/>
          <ac:spMkLst>
            <pc:docMk/>
            <pc:sldMk cId="0" sldId="268"/>
            <ac:spMk id="29" creationId="{821DF2B1-6986-A3A6-C0B7-767AEC02D2C5}"/>
          </ac:spMkLst>
        </pc:spChg>
        <pc:spChg chg="mod">
          <ac:chgData name="Fivestarly Lathong [Chillibreeze]" userId="479dc9aa-69ea-4a23-b6ea-3a9d26ac15ab" providerId="ADAL" clId="{013ED13C-6829-4378-A6EF-2B6A713739E1}" dt="2024-06-12T13:12:58.358" v="531"/>
          <ac:spMkLst>
            <pc:docMk/>
            <pc:sldMk cId="0" sldId="268"/>
            <ac:spMk id="31" creationId="{FD4AD45E-1874-6E3B-0394-831603EF8697}"/>
          </ac:spMkLst>
        </pc:spChg>
        <pc:spChg chg="mod">
          <ac:chgData name="Fivestarly Lathong [Chillibreeze]" userId="479dc9aa-69ea-4a23-b6ea-3a9d26ac15ab" providerId="ADAL" clId="{013ED13C-6829-4378-A6EF-2B6A713739E1}" dt="2024-06-12T13:12:58.358" v="531"/>
          <ac:spMkLst>
            <pc:docMk/>
            <pc:sldMk cId="0" sldId="268"/>
            <ac:spMk id="32" creationId="{5B8C72AB-169B-7F2D-E5BD-0F1E1D288D1D}"/>
          </ac:spMkLst>
        </pc:spChg>
        <pc:spChg chg="mod">
          <ac:chgData name="Fivestarly Lathong [Chillibreeze]" userId="479dc9aa-69ea-4a23-b6ea-3a9d26ac15ab" providerId="ADAL" clId="{013ED13C-6829-4378-A6EF-2B6A713739E1}" dt="2024-06-12T13:17:00.434" v="583"/>
          <ac:spMkLst>
            <pc:docMk/>
            <pc:sldMk cId="0" sldId="268"/>
            <ac:spMk id="33" creationId="{F785048C-1F79-7547-10A3-51F38E41D2B5}"/>
          </ac:spMkLst>
        </pc:spChg>
        <pc:spChg chg="mod">
          <ac:chgData name="Fivestarly Lathong [Chillibreeze]" userId="479dc9aa-69ea-4a23-b6ea-3a9d26ac15ab" providerId="ADAL" clId="{013ED13C-6829-4378-A6EF-2B6A713739E1}" dt="2024-06-12T13:12:58.358" v="531"/>
          <ac:spMkLst>
            <pc:docMk/>
            <pc:sldMk cId="0" sldId="268"/>
            <ac:spMk id="35" creationId="{B0774184-71C7-9EF4-8B46-3A68D84EED9E}"/>
          </ac:spMkLst>
        </pc:spChg>
        <pc:spChg chg="mod">
          <ac:chgData name="Fivestarly Lathong [Chillibreeze]" userId="479dc9aa-69ea-4a23-b6ea-3a9d26ac15ab" providerId="ADAL" clId="{013ED13C-6829-4378-A6EF-2B6A713739E1}" dt="2024-06-12T13:12:58.358" v="531"/>
          <ac:spMkLst>
            <pc:docMk/>
            <pc:sldMk cId="0" sldId="268"/>
            <ac:spMk id="36" creationId="{08493501-52B1-F78C-EB79-15B017FB50C0}"/>
          </ac:spMkLst>
        </pc:spChg>
        <pc:spChg chg="mod">
          <ac:chgData name="Fivestarly Lathong [Chillibreeze]" userId="479dc9aa-69ea-4a23-b6ea-3a9d26ac15ab" providerId="ADAL" clId="{013ED13C-6829-4378-A6EF-2B6A713739E1}" dt="2024-06-12T13:17:08.128" v="588"/>
          <ac:spMkLst>
            <pc:docMk/>
            <pc:sldMk cId="0" sldId="268"/>
            <ac:spMk id="37" creationId="{A3D019EF-FDD3-916A-1569-2056C85E522A}"/>
          </ac:spMkLst>
        </pc:spChg>
        <pc:spChg chg="add mod ord">
          <ac:chgData name="Fivestarly Lathong [Chillibreeze]" userId="479dc9aa-69ea-4a23-b6ea-3a9d26ac15ab" providerId="ADAL" clId="{013ED13C-6829-4378-A6EF-2B6A713739E1}" dt="2024-06-12T13:13:11.154" v="534" actId="167"/>
          <ac:spMkLst>
            <pc:docMk/>
            <pc:sldMk cId="0" sldId="268"/>
            <ac:spMk id="39" creationId="{AC1E45DA-2988-6D82-2C96-38FD961B94D1}"/>
          </ac:spMkLst>
        </pc:spChg>
        <pc:spChg chg="add del mod ord">
          <ac:chgData name="Fivestarly Lathong [Chillibreeze]" userId="479dc9aa-69ea-4a23-b6ea-3a9d26ac15ab" providerId="ADAL" clId="{013ED13C-6829-4378-A6EF-2B6A713739E1}" dt="2024-06-12T13:14:45.327" v="541" actId="478"/>
          <ac:spMkLst>
            <pc:docMk/>
            <pc:sldMk cId="0" sldId="268"/>
            <ac:spMk id="40" creationId="{75ED9C5F-A828-3ECD-1DD5-8B0181D3B1A6}"/>
          </ac:spMkLst>
        </pc:spChg>
        <pc:spChg chg="add del mod">
          <ac:chgData name="Fivestarly Lathong [Chillibreeze]" userId="479dc9aa-69ea-4a23-b6ea-3a9d26ac15ab" providerId="ADAL" clId="{013ED13C-6829-4378-A6EF-2B6A713739E1}" dt="2024-06-12T13:13:18.922" v="536" actId="6264"/>
          <ac:spMkLst>
            <pc:docMk/>
            <pc:sldMk cId="0" sldId="268"/>
            <ac:spMk id="41" creationId="{B1435C86-9AEB-E93A-3C80-A277A5504CCB}"/>
          </ac:spMkLst>
        </pc:spChg>
        <pc:spChg chg="add del mod">
          <ac:chgData name="Fivestarly Lathong [Chillibreeze]" userId="479dc9aa-69ea-4a23-b6ea-3a9d26ac15ab" providerId="ADAL" clId="{013ED13C-6829-4378-A6EF-2B6A713739E1}" dt="2024-06-12T13:13:19.126" v="537" actId="6264"/>
          <ac:spMkLst>
            <pc:docMk/>
            <pc:sldMk cId="0" sldId="268"/>
            <ac:spMk id="42" creationId="{16759F8F-A24B-5450-DCDF-3A22DC6334A6}"/>
          </ac:spMkLst>
        </pc:spChg>
        <pc:spChg chg="add mod">
          <ac:chgData name="Fivestarly Lathong [Chillibreeze]" userId="479dc9aa-69ea-4a23-b6ea-3a9d26ac15ab" providerId="ADAL" clId="{013ED13C-6829-4378-A6EF-2B6A713739E1}" dt="2024-06-12T13:14:46.159" v="542"/>
          <ac:spMkLst>
            <pc:docMk/>
            <pc:sldMk cId="0" sldId="268"/>
            <ac:spMk id="43" creationId="{F4D0AC80-66B0-FC28-BD70-F9EC20B27781}"/>
          </ac:spMkLst>
        </pc:spChg>
        <pc:spChg chg="add mod">
          <ac:chgData name="Fivestarly Lathong [Chillibreeze]" userId="479dc9aa-69ea-4a23-b6ea-3a9d26ac15ab" providerId="ADAL" clId="{013ED13C-6829-4378-A6EF-2B6A713739E1}" dt="2024-06-12T13:14:53.575" v="543" actId="207"/>
          <ac:spMkLst>
            <pc:docMk/>
            <pc:sldMk cId="0" sldId="268"/>
            <ac:spMk id="45" creationId="{E0B34C39-0E8A-BB2E-7365-3329866F1789}"/>
          </ac:spMkLst>
        </pc:spChg>
        <pc:spChg chg="del">
          <ac:chgData name="Fivestarly Lathong [Chillibreeze]" userId="479dc9aa-69ea-4a23-b6ea-3a9d26ac15ab" providerId="ADAL" clId="{013ED13C-6829-4378-A6EF-2B6A713739E1}" dt="2024-06-12T13:12:47.798" v="525" actId="478"/>
          <ac:spMkLst>
            <pc:docMk/>
            <pc:sldMk cId="0" sldId="268"/>
            <ac:spMk id="4280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12:49.117" v="526" actId="478"/>
          <ac:spMkLst>
            <pc:docMk/>
            <pc:sldMk cId="0" sldId="268"/>
            <ac:spMk id="4281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12:47.798" v="525" actId="478"/>
          <ac:spMkLst>
            <pc:docMk/>
            <pc:sldMk cId="0" sldId="268"/>
            <ac:spMk id="4282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12:47.798" v="525" actId="478"/>
          <ac:spMkLst>
            <pc:docMk/>
            <pc:sldMk cId="0" sldId="268"/>
            <ac:spMk id="4283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12:47.798" v="525" actId="478"/>
          <ac:spMkLst>
            <pc:docMk/>
            <pc:sldMk cId="0" sldId="268"/>
            <ac:spMk id="4284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12:47.798" v="525" actId="478"/>
          <ac:spMkLst>
            <pc:docMk/>
            <pc:sldMk cId="0" sldId="268"/>
            <ac:spMk id="4285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12:47.798" v="525" actId="478"/>
          <ac:spMkLst>
            <pc:docMk/>
            <pc:sldMk cId="0" sldId="268"/>
            <ac:spMk id="4286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12:47.798" v="525" actId="478"/>
          <ac:spMkLst>
            <pc:docMk/>
            <pc:sldMk cId="0" sldId="268"/>
            <ac:spMk id="4287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12:47.798" v="525" actId="478"/>
          <ac:spMkLst>
            <pc:docMk/>
            <pc:sldMk cId="0" sldId="268"/>
            <ac:spMk id="4288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12:47.798" v="525" actId="478"/>
          <ac:spMkLst>
            <pc:docMk/>
            <pc:sldMk cId="0" sldId="268"/>
            <ac:spMk id="4289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12:47.798" v="525" actId="478"/>
          <ac:spMkLst>
            <pc:docMk/>
            <pc:sldMk cId="0" sldId="268"/>
            <ac:spMk id="4290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12:47.798" v="525" actId="478"/>
          <ac:spMkLst>
            <pc:docMk/>
            <pc:sldMk cId="0" sldId="268"/>
            <ac:spMk id="4291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12:47.798" v="525" actId="478"/>
          <ac:spMkLst>
            <pc:docMk/>
            <pc:sldMk cId="0" sldId="268"/>
            <ac:spMk id="4292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12:50.264" v="527" actId="478"/>
          <ac:spMkLst>
            <pc:docMk/>
            <pc:sldMk cId="0" sldId="268"/>
            <ac:spMk id="4293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12:47.798" v="525" actId="478"/>
          <ac:spMkLst>
            <pc:docMk/>
            <pc:sldMk cId="0" sldId="268"/>
            <ac:spMk id="4297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12:47.798" v="525" actId="478"/>
          <ac:spMkLst>
            <pc:docMk/>
            <pc:sldMk cId="0" sldId="268"/>
            <ac:spMk id="4298" creationId="{00000000-0000-0000-0000-000000000000}"/>
          </ac:spMkLst>
        </pc:spChg>
        <pc:grpChg chg="add mod">
          <ac:chgData name="Fivestarly Lathong [Chillibreeze]" userId="479dc9aa-69ea-4a23-b6ea-3a9d26ac15ab" providerId="ADAL" clId="{013ED13C-6829-4378-A6EF-2B6A713739E1}" dt="2024-06-12T13:16:15.589" v="568" actId="12788"/>
          <ac:grpSpMkLst>
            <pc:docMk/>
            <pc:sldMk cId="0" sldId="268"/>
            <ac:grpSpMk id="11" creationId="{5FE669B0-55CF-16FC-FC9B-44E88A5C74A9}"/>
          </ac:grpSpMkLst>
        </pc:grpChg>
        <pc:grpChg chg="add mod">
          <ac:chgData name="Fivestarly Lathong [Chillibreeze]" userId="479dc9aa-69ea-4a23-b6ea-3a9d26ac15ab" providerId="ADAL" clId="{013ED13C-6829-4378-A6EF-2B6A713739E1}" dt="2024-06-12T13:16:11.727" v="567" actId="12788"/>
          <ac:grpSpMkLst>
            <pc:docMk/>
            <pc:sldMk cId="0" sldId="268"/>
            <ac:grpSpMk id="15" creationId="{2EDADD06-4BC4-60A5-5B80-4AD1CAB4B794}"/>
          </ac:grpSpMkLst>
        </pc:grpChg>
        <pc:grpChg chg="add mod">
          <ac:chgData name="Fivestarly Lathong [Chillibreeze]" userId="479dc9aa-69ea-4a23-b6ea-3a9d26ac15ab" providerId="ADAL" clId="{013ED13C-6829-4378-A6EF-2B6A713739E1}" dt="2024-06-12T13:16:08.996" v="566" actId="12788"/>
          <ac:grpSpMkLst>
            <pc:docMk/>
            <pc:sldMk cId="0" sldId="268"/>
            <ac:grpSpMk id="19" creationId="{EF3C526A-E9EC-6802-BB92-7ED0FD0F743F}"/>
          </ac:grpSpMkLst>
        </pc:grpChg>
        <pc:grpChg chg="add mod">
          <ac:chgData name="Fivestarly Lathong [Chillibreeze]" userId="479dc9aa-69ea-4a23-b6ea-3a9d26ac15ab" providerId="ADAL" clId="{013ED13C-6829-4378-A6EF-2B6A713739E1}" dt="2024-06-12T13:16:33.049" v="569" actId="12788"/>
          <ac:grpSpMkLst>
            <pc:docMk/>
            <pc:sldMk cId="0" sldId="268"/>
            <ac:grpSpMk id="26" creationId="{D605C5C3-0017-7D80-1EAB-456AD4788BF8}"/>
          </ac:grpSpMkLst>
        </pc:grpChg>
        <pc:grpChg chg="add mod">
          <ac:chgData name="Fivestarly Lathong [Chillibreeze]" userId="479dc9aa-69ea-4a23-b6ea-3a9d26ac15ab" providerId="ADAL" clId="{013ED13C-6829-4378-A6EF-2B6A713739E1}" dt="2024-06-12T13:16:36.408" v="570" actId="12788"/>
          <ac:grpSpMkLst>
            <pc:docMk/>
            <pc:sldMk cId="0" sldId="268"/>
            <ac:grpSpMk id="30" creationId="{B90CD740-B21F-1FA3-555F-DA629AA19FCC}"/>
          </ac:grpSpMkLst>
        </pc:grpChg>
        <pc:grpChg chg="add mod">
          <ac:chgData name="Fivestarly Lathong [Chillibreeze]" userId="479dc9aa-69ea-4a23-b6ea-3a9d26ac15ab" providerId="ADAL" clId="{013ED13C-6829-4378-A6EF-2B6A713739E1}" dt="2024-06-12T13:16:41.712" v="571" actId="12788"/>
          <ac:grpSpMkLst>
            <pc:docMk/>
            <pc:sldMk cId="0" sldId="268"/>
            <ac:grpSpMk id="34" creationId="{0FC706FF-0737-0029-B04F-0B46A1BFA6D4}"/>
          </ac:grpSpMkLst>
        </pc:grpChg>
        <pc:grpChg chg="del">
          <ac:chgData name="Fivestarly Lathong [Chillibreeze]" userId="479dc9aa-69ea-4a23-b6ea-3a9d26ac15ab" providerId="ADAL" clId="{013ED13C-6829-4378-A6EF-2B6A713739E1}" dt="2024-06-12T13:12:47.798" v="525" actId="478"/>
          <ac:grpSpMkLst>
            <pc:docMk/>
            <pc:sldMk cId="0" sldId="268"/>
            <ac:grpSpMk id="4294" creationId="{00000000-0000-0000-0000-000000000000}"/>
          </ac:grpSpMkLst>
        </pc:grpChg>
        <pc:picChg chg="add mod ord">
          <ac:chgData name="Fivestarly Lathong [Chillibreeze]" userId="479dc9aa-69ea-4a23-b6ea-3a9d26ac15ab" providerId="ADAL" clId="{013ED13C-6829-4378-A6EF-2B6A713739E1}" dt="2024-06-12T13:13:11.154" v="534" actId="167"/>
          <ac:picMkLst>
            <pc:docMk/>
            <pc:sldMk cId="0" sldId="268"/>
            <ac:picMk id="38" creationId="{54C657B5-BBEB-006B-06CA-78D69070B22D}"/>
          </ac:picMkLst>
        </pc:picChg>
        <pc:cxnChg chg="add mod">
          <ac:chgData name="Fivestarly Lathong [Chillibreeze]" userId="479dc9aa-69ea-4a23-b6ea-3a9d26ac15ab" providerId="ADAL" clId="{013ED13C-6829-4378-A6EF-2B6A713739E1}" dt="2024-06-12T13:12:58.358" v="531"/>
          <ac:cxnSpMkLst>
            <pc:docMk/>
            <pc:sldMk cId="0" sldId="268"/>
            <ac:cxnSpMk id="9" creationId="{447F6C73-ABDF-77B7-0A92-8920CE5F2A2E}"/>
          </ac:cxnSpMkLst>
        </pc:cxnChg>
        <pc:cxnChg chg="add mod">
          <ac:chgData name="Fivestarly Lathong [Chillibreeze]" userId="479dc9aa-69ea-4a23-b6ea-3a9d26ac15ab" providerId="ADAL" clId="{013ED13C-6829-4378-A6EF-2B6A713739E1}" dt="2024-06-12T13:12:58.358" v="531"/>
          <ac:cxnSpMkLst>
            <pc:docMk/>
            <pc:sldMk cId="0" sldId="268"/>
            <ac:cxnSpMk id="10" creationId="{9D505669-6448-65E5-723E-FC0EC4D9EA1C}"/>
          </ac:cxnSpMkLst>
        </pc:cxnChg>
        <pc:cxnChg chg="add mod">
          <ac:chgData name="Fivestarly Lathong [Chillibreeze]" userId="479dc9aa-69ea-4a23-b6ea-3a9d26ac15ab" providerId="ADAL" clId="{013ED13C-6829-4378-A6EF-2B6A713739E1}" dt="2024-06-12T13:14:46.159" v="542"/>
          <ac:cxnSpMkLst>
            <pc:docMk/>
            <pc:sldMk cId="0" sldId="268"/>
            <ac:cxnSpMk id="44" creationId="{856A175E-E545-B6F5-7898-4A8B2DFFD4C2}"/>
          </ac:cxnSpMkLst>
        </pc:cxnChg>
      </pc:sldChg>
      <pc:sldChg chg="addSp delSp modSp mod setBg modClrScheme chgLayout">
        <pc:chgData name="Fivestarly Lathong [Chillibreeze]" userId="479dc9aa-69ea-4a23-b6ea-3a9d26ac15ab" providerId="ADAL" clId="{013ED13C-6829-4378-A6EF-2B6A713739E1}" dt="2024-06-12T14:14:21.722" v="1294" actId="478"/>
        <pc:sldMkLst>
          <pc:docMk/>
          <pc:sldMk cId="0" sldId="269"/>
        </pc:sldMkLst>
        <pc:spChg chg="mod ord">
          <ac:chgData name="Fivestarly Lathong [Chillibreeze]" userId="479dc9aa-69ea-4a23-b6ea-3a9d26ac15ab" providerId="ADAL" clId="{013ED13C-6829-4378-A6EF-2B6A713739E1}" dt="2024-06-12T14:14:18.360" v="1293" actId="700"/>
          <ac:spMkLst>
            <pc:docMk/>
            <pc:sldMk cId="0" sldId="269"/>
            <ac:spMk id="2" creationId="{10C539A3-27FF-EA13-5F24-FEF9C836D9A7}"/>
          </ac:spMkLst>
        </pc:spChg>
        <pc:spChg chg="del mod">
          <ac:chgData name="Fivestarly Lathong [Chillibreeze]" userId="479dc9aa-69ea-4a23-b6ea-3a9d26ac15ab" providerId="ADAL" clId="{013ED13C-6829-4378-A6EF-2B6A713739E1}" dt="2024-06-12T14:12:55.322" v="1286" actId="21"/>
          <ac:spMkLst>
            <pc:docMk/>
            <pc:sldMk cId="0" sldId="269"/>
            <ac:spMk id="3" creationId="{122F9A9F-A4CD-579F-5C12-C4FD10EB2B1B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13:30.032" v="1292" actId="21"/>
          <ac:spMkLst>
            <pc:docMk/>
            <pc:sldMk cId="0" sldId="269"/>
            <ac:spMk id="4" creationId="{9B6B8813-1286-7B80-FDA8-C10DD62E88C7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14:21.722" v="1294" actId="478"/>
          <ac:spMkLst>
            <pc:docMk/>
            <pc:sldMk cId="0" sldId="269"/>
            <ac:spMk id="5" creationId="{7F768535-5AB1-F217-3CCB-80DE1911A1DC}"/>
          </ac:spMkLst>
        </pc:spChg>
        <pc:spChg chg="del">
          <ac:chgData name="Fivestarly Lathong [Chillibreeze]" userId="479dc9aa-69ea-4a23-b6ea-3a9d26ac15ab" providerId="ADAL" clId="{013ED13C-6829-4378-A6EF-2B6A713739E1}" dt="2024-06-12T14:13:24.168" v="1290" actId="21"/>
          <ac:spMkLst>
            <pc:docMk/>
            <pc:sldMk cId="0" sldId="269"/>
            <ac:spMk id="4303" creationId="{00000000-0000-0000-0000-000000000000}"/>
          </ac:spMkLst>
        </pc:spChg>
      </pc:sldChg>
      <pc:sldChg chg="addSp delSp modSp mod setBg modClrScheme modAnim chgLayout">
        <pc:chgData name="Fivestarly Lathong [Chillibreeze]" userId="479dc9aa-69ea-4a23-b6ea-3a9d26ac15ab" providerId="ADAL" clId="{013ED13C-6829-4378-A6EF-2B6A713739E1}" dt="2024-06-12T14:00:21.557" v="1140" actId="21"/>
        <pc:sldMkLst>
          <pc:docMk/>
          <pc:sldMk cId="0" sldId="270"/>
        </pc:sldMkLst>
        <pc:spChg chg="del">
          <ac:chgData name="Fivestarly Lathong [Chillibreeze]" userId="479dc9aa-69ea-4a23-b6ea-3a9d26ac15ab" providerId="ADAL" clId="{013ED13C-6829-4378-A6EF-2B6A713739E1}" dt="2024-06-12T14:00:01.741" v="1107" actId="478"/>
          <ac:spMkLst>
            <pc:docMk/>
            <pc:sldMk cId="0" sldId="270"/>
            <ac:spMk id="2" creationId="{BB25E028-839C-4422-248A-108D66EA3E93}"/>
          </ac:spMkLst>
        </pc:spChg>
        <pc:spChg chg="del mod">
          <ac:chgData name="Fivestarly Lathong [Chillibreeze]" userId="479dc9aa-69ea-4a23-b6ea-3a9d26ac15ab" providerId="ADAL" clId="{013ED13C-6829-4378-A6EF-2B6A713739E1}" dt="2024-06-12T13:59:58.586" v="1105" actId="478"/>
          <ac:spMkLst>
            <pc:docMk/>
            <pc:sldMk cId="0" sldId="270"/>
            <ac:spMk id="3" creationId="{08904608-1C49-C793-6563-A7F8A120E7D9}"/>
          </ac:spMkLst>
        </pc:spChg>
        <pc:spChg chg="add mod">
          <ac:chgData name="Fivestarly Lathong [Chillibreeze]" userId="479dc9aa-69ea-4a23-b6ea-3a9d26ac15ab" providerId="ADAL" clId="{013ED13C-6829-4378-A6EF-2B6A713739E1}" dt="2024-06-12T14:00:07.831" v="1110"/>
          <ac:spMkLst>
            <pc:docMk/>
            <pc:sldMk cId="0" sldId="270"/>
            <ac:spMk id="4" creationId="{FB67F00D-24B0-2BB8-1267-25E071CB3693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00:21.557" v="1140" actId="21"/>
          <ac:spMkLst>
            <pc:docMk/>
            <pc:sldMk cId="0" sldId="270"/>
            <ac:spMk id="8" creationId="{05285F35-58B7-6160-6B08-A41D26AA29BD}"/>
          </ac:spMkLst>
        </pc:spChg>
        <pc:spChg chg="del">
          <ac:chgData name="Fivestarly Lathong [Chillibreeze]" userId="479dc9aa-69ea-4a23-b6ea-3a9d26ac15ab" providerId="ADAL" clId="{013ED13C-6829-4378-A6EF-2B6A713739E1}" dt="2024-06-12T14:00:01.741" v="1107" actId="478"/>
          <ac:spMkLst>
            <pc:docMk/>
            <pc:sldMk cId="0" sldId="270"/>
            <ac:spMk id="4308" creationId="{00000000-0000-0000-0000-000000000000}"/>
          </ac:spMkLst>
        </pc:spChg>
        <pc:grpChg chg="add del mod">
          <ac:chgData name="Fivestarly Lathong [Chillibreeze]" userId="479dc9aa-69ea-4a23-b6ea-3a9d26ac15ab" providerId="ADAL" clId="{013ED13C-6829-4378-A6EF-2B6A713739E1}" dt="2024-06-12T14:00:15.049" v="1112" actId="165"/>
          <ac:grpSpMkLst>
            <pc:docMk/>
            <pc:sldMk cId="0" sldId="270"/>
            <ac:grpSpMk id="5" creationId="{C6DB9253-EBA3-B3C2-12CE-5A09BFA40AF8}"/>
          </ac:grpSpMkLst>
        </pc:grpChg>
        <pc:picChg chg="mod topLvl">
          <ac:chgData name="Fivestarly Lathong [Chillibreeze]" userId="479dc9aa-69ea-4a23-b6ea-3a9d26ac15ab" providerId="ADAL" clId="{013ED13C-6829-4378-A6EF-2B6A713739E1}" dt="2024-06-12T14:00:15.049" v="1112" actId="165"/>
          <ac:picMkLst>
            <pc:docMk/>
            <pc:sldMk cId="0" sldId="270"/>
            <ac:picMk id="6" creationId="{39312CE7-396E-6F1A-FC23-531BA8AC25F6}"/>
          </ac:picMkLst>
        </pc:picChg>
        <pc:picChg chg="del mod ord topLvl">
          <ac:chgData name="Fivestarly Lathong [Chillibreeze]" userId="479dc9aa-69ea-4a23-b6ea-3a9d26ac15ab" providerId="ADAL" clId="{013ED13C-6829-4378-A6EF-2B6A713739E1}" dt="2024-06-12T14:00:20.065" v="1139" actId="21"/>
          <ac:picMkLst>
            <pc:docMk/>
            <pc:sldMk cId="0" sldId="270"/>
            <ac:picMk id="7" creationId="{9D9DDF3D-D490-F2AF-903D-087E58C73365}"/>
          </ac:picMkLst>
        </pc:picChg>
        <pc:picChg chg="mod ord">
          <ac:chgData name="Fivestarly Lathong [Chillibreeze]" userId="479dc9aa-69ea-4a23-b6ea-3a9d26ac15ab" providerId="ADAL" clId="{013ED13C-6829-4378-A6EF-2B6A713739E1}" dt="2024-06-12T14:00:18.526" v="1128"/>
          <ac:picMkLst>
            <pc:docMk/>
            <pc:sldMk cId="0" sldId="270"/>
            <ac:picMk id="4309" creationId="{00000000-0000-0000-0000-000000000000}"/>
          </ac:picMkLst>
        </pc:picChg>
      </pc:sldChg>
      <pc:sldChg chg="addSp delSp modSp mod setBg modClrScheme chgLayout">
        <pc:chgData name="Fivestarly Lathong [Chillibreeze]" userId="479dc9aa-69ea-4a23-b6ea-3a9d26ac15ab" providerId="ADAL" clId="{013ED13C-6829-4378-A6EF-2B6A713739E1}" dt="2024-06-12T14:37:35.025" v="1764"/>
        <pc:sldMkLst>
          <pc:docMk/>
          <pc:sldMk cId="0" sldId="271"/>
        </pc:sldMkLst>
        <pc:spChg chg="del mod">
          <ac:chgData name="Fivestarly Lathong [Chillibreeze]" userId="479dc9aa-69ea-4a23-b6ea-3a9d26ac15ab" providerId="ADAL" clId="{013ED13C-6829-4378-A6EF-2B6A713739E1}" dt="2024-06-12T14:36:55.067" v="1745" actId="478"/>
          <ac:spMkLst>
            <pc:docMk/>
            <pc:sldMk cId="0" sldId="271"/>
            <ac:spMk id="2" creationId="{62DD4B11-7136-7449-9DF7-FF61238F5169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37:00.751" v="1747" actId="700"/>
          <ac:spMkLst>
            <pc:docMk/>
            <pc:sldMk cId="0" sldId="271"/>
            <ac:spMk id="4" creationId="{016A10BD-7EC1-8828-21CC-44B2F42827F9}"/>
          </ac:spMkLst>
        </pc:spChg>
        <pc:spChg chg="add mod ord">
          <ac:chgData name="Fivestarly Lathong [Chillibreeze]" userId="479dc9aa-69ea-4a23-b6ea-3a9d26ac15ab" providerId="ADAL" clId="{013ED13C-6829-4378-A6EF-2B6A713739E1}" dt="2024-06-12T14:37:26.605" v="1759" actId="207"/>
          <ac:spMkLst>
            <pc:docMk/>
            <pc:sldMk cId="0" sldId="271"/>
            <ac:spMk id="5" creationId="{F67564CF-C345-62EA-F137-B632965649A5}"/>
          </ac:spMkLst>
        </pc:spChg>
        <pc:spChg chg="add mod">
          <ac:chgData name="Fivestarly Lathong [Chillibreeze]" userId="479dc9aa-69ea-4a23-b6ea-3a9d26ac15ab" providerId="ADAL" clId="{013ED13C-6829-4378-A6EF-2B6A713739E1}" dt="2024-06-12T14:37:05.883" v="1750"/>
          <ac:spMkLst>
            <pc:docMk/>
            <pc:sldMk cId="0" sldId="271"/>
            <ac:spMk id="7" creationId="{9DEF20AC-0B84-32F7-B68C-B7AB246E0884}"/>
          </ac:spMkLst>
        </pc:spChg>
        <pc:spChg chg="add mod">
          <ac:chgData name="Fivestarly Lathong [Chillibreeze]" userId="479dc9aa-69ea-4a23-b6ea-3a9d26ac15ab" providerId="ADAL" clId="{013ED13C-6829-4378-A6EF-2B6A713739E1}" dt="2024-06-12T14:37:05.883" v="1750"/>
          <ac:spMkLst>
            <pc:docMk/>
            <pc:sldMk cId="0" sldId="271"/>
            <ac:spMk id="8" creationId="{7958F220-C1DF-7AA1-4700-1514A666214F}"/>
          </ac:spMkLst>
        </pc:spChg>
        <pc:spChg chg="add mod">
          <ac:chgData name="Fivestarly Lathong [Chillibreeze]" userId="479dc9aa-69ea-4a23-b6ea-3a9d26ac15ab" providerId="ADAL" clId="{013ED13C-6829-4378-A6EF-2B6A713739E1}" dt="2024-06-12T14:37:05.883" v="1750"/>
          <ac:spMkLst>
            <pc:docMk/>
            <pc:sldMk cId="0" sldId="271"/>
            <ac:spMk id="9" creationId="{B2B1BB93-565B-CFD0-9DE2-65E90723FC83}"/>
          </ac:spMkLst>
        </pc:spChg>
        <pc:spChg chg="add mod">
          <ac:chgData name="Fivestarly Lathong [Chillibreeze]" userId="479dc9aa-69ea-4a23-b6ea-3a9d26ac15ab" providerId="ADAL" clId="{013ED13C-6829-4378-A6EF-2B6A713739E1}" dt="2024-06-12T14:37:05.883" v="1750"/>
          <ac:spMkLst>
            <pc:docMk/>
            <pc:sldMk cId="0" sldId="271"/>
            <ac:spMk id="10" creationId="{F7C7C096-BB05-4AD5-37E9-A108118BDDE6}"/>
          </ac:spMkLst>
        </pc:spChg>
        <pc:spChg chg="add mod">
          <ac:chgData name="Fivestarly Lathong [Chillibreeze]" userId="479dc9aa-69ea-4a23-b6ea-3a9d26ac15ab" providerId="ADAL" clId="{013ED13C-6829-4378-A6EF-2B6A713739E1}" dt="2024-06-12T14:37:05.883" v="1750"/>
          <ac:spMkLst>
            <pc:docMk/>
            <pc:sldMk cId="0" sldId="271"/>
            <ac:spMk id="11" creationId="{137BC335-DDCB-3DDD-92B1-4B56DF7ABD25}"/>
          </ac:spMkLst>
        </pc:spChg>
        <pc:spChg chg="add mod">
          <ac:chgData name="Fivestarly Lathong [Chillibreeze]" userId="479dc9aa-69ea-4a23-b6ea-3a9d26ac15ab" providerId="ADAL" clId="{013ED13C-6829-4378-A6EF-2B6A713739E1}" dt="2024-06-12T14:37:05.883" v="1750"/>
          <ac:spMkLst>
            <pc:docMk/>
            <pc:sldMk cId="0" sldId="271"/>
            <ac:spMk id="12" creationId="{0798B3D8-962E-E746-5138-B132844ED454}"/>
          </ac:spMkLst>
        </pc:spChg>
        <pc:spChg chg="add mod">
          <ac:chgData name="Fivestarly Lathong [Chillibreeze]" userId="479dc9aa-69ea-4a23-b6ea-3a9d26ac15ab" providerId="ADAL" clId="{013ED13C-6829-4378-A6EF-2B6A713739E1}" dt="2024-06-12T14:37:05.883" v="1750"/>
          <ac:spMkLst>
            <pc:docMk/>
            <pc:sldMk cId="0" sldId="271"/>
            <ac:spMk id="13" creationId="{A54B47F9-4087-BD81-E3BD-5308A3839C5D}"/>
          </ac:spMkLst>
        </pc:spChg>
        <pc:spChg chg="add mod">
          <ac:chgData name="Fivestarly Lathong [Chillibreeze]" userId="479dc9aa-69ea-4a23-b6ea-3a9d26ac15ab" providerId="ADAL" clId="{013ED13C-6829-4378-A6EF-2B6A713739E1}" dt="2024-06-12T14:37:05.883" v="1750"/>
          <ac:spMkLst>
            <pc:docMk/>
            <pc:sldMk cId="0" sldId="271"/>
            <ac:spMk id="14" creationId="{E8FF2607-BC5A-CB2B-6738-F58DA57D6568}"/>
          </ac:spMkLst>
        </pc:spChg>
        <pc:spChg chg="add mod">
          <ac:chgData name="Fivestarly Lathong [Chillibreeze]" userId="479dc9aa-69ea-4a23-b6ea-3a9d26ac15ab" providerId="ADAL" clId="{013ED13C-6829-4378-A6EF-2B6A713739E1}" dt="2024-06-12T14:37:05.883" v="1750"/>
          <ac:spMkLst>
            <pc:docMk/>
            <pc:sldMk cId="0" sldId="271"/>
            <ac:spMk id="15" creationId="{C7802F4D-3B7F-0683-1136-E41F199EA141}"/>
          </ac:spMkLst>
        </pc:spChg>
        <pc:spChg chg="mod">
          <ac:chgData name="Fivestarly Lathong [Chillibreeze]" userId="479dc9aa-69ea-4a23-b6ea-3a9d26ac15ab" providerId="ADAL" clId="{013ED13C-6829-4378-A6EF-2B6A713739E1}" dt="2024-06-12T14:37:05.883" v="1750"/>
          <ac:spMkLst>
            <pc:docMk/>
            <pc:sldMk cId="0" sldId="271"/>
            <ac:spMk id="17" creationId="{B874CD3A-0159-8116-9475-D627D7D98501}"/>
          </ac:spMkLst>
        </pc:spChg>
        <pc:spChg chg="mod">
          <ac:chgData name="Fivestarly Lathong [Chillibreeze]" userId="479dc9aa-69ea-4a23-b6ea-3a9d26ac15ab" providerId="ADAL" clId="{013ED13C-6829-4378-A6EF-2B6A713739E1}" dt="2024-06-12T14:37:05.883" v="1750"/>
          <ac:spMkLst>
            <pc:docMk/>
            <pc:sldMk cId="0" sldId="271"/>
            <ac:spMk id="18" creationId="{E9876BE6-BEEF-8A67-FB6F-E5BF0F75F0FF}"/>
          </ac:spMkLst>
        </pc:spChg>
        <pc:spChg chg="add mod">
          <ac:chgData name="Fivestarly Lathong [Chillibreeze]" userId="479dc9aa-69ea-4a23-b6ea-3a9d26ac15ab" providerId="ADAL" clId="{013ED13C-6829-4378-A6EF-2B6A713739E1}" dt="2024-06-12T14:37:05.883" v="1750"/>
          <ac:spMkLst>
            <pc:docMk/>
            <pc:sldMk cId="0" sldId="271"/>
            <ac:spMk id="19" creationId="{76A6AF33-7713-D0BA-447D-E58F6FE625B6}"/>
          </ac:spMkLst>
        </pc:spChg>
        <pc:spChg chg="add mod">
          <ac:chgData name="Fivestarly Lathong [Chillibreeze]" userId="479dc9aa-69ea-4a23-b6ea-3a9d26ac15ab" providerId="ADAL" clId="{013ED13C-6829-4378-A6EF-2B6A713739E1}" dt="2024-06-12T14:37:05.883" v="1750"/>
          <ac:spMkLst>
            <pc:docMk/>
            <pc:sldMk cId="0" sldId="271"/>
            <ac:spMk id="24" creationId="{C56E3230-86FB-39DE-489C-B9DF8F69B4E9}"/>
          </ac:spMkLst>
        </pc:spChg>
        <pc:spChg chg="add mod">
          <ac:chgData name="Fivestarly Lathong [Chillibreeze]" userId="479dc9aa-69ea-4a23-b6ea-3a9d26ac15ab" providerId="ADAL" clId="{013ED13C-6829-4378-A6EF-2B6A713739E1}" dt="2024-06-12T14:37:05.883" v="1750"/>
          <ac:spMkLst>
            <pc:docMk/>
            <pc:sldMk cId="0" sldId="271"/>
            <ac:spMk id="25" creationId="{4F5F0B69-A9B2-A04C-49BC-1178873BFB8F}"/>
          </ac:spMkLst>
        </pc:spChg>
        <pc:spChg chg="add mod">
          <ac:chgData name="Fivestarly Lathong [Chillibreeze]" userId="479dc9aa-69ea-4a23-b6ea-3a9d26ac15ab" providerId="ADAL" clId="{013ED13C-6829-4378-A6EF-2B6A713739E1}" dt="2024-06-12T14:37:35.025" v="1764"/>
          <ac:spMkLst>
            <pc:docMk/>
            <pc:sldMk cId="0" sldId="271"/>
            <ac:spMk id="28" creationId="{23E0A48C-444B-8EF5-1C45-D43FE4E9B8D4}"/>
          </ac:spMkLst>
        </pc:spChg>
        <pc:spChg chg="add del mod">
          <ac:chgData name="Fivestarly Lathong [Chillibreeze]" userId="479dc9aa-69ea-4a23-b6ea-3a9d26ac15ab" providerId="ADAL" clId="{013ED13C-6829-4378-A6EF-2B6A713739E1}" dt="2024-06-12T14:37:22.713" v="1757" actId="6264"/>
          <ac:spMkLst>
            <pc:docMk/>
            <pc:sldMk cId="0" sldId="271"/>
            <ac:spMk id="29" creationId="{31E3490F-F490-DB2C-FE97-7D4E54332A06}"/>
          </ac:spMkLst>
        </pc:spChg>
        <pc:spChg chg="add del mod">
          <ac:chgData name="Fivestarly Lathong [Chillibreeze]" userId="479dc9aa-69ea-4a23-b6ea-3a9d26ac15ab" providerId="ADAL" clId="{013ED13C-6829-4378-A6EF-2B6A713739E1}" dt="2024-06-12T14:37:22.902" v="1758" actId="6264"/>
          <ac:spMkLst>
            <pc:docMk/>
            <pc:sldMk cId="0" sldId="271"/>
            <ac:spMk id="30" creationId="{9EE621FB-221F-8250-F6C9-98426153D742}"/>
          </ac:spMkLst>
        </pc:spChg>
        <pc:spChg chg="del">
          <ac:chgData name="Fivestarly Lathong [Chillibreeze]" userId="479dc9aa-69ea-4a23-b6ea-3a9d26ac15ab" providerId="ADAL" clId="{013ED13C-6829-4378-A6EF-2B6A713739E1}" dt="2024-06-12T14:36:58.628" v="1746" actId="478"/>
          <ac:spMkLst>
            <pc:docMk/>
            <pc:sldMk cId="0" sldId="271"/>
            <ac:spMk id="4315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36:58.628" v="1746" actId="478"/>
          <ac:spMkLst>
            <pc:docMk/>
            <pc:sldMk cId="0" sldId="271"/>
            <ac:spMk id="4316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36:58.628" v="1746" actId="478"/>
          <ac:spMkLst>
            <pc:docMk/>
            <pc:sldMk cId="0" sldId="271"/>
            <ac:spMk id="4322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36:58.628" v="1746" actId="478"/>
          <ac:spMkLst>
            <pc:docMk/>
            <pc:sldMk cId="0" sldId="271"/>
            <ac:spMk id="4323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36:58.628" v="1746" actId="478"/>
          <ac:spMkLst>
            <pc:docMk/>
            <pc:sldMk cId="0" sldId="271"/>
            <ac:spMk id="4324" creationId="{00000000-0000-0000-0000-000000000000}"/>
          </ac:spMkLst>
        </pc:spChg>
        <pc:grpChg chg="add mod">
          <ac:chgData name="Fivestarly Lathong [Chillibreeze]" userId="479dc9aa-69ea-4a23-b6ea-3a9d26ac15ab" providerId="ADAL" clId="{013ED13C-6829-4378-A6EF-2B6A713739E1}" dt="2024-06-12T14:37:05.883" v="1750"/>
          <ac:grpSpMkLst>
            <pc:docMk/>
            <pc:sldMk cId="0" sldId="271"/>
            <ac:grpSpMk id="16" creationId="{A9967733-DFE4-D623-43C1-CE6F4061FA94}"/>
          </ac:grpSpMkLst>
        </pc:grpChg>
        <pc:grpChg chg="del">
          <ac:chgData name="Fivestarly Lathong [Chillibreeze]" userId="479dc9aa-69ea-4a23-b6ea-3a9d26ac15ab" providerId="ADAL" clId="{013ED13C-6829-4378-A6EF-2B6A713739E1}" dt="2024-06-12T14:36:58.628" v="1746" actId="478"/>
          <ac:grpSpMkLst>
            <pc:docMk/>
            <pc:sldMk cId="0" sldId="271"/>
            <ac:grpSpMk id="4317" creationId="{00000000-0000-0000-0000-000000000000}"/>
          </ac:grpSpMkLst>
        </pc:grpChg>
        <pc:picChg chg="add mod">
          <ac:chgData name="Fivestarly Lathong [Chillibreeze]" userId="479dc9aa-69ea-4a23-b6ea-3a9d26ac15ab" providerId="ADAL" clId="{013ED13C-6829-4378-A6EF-2B6A713739E1}" dt="2024-06-12T14:37:05.883" v="1750"/>
          <ac:picMkLst>
            <pc:docMk/>
            <pc:sldMk cId="0" sldId="271"/>
            <ac:picMk id="6" creationId="{25490887-B6B0-967D-C44E-3FD499BF8363}"/>
          </ac:picMkLst>
        </pc:picChg>
        <pc:picChg chg="add mod">
          <ac:chgData name="Fivestarly Lathong [Chillibreeze]" userId="479dc9aa-69ea-4a23-b6ea-3a9d26ac15ab" providerId="ADAL" clId="{013ED13C-6829-4378-A6EF-2B6A713739E1}" dt="2024-06-12T14:37:05.883" v="1750"/>
          <ac:picMkLst>
            <pc:docMk/>
            <pc:sldMk cId="0" sldId="271"/>
            <ac:picMk id="20" creationId="{843BAF40-4984-EE0A-213D-5E62B6E3BBE2}"/>
          </ac:picMkLst>
        </pc:picChg>
        <pc:picChg chg="add mod">
          <ac:chgData name="Fivestarly Lathong [Chillibreeze]" userId="479dc9aa-69ea-4a23-b6ea-3a9d26ac15ab" providerId="ADAL" clId="{013ED13C-6829-4378-A6EF-2B6A713739E1}" dt="2024-06-12T14:37:05.883" v="1750"/>
          <ac:picMkLst>
            <pc:docMk/>
            <pc:sldMk cId="0" sldId="271"/>
            <ac:picMk id="21" creationId="{2C1BBB9E-B2FB-ECCB-8297-802781717447}"/>
          </ac:picMkLst>
        </pc:picChg>
        <pc:picChg chg="add mod">
          <ac:chgData name="Fivestarly Lathong [Chillibreeze]" userId="479dc9aa-69ea-4a23-b6ea-3a9d26ac15ab" providerId="ADAL" clId="{013ED13C-6829-4378-A6EF-2B6A713739E1}" dt="2024-06-12T14:37:05.883" v="1750"/>
          <ac:picMkLst>
            <pc:docMk/>
            <pc:sldMk cId="0" sldId="271"/>
            <ac:picMk id="22" creationId="{D4E13E1A-E27F-1C84-9FE3-70F4FEAE1E0F}"/>
          </ac:picMkLst>
        </pc:picChg>
        <pc:picChg chg="add mod">
          <ac:chgData name="Fivestarly Lathong [Chillibreeze]" userId="479dc9aa-69ea-4a23-b6ea-3a9d26ac15ab" providerId="ADAL" clId="{013ED13C-6829-4378-A6EF-2B6A713739E1}" dt="2024-06-12T14:37:05.883" v="1750"/>
          <ac:picMkLst>
            <pc:docMk/>
            <pc:sldMk cId="0" sldId="271"/>
            <ac:picMk id="23" creationId="{669DEC58-5BB8-A877-19DF-68F046DA013B}"/>
          </ac:picMkLst>
        </pc:picChg>
        <pc:picChg chg="add mod">
          <ac:chgData name="Fivestarly Lathong [Chillibreeze]" userId="479dc9aa-69ea-4a23-b6ea-3a9d26ac15ab" providerId="ADAL" clId="{013ED13C-6829-4378-A6EF-2B6A713739E1}" dt="2024-06-12T14:37:05.883" v="1750"/>
          <ac:picMkLst>
            <pc:docMk/>
            <pc:sldMk cId="0" sldId="271"/>
            <ac:picMk id="26" creationId="{5F97047B-C724-540D-6086-176A81057E28}"/>
          </ac:picMkLst>
        </pc:picChg>
        <pc:picChg chg="del">
          <ac:chgData name="Fivestarly Lathong [Chillibreeze]" userId="479dc9aa-69ea-4a23-b6ea-3a9d26ac15ab" providerId="ADAL" clId="{013ED13C-6829-4378-A6EF-2B6A713739E1}" dt="2024-06-12T14:36:58.628" v="1746" actId="478"/>
          <ac:picMkLst>
            <pc:docMk/>
            <pc:sldMk cId="0" sldId="271"/>
            <ac:picMk id="4314" creationId="{00000000-0000-0000-0000-000000000000}"/>
          </ac:picMkLst>
        </pc:picChg>
        <pc:cxnChg chg="add mod">
          <ac:chgData name="Fivestarly Lathong [Chillibreeze]" userId="479dc9aa-69ea-4a23-b6ea-3a9d26ac15ab" providerId="ADAL" clId="{013ED13C-6829-4378-A6EF-2B6A713739E1}" dt="2024-06-12T14:37:05.883" v="1750"/>
          <ac:cxnSpMkLst>
            <pc:docMk/>
            <pc:sldMk cId="0" sldId="271"/>
            <ac:cxnSpMk id="27" creationId="{80D0EA6E-99B4-EA41-7EA2-4655072D3DF5}"/>
          </ac:cxnSpMkLst>
        </pc:cxnChg>
      </pc:sldChg>
      <pc:sldChg chg="addSp delSp modSp mod setBg modClrScheme chgLayout">
        <pc:chgData name="Fivestarly Lathong [Chillibreeze]" userId="479dc9aa-69ea-4a23-b6ea-3a9d26ac15ab" providerId="ADAL" clId="{013ED13C-6829-4378-A6EF-2B6A713739E1}" dt="2024-06-12T13:20:21.027" v="642" actId="21"/>
        <pc:sldMkLst>
          <pc:docMk/>
          <pc:sldMk cId="0" sldId="272"/>
        </pc:sldMkLst>
        <pc:spChg chg="del mod">
          <ac:chgData name="Fivestarly Lathong [Chillibreeze]" userId="479dc9aa-69ea-4a23-b6ea-3a9d26ac15ab" providerId="ADAL" clId="{013ED13C-6829-4378-A6EF-2B6A713739E1}" dt="2024-06-12T13:20:21.027" v="642" actId="21"/>
          <ac:spMkLst>
            <pc:docMk/>
            <pc:sldMk cId="0" sldId="272"/>
            <ac:spMk id="2" creationId="{BC2A9FC2-311B-4E4A-BA02-2DB39230EB2E}"/>
          </ac:spMkLst>
        </pc:spChg>
        <pc:spChg chg="add del mod">
          <ac:chgData name="Fivestarly Lathong [Chillibreeze]" userId="479dc9aa-69ea-4a23-b6ea-3a9d26ac15ab" providerId="ADAL" clId="{013ED13C-6829-4378-A6EF-2B6A713739E1}" dt="2024-06-12T13:19:01.746" v="611" actId="6264"/>
          <ac:spMkLst>
            <pc:docMk/>
            <pc:sldMk cId="0" sldId="272"/>
            <ac:spMk id="3" creationId="{61198B7F-0050-852E-5628-0D66EAB200ED}"/>
          </ac:spMkLst>
        </pc:spChg>
        <pc:spChg chg="add mod">
          <ac:chgData name="Fivestarly Lathong [Chillibreeze]" userId="479dc9aa-69ea-4a23-b6ea-3a9d26ac15ab" providerId="ADAL" clId="{013ED13C-6829-4378-A6EF-2B6A713739E1}" dt="2024-06-12T13:19:17.981" v="617"/>
          <ac:spMkLst>
            <pc:docMk/>
            <pc:sldMk cId="0" sldId="272"/>
            <ac:spMk id="5" creationId="{854B53A9-3CF7-D996-025C-612CC5DC6019}"/>
          </ac:spMkLst>
        </pc:spChg>
        <pc:spChg chg="add mod">
          <ac:chgData name="Fivestarly Lathong [Chillibreeze]" userId="479dc9aa-69ea-4a23-b6ea-3a9d26ac15ab" providerId="ADAL" clId="{013ED13C-6829-4378-A6EF-2B6A713739E1}" dt="2024-06-12T13:19:47.883" v="628"/>
          <ac:spMkLst>
            <pc:docMk/>
            <pc:sldMk cId="0" sldId="272"/>
            <ac:spMk id="8" creationId="{C77E8A29-100E-AFD0-3566-5FD8EA01213E}"/>
          </ac:spMkLst>
        </pc:spChg>
        <pc:spChg chg="add mod">
          <ac:chgData name="Fivestarly Lathong [Chillibreeze]" userId="479dc9aa-69ea-4a23-b6ea-3a9d26ac15ab" providerId="ADAL" clId="{013ED13C-6829-4378-A6EF-2B6A713739E1}" dt="2024-06-12T13:19:47.883" v="628"/>
          <ac:spMkLst>
            <pc:docMk/>
            <pc:sldMk cId="0" sldId="272"/>
            <ac:spMk id="9" creationId="{E0CD0E9D-196E-E35B-2FCA-1F95706746A1}"/>
          </ac:spMkLst>
        </pc:spChg>
        <pc:spChg chg="add mod">
          <ac:chgData name="Fivestarly Lathong [Chillibreeze]" userId="479dc9aa-69ea-4a23-b6ea-3a9d26ac15ab" providerId="ADAL" clId="{013ED13C-6829-4378-A6EF-2B6A713739E1}" dt="2024-06-12T13:19:53.988" v="630"/>
          <ac:spMkLst>
            <pc:docMk/>
            <pc:sldMk cId="0" sldId="272"/>
            <ac:spMk id="11" creationId="{6734B87F-3E44-3453-940D-01CAB4C24AF0}"/>
          </ac:spMkLst>
        </pc:spChg>
        <pc:spChg chg="add mod">
          <ac:chgData name="Fivestarly Lathong [Chillibreeze]" userId="479dc9aa-69ea-4a23-b6ea-3a9d26ac15ab" providerId="ADAL" clId="{013ED13C-6829-4378-A6EF-2B6A713739E1}" dt="2024-06-12T13:19:53.988" v="630"/>
          <ac:spMkLst>
            <pc:docMk/>
            <pc:sldMk cId="0" sldId="272"/>
            <ac:spMk id="12" creationId="{603EEEE7-7EA9-E95E-42E0-715A5AE76F9D}"/>
          </ac:spMkLst>
        </pc:spChg>
        <pc:spChg chg="add mod">
          <ac:chgData name="Fivestarly Lathong [Chillibreeze]" userId="479dc9aa-69ea-4a23-b6ea-3a9d26ac15ab" providerId="ADAL" clId="{013ED13C-6829-4378-A6EF-2B6A713739E1}" dt="2024-06-12T13:20:06.416" v="631"/>
          <ac:spMkLst>
            <pc:docMk/>
            <pc:sldMk cId="0" sldId="272"/>
            <ac:spMk id="13" creationId="{5862874E-795C-3021-45E8-794408587EC2}"/>
          </ac:spMkLst>
        </pc:spChg>
        <pc:spChg chg="add mod">
          <ac:chgData name="Fivestarly Lathong [Chillibreeze]" userId="479dc9aa-69ea-4a23-b6ea-3a9d26ac15ab" providerId="ADAL" clId="{013ED13C-6829-4378-A6EF-2B6A713739E1}" dt="2024-06-12T13:20:06.416" v="631"/>
          <ac:spMkLst>
            <pc:docMk/>
            <pc:sldMk cId="0" sldId="272"/>
            <ac:spMk id="14" creationId="{D54C6942-CB52-EE92-2638-5C951417B5C7}"/>
          </ac:spMkLst>
        </pc:spChg>
        <pc:spChg chg="add mod">
          <ac:chgData name="Fivestarly Lathong [Chillibreeze]" userId="479dc9aa-69ea-4a23-b6ea-3a9d26ac15ab" providerId="ADAL" clId="{013ED13C-6829-4378-A6EF-2B6A713739E1}" dt="2024-06-12T13:20:06.416" v="631"/>
          <ac:spMkLst>
            <pc:docMk/>
            <pc:sldMk cId="0" sldId="272"/>
            <ac:spMk id="15" creationId="{DE1AF646-9908-51C3-45C8-42D2DAF81032}"/>
          </ac:spMkLst>
        </pc:spChg>
        <pc:spChg chg="add mod">
          <ac:chgData name="Fivestarly Lathong [Chillibreeze]" userId="479dc9aa-69ea-4a23-b6ea-3a9d26ac15ab" providerId="ADAL" clId="{013ED13C-6829-4378-A6EF-2B6A713739E1}" dt="2024-06-12T13:20:06.416" v="631"/>
          <ac:spMkLst>
            <pc:docMk/>
            <pc:sldMk cId="0" sldId="272"/>
            <ac:spMk id="16" creationId="{E04FF2F2-40EF-34BB-C020-8448A646FE74}"/>
          </ac:spMkLst>
        </pc:spChg>
        <pc:spChg chg="add mod">
          <ac:chgData name="Fivestarly Lathong [Chillibreeze]" userId="479dc9aa-69ea-4a23-b6ea-3a9d26ac15ab" providerId="ADAL" clId="{013ED13C-6829-4378-A6EF-2B6A713739E1}" dt="2024-06-12T13:20:06.416" v="631"/>
          <ac:spMkLst>
            <pc:docMk/>
            <pc:sldMk cId="0" sldId="272"/>
            <ac:spMk id="17" creationId="{BB7FD697-5A12-A41B-D1A9-7F1AA61400B9}"/>
          </ac:spMkLst>
        </pc:spChg>
        <pc:spChg chg="add mod">
          <ac:chgData name="Fivestarly Lathong [Chillibreeze]" userId="479dc9aa-69ea-4a23-b6ea-3a9d26ac15ab" providerId="ADAL" clId="{013ED13C-6829-4378-A6EF-2B6A713739E1}" dt="2024-06-12T13:20:06.416" v="631"/>
          <ac:spMkLst>
            <pc:docMk/>
            <pc:sldMk cId="0" sldId="272"/>
            <ac:spMk id="18" creationId="{DE670C51-406A-BB9D-F45E-B3D8B072828B}"/>
          </ac:spMkLst>
        </pc:spChg>
        <pc:spChg chg="add mod">
          <ac:chgData name="Fivestarly Lathong [Chillibreeze]" userId="479dc9aa-69ea-4a23-b6ea-3a9d26ac15ab" providerId="ADAL" clId="{013ED13C-6829-4378-A6EF-2B6A713739E1}" dt="2024-06-12T13:20:06.416" v="631"/>
          <ac:spMkLst>
            <pc:docMk/>
            <pc:sldMk cId="0" sldId="272"/>
            <ac:spMk id="19" creationId="{AF7FDD61-022B-A6CC-1EA3-317E7BC0EF69}"/>
          </ac:spMkLst>
        </pc:spChg>
        <pc:spChg chg="add mod">
          <ac:chgData name="Fivestarly Lathong [Chillibreeze]" userId="479dc9aa-69ea-4a23-b6ea-3a9d26ac15ab" providerId="ADAL" clId="{013ED13C-6829-4378-A6EF-2B6A713739E1}" dt="2024-06-12T13:20:06.416" v="631"/>
          <ac:spMkLst>
            <pc:docMk/>
            <pc:sldMk cId="0" sldId="272"/>
            <ac:spMk id="20" creationId="{4EC622DC-F9F2-6C91-B5D5-ABB112938A1E}"/>
          </ac:spMkLst>
        </pc:spChg>
        <pc:spChg chg="add mod">
          <ac:chgData name="Fivestarly Lathong [Chillibreeze]" userId="479dc9aa-69ea-4a23-b6ea-3a9d26ac15ab" providerId="ADAL" clId="{013ED13C-6829-4378-A6EF-2B6A713739E1}" dt="2024-06-12T13:20:06.416" v="631"/>
          <ac:spMkLst>
            <pc:docMk/>
            <pc:sldMk cId="0" sldId="272"/>
            <ac:spMk id="21" creationId="{99DA636C-BA30-490D-88BC-B5C119FD2D65}"/>
          </ac:spMkLst>
        </pc:spChg>
        <pc:spChg chg="add mod">
          <ac:chgData name="Fivestarly Lathong [Chillibreeze]" userId="479dc9aa-69ea-4a23-b6ea-3a9d26ac15ab" providerId="ADAL" clId="{013ED13C-6829-4378-A6EF-2B6A713739E1}" dt="2024-06-12T13:20:09.444" v="634"/>
          <ac:spMkLst>
            <pc:docMk/>
            <pc:sldMk cId="0" sldId="272"/>
            <ac:spMk id="23" creationId="{0E4728A5-16FD-C34C-E09C-E0BA96504093}"/>
          </ac:spMkLst>
        </pc:spChg>
        <pc:spChg chg="add mod">
          <ac:chgData name="Fivestarly Lathong [Chillibreeze]" userId="479dc9aa-69ea-4a23-b6ea-3a9d26ac15ab" providerId="ADAL" clId="{013ED13C-6829-4378-A6EF-2B6A713739E1}" dt="2024-06-12T13:20:13.590" v="637"/>
          <ac:spMkLst>
            <pc:docMk/>
            <pc:sldMk cId="0" sldId="272"/>
            <ac:spMk id="25" creationId="{0B6EC0B6-6AFF-60C2-2588-BAAFE2E914CB}"/>
          </ac:spMkLst>
        </pc:spChg>
        <pc:spChg chg="add mod">
          <ac:chgData name="Fivestarly Lathong [Chillibreeze]" userId="479dc9aa-69ea-4a23-b6ea-3a9d26ac15ab" providerId="ADAL" clId="{013ED13C-6829-4378-A6EF-2B6A713739E1}" dt="2024-06-12T13:20:16.001" v="640"/>
          <ac:spMkLst>
            <pc:docMk/>
            <pc:sldMk cId="0" sldId="272"/>
            <ac:spMk id="27" creationId="{FD16F402-68DA-F58C-9F0E-769F9F8C5E3D}"/>
          </ac:spMkLst>
        </pc:spChg>
        <pc:spChg chg="mod ord">
          <ac:chgData name="Fivestarly Lathong [Chillibreeze]" userId="479dc9aa-69ea-4a23-b6ea-3a9d26ac15ab" providerId="ADAL" clId="{013ED13C-6829-4378-A6EF-2B6A713739E1}" dt="2024-06-12T13:19:52.992" v="629" actId="700"/>
          <ac:spMkLst>
            <pc:docMk/>
            <pc:sldMk cId="0" sldId="272"/>
            <ac:spMk id="4329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18:56.896" v="608" actId="478"/>
          <ac:spMkLst>
            <pc:docMk/>
            <pc:sldMk cId="0" sldId="272"/>
            <ac:spMk id="4330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3:20:17.665" v="641" actId="21"/>
          <ac:spMkLst>
            <pc:docMk/>
            <pc:sldMk cId="0" sldId="272"/>
            <ac:spMk id="4331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3:20:17.665" v="641" actId="21"/>
          <ac:spMkLst>
            <pc:docMk/>
            <pc:sldMk cId="0" sldId="272"/>
            <ac:spMk id="4335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3:20:17.665" v="641" actId="21"/>
          <ac:spMkLst>
            <pc:docMk/>
            <pc:sldMk cId="0" sldId="272"/>
            <ac:spMk id="4339" creationId="{00000000-0000-0000-0000-000000000000}"/>
          </ac:spMkLst>
        </pc:spChg>
        <pc:spChg chg="del mod ord">
          <ac:chgData name="Fivestarly Lathong [Chillibreeze]" userId="479dc9aa-69ea-4a23-b6ea-3a9d26ac15ab" providerId="ADAL" clId="{013ED13C-6829-4378-A6EF-2B6A713739E1}" dt="2024-06-12T13:20:17.665" v="641" actId="21"/>
          <ac:spMkLst>
            <pc:docMk/>
            <pc:sldMk cId="0" sldId="272"/>
            <ac:spMk id="4343" creationId="{00000000-0000-0000-0000-000000000000}"/>
          </ac:spMkLst>
        </pc:spChg>
        <pc:grpChg chg="del mod">
          <ac:chgData name="Fivestarly Lathong [Chillibreeze]" userId="479dc9aa-69ea-4a23-b6ea-3a9d26ac15ab" providerId="ADAL" clId="{013ED13C-6829-4378-A6EF-2B6A713739E1}" dt="2024-06-12T13:20:17.665" v="641" actId="21"/>
          <ac:grpSpMkLst>
            <pc:docMk/>
            <pc:sldMk cId="0" sldId="272"/>
            <ac:grpSpMk id="4332" creationId="{00000000-0000-0000-0000-000000000000}"/>
          </ac:grpSpMkLst>
        </pc:grpChg>
        <pc:grpChg chg="del mod">
          <ac:chgData name="Fivestarly Lathong [Chillibreeze]" userId="479dc9aa-69ea-4a23-b6ea-3a9d26ac15ab" providerId="ADAL" clId="{013ED13C-6829-4378-A6EF-2B6A713739E1}" dt="2024-06-12T13:20:17.665" v="641" actId="21"/>
          <ac:grpSpMkLst>
            <pc:docMk/>
            <pc:sldMk cId="0" sldId="272"/>
            <ac:grpSpMk id="4336" creationId="{00000000-0000-0000-0000-000000000000}"/>
          </ac:grpSpMkLst>
        </pc:grpChg>
        <pc:grpChg chg="del mod">
          <ac:chgData name="Fivestarly Lathong [Chillibreeze]" userId="479dc9aa-69ea-4a23-b6ea-3a9d26ac15ab" providerId="ADAL" clId="{013ED13C-6829-4378-A6EF-2B6A713739E1}" dt="2024-06-12T13:20:17.665" v="641" actId="21"/>
          <ac:grpSpMkLst>
            <pc:docMk/>
            <pc:sldMk cId="0" sldId="272"/>
            <ac:grpSpMk id="4340" creationId="{00000000-0000-0000-0000-000000000000}"/>
          </ac:grpSpMkLst>
        </pc:grpChg>
        <pc:picChg chg="add mod">
          <ac:chgData name="Fivestarly Lathong [Chillibreeze]" userId="479dc9aa-69ea-4a23-b6ea-3a9d26ac15ab" providerId="ADAL" clId="{013ED13C-6829-4378-A6EF-2B6A713739E1}" dt="2024-06-12T13:19:47.883" v="628"/>
          <ac:picMkLst>
            <pc:docMk/>
            <pc:sldMk cId="0" sldId="272"/>
            <ac:picMk id="7" creationId="{901D8DC8-B403-82B9-4E3B-EEAC2AB199C9}"/>
          </ac:picMkLst>
        </pc:picChg>
        <pc:picChg chg="add mod">
          <ac:chgData name="Fivestarly Lathong [Chillibreeze]" userId="479dc9aa-69ea-4a23-b6ea-3a9d26ac15ab" providerId="ADAL" clId="{013ED13C-6829-4378-A6EF-2B6A713739E1}" dt="2024-06-12T13:19:53.988" v="630"/>
          <ac:picMkLst>
            <pc:docMk/>
            <pc:sldMk cId="0" sldId="272"/>
            <ac:picMk id="10" creationId="{A98FC3FB-5FD4-6E09-772E-2A2F9617466C}"/>
          </ac:picMkLst>
        </pc:picChg>
        <pc:picChg chg="add mod">
          <ac:chgData name="Fivestarly Lathong [Chillibreeze]" userId="479dc9aa-69ea-4a23-b6ea-3a9d26ac15ab" providerId="ADAL" clId="{013ED13C-6829-4378-A6EF-2B6A713739E1}" dt="2024-06-12T13:20:06.416" v="631"/>
          <ac:picMkLst>
            <pc:docMk/>
            <pc:sldMk cId="0" sldId="272"/>
            <ac:picMk id="22" creationId="{EEC00580-4966-949C-C2AC-0DE528F313FC}"/>
          </ac:picMkLst>
        </pc:picChg>
        <pc:picChg chg="add mod">
          <ac:chgData name="Fivestarly Lathong [Chillibreeze]" userId="479dc9aa-69ea-4a23-b6ea-3a9d26ac15ab" providerId="ADAL" clId="{013ED13C-6829-4378-A6EF-2B6A713739E1}" dt="2024-06-12T13:20:06.416" v="631"/>
          <ac:picMkLst>
            <pc:docMk/>
            <pc:sldMk cId="0" sldId="272"/>
            <ac:picMk id="24" creationId="{EDDAFDA8-DDD7-ADB6-C677-9C8ABC2BE9DC}"/>
          </ac:picMkLst>
        </pc:picChg>
        <pc:picChg chg="add mod">
          <ac:chgData name="Fivestarly Lathong [Chillibreeze]" userId="479dc9aa-69ea-4a23-b6ea-3a9d26ac15ab" providerId="ADAL" clId="{013ED13C-6829-4378-A6EF-2B6A713739E1}" dt="2024-06-12T13:20:06.416" v="631"/>
          <ac:picMkLst>
            <pc:docMk/>
            <pc:sldMk cId="0" sldId="272"/>
            <ac:picMk id="26" creationId="{5B9F3B1F-4932-85E2-6E87-F1AD1F0977F5}"/>
          </ac:picMkLst>
        </pc:picChg>
        <pc:cxnChg chg="add mod">
          <ac:chgData name="Fivestarly Lathong [Chillibreeze]" userId="479dc9aa-69ea-4a23-b6ea-3a9d26ac15ab" providerId="ADAL" clId="{013ED13C-6829-4378-A6EF-2B6A713739E1}" dt="2024-06-12T13:19:20.917" v="618" actId="14100"/>
          <ac:cxnSpMkLst>
            <pc:docMk/>
            <pc:sldMk cId="0" sldId="272"/>
            <ac:cxnSpMk id="4" creationId="{0F52193C-01DF-C808-A524-8A133574DF2B}"/>
          </ac:cxnSpMkLst>
        </pc:cxnChg>
      </pc:sldChg>
      <pc:sldChg chg="addSp delSp modSp mod setBg modClrScheme chgLayout">
        <pc:chgData name="Fivestarly Lathong [Chillibreeze]" userId="479dc9aa-69ea-4a23-b6ea-3a9d26ac15ab" providerId="ADAL" clId="{013ED13C-6829-4378-A6EF-2B6A713739E1}" dt="2024-06-12T13:21:43.730" v="678" actId="21"/>
        <pc:sldMkLst>
          <pc:docMk/>
          <pc:sldMk cId="0" sldId="273"/>
        </pc:sldMkLst>
        <pc:spChg chg="del">
          <ac:chgData name="Fivestarly Lathong [Chillibreeze]" userId="479dc9aa-69ea-4a23-b6ea-3a9d26ac15ab" providerId="ADAL" clId="{013ED13C-6829-4378-A6EF-2B6A713739E1}" dt="2024-06-12T13:20:25.342" v="643" actId="21"/>
          <ac:spMkLst>
            <pc:docMk/>
            <pc:sldMk cId="0" sldId="273"/>
            <ac:spMk id="2" creationId="{12155D2F-6176-5B64-E185-7B3F312F2FAD}"/>
          </ac:spMkLst>
        </pc:spChg>
        <pc:spChg chg="add mod">
          <ac:chgData name="Fivestarly Lathong [Chillibreeze]" userId="479dc9aa-69ea-4a23-b6ea-3a9d26ac15ab" providerId="ADAL" clId="{013ED13C-6829-4378-A6EF-2B6A713739E1}" dt="2024-06-12T13:20:57.803" v="655"/>
          <ac:spMkLst>
            <pc:docMk/>
            <pc:sldMk cId="0" sldId="273"/>
            <ac:spMk id="4" creationId="{BDF75057-E0D0-6F6A-7682-954F1A855D4E}"/>
          </ac:spMkLst>
        </pc:spChg>
        <pc:spChg chg="add del mod">
          <ac:chgData name="Fivestarly Lathong [Chillibreeze]" userId="479dc9aa-69ea-4a23-b6ea-3a9d26ac15ab" providerId="ADAL" clId="{013ED13C-6829-4378-A6EF-2B6A713739E1}" dt="2024-06-12T13:21:16.661" v="661" actId="6264"/>
          <ac:spMkLst>
            <pc:docMk/>
            <pc:sldMk cId="0" sldId="273"/>
            <ac:spMk id="6" creationId="{0E7C2CC3-4168-7EBE-5C2E-BFB1D32DA1DF}"/>
          </ac:spMkLst>
        </pc:spChg>
        <pc:spChg chg="add del mod">
          <ac:chgData name="Fivestarly Lathong [Chillibreeze]" userId="479dc9aa-69ea-4a23-b6ea-3a9d26ac15ab" providerId="ADAL" clId="{013ED13C-6829-4378-A6EF-2B6A713739E1}" dt="2024-06-12T13:21:16.834" v="662" actId="6264"/>
          <ac:spMkLst>
            <pc:docMk/>
            <pc:sldMk cId="0" sldId="273"/>
            <ac:spMk id="7" creationId="{3A30730E-EC4D-5451-0901-004B3A3E4974}"/>
          </ac:spMkLst>
        </pc:spChg>
        <pc:spChg chg="add del mod">
          <ac:chgData name="Fivestarly Lathong [Chillibreeze]" userId="479dc9aa-69ea-4a23-b6ea-3a9d26ac15ab" providerId="ADAL" clId="{013ED13C-6829-4378-A6EF-2B6A713739E1}" dt="2024-06-12T13:21:16.992" v="663" actId="6264"/>
          <ac:spMkLst>
            <pc:docMk/>
            <pc:sldMk cId="0" sldId="273"/>
            <ac:spMk id="8" creationId="{D822FD03-8EE5-6F64-CC0D-728452284344}"/>
          </ac:spMkLst>
        </pc:spChg>
        <pc:spChg chg="add mod ord">
          <ac:chgData name="Fivestarly Lathong [Chillibreeze]" userId="479dc9aa-69ea-4a23-b6ea-3a9d26ac15ab" providerId="ADAL" clId="{013ED13C-6829-4378-A6EF-2B6A713739E1}" dt="2024-06-12T13:21:28.238" v="667" actId="167"/>
          <ac:spMkLst>
            <pc:docMk/>
            <pc:sldMk cId="0" sldId="273"/>
            <ac:spMk id="10" creationId="{B0B38CCB-3961-FE46-5F62-6AAB759D0A16}"/>
          </ac:spMkLst>
        </pc:spChg>
        <pc:spChg chg="add mod ord">
          <ac:chgData name="Fivestarly Lathong [Chillibreeze]" userId="479dc9aa-69ea-4a23-b6ea-3a9d26ac15ab" providerId="ADAL" clId="{013ED13C-6829-4378-A6EF-2B6A713739E1}" dt="2024-06-12T13:21:28.238" v="667" actId="167"/>
          <ac:spMkLst>
            <pc:docMk/>
            <pc:sldMk cId="0" sldId="273"/>
            <ac:spMk id="11" creationId="{9234252A-21DD-468C-D83A-F35EE1EC9326}"/>
          </ac:spMkLst>
        </pc:spChg>
        <pc:spChg chg="add mod ord">
          <ac:chgData name="Fivestarly Lathong [Chillibreeze]" userId="479dc9aa-69ea-4a23-b6ea-3a9d26ac15ab" providerId="ADAL" clId="{013ED13C-6829-4378-A6EF-2B6A713739E1}" dt="2024-06-12T13:21:28.238" v="667" actId="167"/>
          <ac:spMkLst>
            <pc:docMk/>
            <pc:sldMk cId="0" sldId="273"/>
            <ac:spMk id="12" creationId="{958A1814-C0FA-F4A6-398C-75C76F66443C}"/>
          </ac:spMkLst>
        </pc:spChg>
        <pc:spChg chg="add mod ord">
          <ac:chgData name="Fivestarly Lathong [Chillibreeze]" userId="479dc9aa-69ea-4a23-b6ea-3a9d26ac15ab" providerId="ADAL" clId="{013ED13C-6829-4378-A6EF-2B6A713739E1}" dt="2024-06-12T13:21:28.238" v="667" actId="167"/>
          <ac:spMkLst>
            <pc:docMk/>
            <pc:sldMk cId="0" sldId="273"/>
            <ac:spMk id="13" creationId="{AE190F0A-E419-27D8-D0CD-42374A42439D}"/>
          </ac:spMkLst>
        </pc:spChg>
        <pc:spChg chg="add mod ord">
          <ac:chgData name="Fivestarly Lathong [Chillibreeze]" userId="479dc9aa-69ea-4a23-b6ea-3a9d26ac15ab" providerId="ADAL" clId="{013ED13C-6829-4378-A6EF-2B6A713739E1}" dt="2024-06-12T13:21:28.238" v="667" actId="167"/>
          <ac:spMkLst>
            <pc:docMk/>
            <pc:sldMk cId="0" sldId="273"/>
            <ac:spMk id="14" creationId="{F9CF7460-84C5-C239-CDC0-2C03154D2296}"/>
          </ac:spMkLst>
        </pc:spChg>
        <pc:spChg chg="add mod ord">
          <ac:chgData name="Fivestarly Lathong [Chillibreeze]" userId="479dc9aa-69ea-4a23-b6ea-3a9d26ac15ab" providerId="ADAL" clId="{013ED13C-6829-4378-A6EF-2B6A713739E1}" dt="2024-06-12T13:21:28.238" v="667" actId="167"/>
          <ac:spMkLst>
            <pc:docMk/>
            <pc:sldMk cId="0" sldId="273"/>
            <ac:spMk id="15" creationId="{A2BEA9E2-B32B-8702-73B7-B730D2C3E455}"/>
          </ac:spMkLst>
        </pc:spChg>
        <pc:spChg chg="add mod ord">
          <ac:chgData name="Fivestarly Lathong [Chillibreeze]" userId="479dc9aa-69ea-4a23-b6ea-3a9d26ac15ab" providerId="ADAL" clId="{013ED13C-6829-4378-A6EF-2B6A713739E1}" dt="2024-06-12T13:21:28.238" v="667" actId="167"/>
          <ac:spMkLst>
            <pc:docMk/>
            <pc:sldMk cId="0" sldId="273"/>
            <ac:spMk id="16" creationId="{AE9870C5-7E6C-83EE-DE16-44AA659B131C}"/>
          </ac:spMkLst>
        </pc:spChg>
        <pc:spChg chg="add mod ord">
          <ac:chgData name="Fivestarly Lathong [Chillibreeze]" userId="479dc9aa-69ea-4a23-b6ea-3a9d26ac15ab" providerId="ADAL" clId="{013ED13C-6829-4378-A6EF-2B6A713739E1}" dt="2024-06-12T13:21:28.238" v="667" actId="167"/>
          <ac:spMkLst>
            <pc:docMk/>
            <pc:sldMk cId="0" sldId="273"/>
            <ac:spMk id="17" creationId="{494249FD-03C7-66DC-F867-DB7D0830E17D}"/>
          </ac:spMkLst>
        </pc:spChg>
        <pc:spChg chg="add mod ord">
          <ac:chgData name="Fivestarly Lathong [Chillibreeze]" userId="479dc9aa-69ea-4a23-b6ea-3a9d26ac15ab" providerId="ADAL" clId="{013ED13C-6829-4378-A6EF-2B6A713739E1}" dt="2024-06-12T13:21:28.238" v="667" actId="167"/>
          <ac:spMkLst>
            <pc:docMk/>
            <pc:sldMk cId="0" sldId="273"/>
            <ac:spMk id="18" creationId="{C13C62E4-F132-95C2-A77B-063EF50B2916}"/>
          </ac:spMkLst>
        </pc:spChg>
        <pc:spChg chg="add mod ord">
          <ac:chgData name="Fivestarly Lathong [Chillibreeze]" userId="479dc9aa-69ea-4a23-b6ea-3a9d26ac15ab" providerId="ADAL" clId="{013ED13C-6829-4378-A6EF-2B6A713739E1}" dt="2024-06-12T13:21:28.238" v="667" actId="167"/>
          <ac:spMkLst>
            <pc:docMk/>
            <pc:sldMk cId="0" sldId="273"/>
            <ac:spMk id="19" creationId="{85554DFA-F125-78F0-7C3F-286748405041}"/>
          </ac:spMkLst>
        </pc:spChg>
        <pc:spChg chg="add mod ord">
          <ac:chgData name="Fivestarly Lathong [Chillibreeze]" userId="479dc9aa-69ea-4a23-b6ea-3a9d26ac15ab" providerId="ADAL" clId="{013ED13C-6829-4378-A6EF-2B6A713739E1}" dt="2024-06-12T13:21:28.238" v="667" actId="167"/>
          <ac:spMkLst>
            <pc:docMk/>
            <pc:sldMk cId="0" sldId="273"/>
            <ac:spMk id="20" creationId="{3D3E44FF-9BAE-170B-31FE-0A518AE200E5}"/>
          </ac:spMkLst>
        </pc:spChg>
        <pc:spChg chg="add mod ord">
          <ac:chgData name="Fivestarly Lathong [Chillibreeze]" userId="479dc9aa-69ea-4a23-b6ea-3a9d26ac15ab" providerId="ADAL" clId="{013ED13C-6829-4378-A6EF-2B6A713739E1}" dt="2024-06-12T13:21:33.895" v="671"/>
          <ac:spMkLst>
            <pc:docMk/>
            <pc:sldMk cId="0" sldId="273"/>
            <ac:spMk id="22" creationId="{32AD5E2B-C181-76FC-B891-62A0D61216BA}"/>
          </ac:spMkLst>
        </pc:spChg>
        <pc:spChg chg="add mod ord">
          <ac:chgData name="Fivestarly Lathong [Chillibreeze]" userId="479dc9aa-69ea-4a23-b6ea-3a9d26ac15ab" providerId="ADAL" clId="{013ED13C-6829-4378-A6EF-2B6A713739E1}" dt="2024-06-12T13:21:38.292" v="674"/>
          <ac:spMkLst>
            <pc:docMk/>
            <pc:sldMk cId="0" sldId="273"/>
            <ac:spMk id="24" creationId="{A02275A3-43F4-C1B0-FA0F-119DD5E7E4BC}"/>
          </ac:spMkLst>
        </pc:spChg>
        <pc:spChg chg="add mod ord">
          <ac:chgData name="Fivestarly Lathong [Chillibreeze]" userId="479dc9aa-69ea-4a23-b6ea-3a9d26ac15ab" providerId="ADAL" clId="{013ED13C-6829-4378-A6EF-2B6A713739E1}" dt="2024-06-12T13:21:41.278" v="677"/>
          <ac:spMkLst>
            <pc:docMk/>
            <pc:sldMk cId="0" sldId="273"/>
            <ac:spMk id="26" creationId="{D6276BF8-536D-BB9A-9035-0ED08023CB94}"/>
          </ac:spMkLst>
        </pc:spChg>
        <pc:spChg chg="mod ord">
          <ac:chgData name="Fivestarly Lathong [Chillibreeze]" userId="479dc9aa-69ea-4a23-b6ea-3a9d26ac15ab" providerId="ADAL" clId="{013ED13C-6829-4378-A6EF-2B6A713739E1}" dt="2024-06-12T13:21:29.982" v="668" actId="20577"/>
          <ac:spMkLst>
            <pc:docMk/>
            <pc:sldMk cId="0" sldId="273"/>
            <ac:spMk id="4349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20:41.466" v="647" actId="21"/>
          <ac:spMkLst>
            <pc:docMk/>
            <pc:sldMk cId="0" sldId="273"/>
            <ac:spMk id="4350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3:21:43.730" v="678" actId="21"/>
          <ac:spMkLst>
            <pc:docMk/>
            <pc:sldMk cId="0" sldId="273"/>
            <ac:spMk id="4351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3:21:43.730" v="678" actId="21"/>
          <ac:spMkLst>
            <pc:docMk/>
            <pc:sldMk cId="0" sldId="273"/>
            <ac:spMk id="4355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3:21:43.730" v="678" actId="21"/>
          <ac:spMkLst>
            <pc:docMk/>
            <pc:sldMk cId="0" sldId="273"/>
            <ac:spMk id="4359" creationId="{00000000-0000-0000-0000-000000000000}"/>
          </ac:spMkLst>
        </pc:spChg>
        <pc:spChg chg="del mod ord">
          <ac:chgData name="Fivestarly Lathong [Chillibreeze]" userId="479dc9aa-69ea-4a23-b6ea-3a9d26ac15ab" providerId="ADAL" clId="{013ED13C-6829-4378-A6EF-2B6A713739E1}" dt="2024-06-12T13:21:43.730" v="678" actId="21"/>
          <ac:spMkLst>
            <pc:docMk/>
            <pc:sldMk cId="0" sldId="273"/>
            <ac:spMk id="4363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3:21:43.730" v="678" actId="21"/>
          <ac:spMkLst>
            <pc:docMk/>
            <pc:sldMk cId="0" sldId="273"/>
            <ac:spMk id="4364" creationId="{00000000-0000-0000-0000-000000000000}"/>
          </ac:spMkLst>
        </pc:spChg>
        <pc:grpChg chg="del mod">
          <ac:chgData name="Fivestarly Lathong [Chillibreeze]" userId="479dc9aa-69ea-4a23-b6ea-3a9d26ac15ab" providerId="ADAL" clId="{013ED13C-6829-4378-A6EF-2B6A713739E1}" dt="2024-06-12T13:21:43.730" v="678" actId="21"/>
          <ac:grpSpMkLst>
            <pc:docMk/>
            <pc:sldMk cId="0" sldId="273"/>
            <ac:grpSpMk id="4352" creationId="{00000000-0000-0000-0000-000000000000}"/>
          </ac:grpSpMkLst>
        </pc:grpChg>
        <pc:grpChg chg="del mod">
          <ac:chgData name="Fivestarly Lathong [Chillibreeze]" userId="479dc9aa-69ea-4a23-b6ea-3a9d26ac15ab" providerId="ADAL" clId="{013ED13C-6829-4378-A6EF-2B6A713739E1}" dt="2024-06-12T13:21:43.730" v="678" actId="21"/>
          <ac:grpSpMkLst>
            <pc:docMk/>
            <pc:sldMk cId="0" sldId="273"/>
            <ac:grpSpMk id="4356" creationId="{00000000-0000-0000-0000-000000000000}"/>
          </ac:grpSpMkLst>
        </pc:grpChg>
        <pc:grpChg chg="del mod">
          <ac:chgData name="Fivestarly Lathong [Chillibreeze]" userId="479dc9aa-69ea-4a23-b6ea-3a9d26ac15ab" providerId="ADAL" clId="{013ED13C-6829-4378-A6EF-2B6A713739E1}" dt="2024-06-12T13:21:43.730" v="678" actId="21"/>
          <ac:grpSpMkLst>
            <pc:docMk/>
            <pc:sldMk cId="0" sldId="273"/>
            <ac:grpSpMk id="4360" creationId="{00000000-0000-0000-0000-000000000000}"/>
          </ac:grpSpMkLst>
        </pc:grpChg>
        <pc:picChg chg="add mod ord">
          <ac:chgData name="Fivestarly Lathong [Chillibreeze]" userId="479dc9aa-69ea-4a23-b6ea-3a9d26ac15ab" providerId="ADAL" clId="{013ED13C-6829-4378-A6EF-2B6A713739E1}" dt="2024-06-12T13:21:28.238" v="667" actId="167"/>
          <ac:picMkLst>
            <pc:docMk/>
            <pc:sldMk cId="0" sldId="273"/>
            <ac:picMk id="9" creationId="{BB1C3ECE-C0B8-699D-AAB5-974C61E9AC54}"/>
          </ac:picMkLst>
        </pc:picChg>
        <pc:picChg chg="add mod ord">
          <ac:chgData name="Fivestarly Lathong [Chillibreeze]" userId="479dc9aa-69ea-4a23-b6ea-3a9d26ac15ab" providerId="ADAL" clId="{013ED13C-6829-4378-A6EF-2B6A713739E1}" dt="2024-06-12T13:21:28.238" v="667" actId="167"/>
          <ac:picMkLst>
            <pc:docMk/>
            <pc:sldMk cId="0" sldId="273"/>
            <ac:picMk id="21" creationId="{DF55BDA1-2617-40E2-2D58-6FCE7BF7360A}"/>
          </ac:picMkLst>
        </pc:picChg>
        <pc:picChg chg="add mod ord">
          <ac:chgData name="Fivestarly Lathong [Chillibreeze]" userId="479dc9aa-69ea-4a23-b6ea-3a9d26ac15ab" providerId="ADAL" clId="{013ED13C-6829-4378-A6EF-2B6A713739E1}" dt="2024-06-12T13:21:28.238" v="667" actId="167"/>
          <ac:picMkLst>
            <pc:docMk/>
            <pc:sldMk cId="0" sldId="273"/>
            <ac:picMk id="23" creationId="{6161B588-5082-530C-5408-CA7510AB5647}"/>
          </ac:picMkLst>
        </pc:picChg>
        <pc:picChg chg="add mod ord">
          <ac:chgData name="Fivestarly Lathong [Chillibreeze]" userId="479dc9aa-69ea-4a23-b6ea-3a9d26ac15ab" providerId="ADAL" clId="{013ED13C-6829-4378-A6EF-2B6A713739E1}" dt="2024-06-12T13:21:28.238" v="667" actId="167"/>
          <ac:picMkLst>
            <pc:docMk/>
            <pc:sldMk cId="0" sldId="273"/>
            <ac:picMk id="25" creationId="{D7E91DAF-77AB-D013-EA36-4E753433C845}"/>
          </ac:picMkLst>
        </pc:picChg>
        <pc:picChg chg="del">
          <ac:chgData name="Fivestarly Lathong [Chillibreeze]" userId="479dc9aa-69ea-4a23-b6ea-3a9d26ac15ab" providerId="ADAL" clId="{013ED13C-6829-4378-A6EF-2B6A713739E1}" dt="2024-06-12T13:20:40.223" v="646" actId="21"/>
          <ac:picMkLst>
            <pc:docMk/>
            <pc:sldMk cId="0" sldId="273"/>
            <ac:picMk id="4348" creationId="{00000000-0000-0000-0000-000000000000}"/>
          </ac:picMkLst>
        </pc:picChg>
        <pc:cxnChg chg="add mod">
          <ac:chgData name="Fivestarly Lathong [Chillibreeze]" userId="479dc9aa-69ea-4a23-b6ea-3a9d26ac15ab" providerId="ADAL" clId="{013ED13C-6829-4378-A6EF-2B6A713739E1}" dt="2024-06-12T13:21:03.417" v="656" actId="14100"/>
          <ac:cxnSpMkLst>
            <pc:docMk/>
            <pc:sldMk cId="0" sldId="273"/>
            <ac:cxnSpMk id="3" creationId="{9F59DD05-9A4B-5549-1DC7-D079B1623164}"/>
          </ac:cxnSpMkLst>
        </pc:cxnChg>
      </pc:sldChg>
      <pc:sldChg chg="addSp delSp modSp mod setBg modClrScheme chgLayout">
        <pc:chgData name="Fivestarly Lathong [Chillibreeze]" userId="479dc9aa-69ea-4a23-b6ea-3a9d26ac15ab" providerId="ADAL" clId="{013ED13C-6829-4378-A6EF-2B6A713739E1}" dt="2024-06-12T13:24:11.663" v="737" actId="21"/>
        <pc:sldMkLst>
          <pc:docMk/>
          <pc:sldMk cId="0" sldId="274"/>
        </pc:sldMkLst>
        <pc:spChg chg="del">
          <ac:chgData name="Fivestarly Lathong [Chillibreeze]" userId="479dc9aa-69ea-4a23-b6ea-3a9d26ac15ab" providerId="ADAL" clId="{013ED13C-6829-4378-A6EF-2B6A713739E1}" dt="2024-06-12T13:21:48.741" v="679" actId="21"/>
          <ac:spMkLst>
            <pc:docMk/>
            <pc:sldMk cId="0" sldId="274"/>
            <ac:spMk id="2" creationId="{684CBE5A-B6F6-00ED-7228-CF731B08E7F4}"/>
          </ac:spMkLst>
        </pc:spChg>
        <pc:spChg chg="add mod ord">
          <ac:chgData name="Fivestarly Lathong [Chillibreeze]" userId="479dc9aa-69ea-4a23-b6ea-3a9d26ac15ab" providerId="ADAL" clId="{013ED13C-6829-4378-A6EF-2B6A713739E1}" dt="2024-06-12T13:22:19.767" v="688" actId="167"/>
          <ac:spMkLst>
            <pc:docMk/>
            <pc:sldMk cId="0" sldId="274"/>
            <ac:spMk id="4" creationId="{6AE59FF4-253A-1B56-537E-53BC36F0B897}"/>
          </ac:spMkLst>
        </pc:spChg>
        <pc:spChg chg="add del mod ord">
          <ac:chgData name="Fivestarly Lathong [Chillibreeze]" userId="479dc9aa-69ea-4a23-b6ea-3a9d26ac15ab" providerId="ADAL" clId="{013ED13C-6829-4378-A6EF-2B6A713739E1}" dt="2024-06-12T13:24:10.186" v="736" actId="21"/>
          <ac:spMkLst>
            <pc:docMk/>
            <pc:sldMk cId="0" sldId="274"/>
            <ac:spMk id="5" creationId="{98CE9DEE-B08B-6346-32D1-6614DC260B5C}"/>
          </ac:spMkLst>
        </pc:spChg>
        <pc:spChg chg="add del mod">
          <ac:chgData name="Fivestarly Lathong [Chillibreeze]" userId="479dc9aa-69ea-4a23-b6ea-3a9d26ac15ab" providerId="ADAL" clId="{013ED13C-6829-4378-A6EF-2B6A713739E1}" dt="2024-06-12T13:22:22.566" v="690" actId="6264"/>
          <ac:spMkLst>
            <pc:docMk/>
            <pc:sldMk cId="0" sldId="274"/>
            <ac:spMk id="6" creationId="{3D622225-6B38-7577-63C7-C4325E00D1AC}"/>
          </ac:spMkLst>
        </pc:spChg>
        <pc:spChg chg="add del mod">
          <ac:chgData name="Fivestarly Lathong [Chillibreeze]" userId="479dc9aa-69ea-4a23-b6ea-3a9d26ac15ab" providerId="ADAL" clId="{013ED13C-6829-4378-A6EF-2B6A713739E1}" dt="2024-06-12T13:22:24.592" v="691" actId="6264"/>
          <ac:spMkLst>
            <pc:docMk/>
            <pc:sldMk cId="0" sldId="274"/>
            <ac:spMk id="7" creationId="{002549D4-9069-F412-BDA0-2B017E31C431}"/>
          </ac:spMkLst>
        </pc:spChg>
        <pc:spChg chg="add del mod">
          <ac:chgData name="Fivestarly Lathong [Chillibreeze]" userId="479dc9aa-69ea-4a23-b6ea-3a9d26ac15ab" providerId="ADAL" clId="{013ED13C-6829-4378-A6EF-2B6A713739E1}" dt="2024-06-12T13:22:24.796" v="692" actId="6264"/>
          <ac:spMkLst>
            <pc:docMk/>
            <pc:sldMk cId="0" sldId="274"/>
            <ac:spMk id="8" creationId="{597334FF-FE04-1BA1-8963-E2DC34FA573F}"/>
          </ac:spMkLst>
        </pc:spChg>
        <pc:spChg chg="add mod">
          <ac:chgData name="Fivestarly Lathong [Chillibreeze]" userId="479dc9aa-69ea-4a23-b6ea-3a9d26ac15ab" providerId="ADAL" clId="{013ED13C-6829-4378-A6EF-2B6A713739E1}" dt="2024-06-12T13:22:43.984" v="703"/>
          <ac:spMkLst>
            <pc:docMk/>
            <pc:sldMk cId="0" sldId="274"/>
            <ac:spMk id="10" creationId="{99F2A730-17FE-20E5-74B5-4C088EE4531D}"/>
          </ac:spMkLst>
        </pc:spChg>
        <pc:spChg chg="add mod">
          <ac:chgData name="Fivestarly Lathong [Chillibreeze]" userId="479dc9aa-69ea-4a23-b6ea-3a9d26ac15ab" providerId="ADAL" clId="{013ED13C-6829-4378-A6EF-2B6A713739E1}" dt="2024-06-12T13:23:04.396" v="713" actId="12789"/>
          <ac:spMkLst>
            <pc:docMk/>
            <pc:sldMk cId="0" sldId="274"/>
            <ac:spMk id="12" creationId="{10C98D10-91C6-304F-A9CE-D4B978A1E896}"/>
          </ac:spMkLst>
        </pc:spChg>
        <pc:spChg chg="add mod">
          <ac:chgData name="Fivestarly Lathong [Chillibreeze]" userId="479dc9aa-69ea-4a23-b6ea-3a9d26ac15ab" providerId="ADAL" clId="{013ED13C-6829-4378-A6EF-2B6A713739E1}" dt="2024-06-12T13:23:06.687" v="714" actId="12789"/>
          <ac:spMkLst>
            <pc:docMk/>
            <pc:sldMk cId="0" sldId="274"/>
            <ac:spMk id="13" creationId="{35245819-17BF-1502-962C-868E13F13DFE}"/>
          </ac:spMkLst>
        </pc:spChg>
        <pc:spChg chg="add mod">
          <ac:chgData name="Fivestarly Lathong [Chillibreeze]" userId="479dc9aa-69ea-4a23-b6ea-3a9d26ac15ab" providerId="ADAL" clId="{013ED13C-6829-4378-A6EF-2B6A713739E1}" dt="2024-06-12T13:22:55.554" v="706"/>
          <ac:spMkLst>
            <pc:docMk/>
            <pc:sldMk cId="0" sldId="274"/>
            <ac:spMk id="14" creationId="{B2985FD6-9DF1-418D-D8F1-E25ED89C4688}"/>
          </ac:spMkLst>
        </pc:spChg>
        <pc:spChg chg="add mod">
          <ac:chgData name="Fivestarly Lathong [Chillibreeze]" userId="479dc9aa-69ea-4a23-b6ea-3a9d26ac15ab" providerId="ADAL" clId="{013ED13C-6829-4378-A6EF-2B6A713739E1}" dt="2024-06-12T13:22:55.554" v="706"/>
          <ac:spMkLst>
            <pc:docMk/>
            <pc:sldMk cId="0" sldId="274"/>
            <ac:spMk id="15" creationId="{582FC1B1-C1E9-6E6D-8A6B-7D08BEB9D403}"/>
          </ac:spMkLst>
        </pc:spChg>
        <pc:spChg chg="add mod">
          <ac:chgData name="Fivestarly Lathong [Chillibreeze]" userId="479dc9aa-69ea-4a23-b6ea-3a9d26ac15ab" providerId="ADAL" clId="{013ED13C-6829-4378-A6EF-2B6A713739E1}" dt="2024-06-12T13:22:55.554" v="706"/>
          <ac:spMkLst>
            <pc:docMk/>
            <pc:sldMk cId="0" sldId="274"/>
            <ac:spMk id="16" creationId="{548431E0-A117-9481-F1A7-4DFB0D0CA28C}"/>
          </ac:spMkLst>
        </pc:spChg>
        <pc:spChg chg="add mod">
          <ac:chgData name="Fivestarly Lathong [Chillibreeze]" userId="479dc9aa-69ea-4a23-b6ea-3a9d26ac15ab" providerId="ADAL" clId="{013ED13C-6829-4378-A6EF-2B6A713739E1}" dt="2024-06-12T13:22:55.554" v="706"/>
          <ac:spMkLst>
            <pc:docMk/>
            <pc:sldMk cId="0" sldId="274"/>
            <ac:spMk id="17" creationId="{2DA0F325-FD2E-716F-9501-3BA7BBB5FA0E}"/>
          </ac:spMkLst>
        </pc:spChg>
        <pc:spChg chg="add mod">
          <ac:chgData name="Fivestarly Lathong [Chillibreeze]" userId="479dc9aa-69ea-4a23-b6ea-3a9d26ac15ab" providerId="ADAL" clId="{013ED13C-6829-4378-A6EF-2B6A713739E1}" dt="2024-06-12T13:23:06.687" v="714" actId="12789"/>
          <ac:spMkLst>
            <pc:docMk/>
            <pc:sldMk cId="0" sldId="274"/>
            <ac:spMk id="19" creationId="{BFA08FBA-239B-801A-AD6A-61CBA835731B}"/>
          </ac:spMkLst>
        </pc:spChg>
        <pc:spChg chg="add mod">
          <ac:chgData name="Fivestarly Lathong [Chillibreeze]" userId="479dc9aa-69ea-4a23-b6ea-3a9d26ac15ab" providerId="ADAL" clId="{013ED13C-6829-4378-A6EF-2B6A713739E1}" dt="2024-06-12T13:23:04.396" v="713" actId="12789"/>
          <ac:spMkLst>
            <pc:docMk/>
            <pc:sldMk cId="0" sldId="274"/>
            <ac:spMk id="21" creationId="{C7D8F65D-63E4-ADB0-6A08-4D9C3B84C2C9}"/>
          </ac:spMkLst>
        </pc:spChg>
        <pc:spChg chg="add del mod">
          <ac:chgData name="Fivestarly Lathong [Chillibreeze]" userId="479dc9aa-69ea-4a23-b6ea-3a9d26ac15ab" providerId="ADAL" clId="{013ED13C-6829-4378-A6EF-2B6A713739E1}" dt="2024-06-12T13:23:58.549" v="731" actId="6264"/>
          <ac:spMkLst>
            <pc:docMk/>
            <pc:sldMk cId="0" sldId="274"/>
            <ac:spMk id="22" creationId="{5AB93C83-89AA-F700-73C7-A137B4CF7CD5}"/>
          </ac:spMkLst>
        </pc:spChg>
        <pc:spChg chg="add del mod">
          <ac:chgData name="Fivestarly Lathong [Chillibreeze]" userId="479dc9aa-69ea-4a23-b6ea-3a9d26ac15ab" providerId="ADAL" clId="{013ED13C-6829-4378-A6EF-2B6A713739E1}" dt="2024-06-12T13:23:58.753" v="732" actId="6264"/>
          <ac:spMkLst>
            <pc:docMk/>
            <pc:sldMk cId="0" sldId="274"/>
            <ac:spMk id="23" creationId="{7B610696-EAD7-4D08-CE25-90EE6D8C6E0A}"/>
          </ac:spMkLst>
        </pc:spChg>
        <pc:spChg chg="add del mod">
          <ac:chgData name="Fivestarly Lathong [Chillibreeze]" userId="479dc9aa-69ea-4a23-b6ea-3a9d26ac15ab" providerId="ADAL" clId="{013ED13C-6829-4378-A6EF-2B6A713739E1}" dt="2024-06-12T13:24:11.663" v="737" actId="21"/>
          <ac:spMkLst>
            <pc:docMk/>
            <pc:sldMk cId="0" sldId="274"/>
            <ac:spMk id="4370" creationId="{00000000-0000-0000-0000-000000000000}"/>
          </ac:spMkLst>
        </pc:spChg>
        <pc:spChg chg="mod ord">
          <ac:chgData name="Fivestarly Lathong [Chillibreeze]" userId="479dc9aa-69ea-4a23-b6ea-3a9d26ac15ab" providerId="ADAL" clId="{013ED13C-6829-4378-A6EF-2B6A713739E1}" dt="2024-06-12T13:24:06.478" v="734" actId="20577"/>
          <ac:spMkLst>
            <pc:docMk/>
            <pc:sldMk cId="0" sldId="274"/>
            <ac:spMk id="4371" creationId="{00000000-0000-0000-0000-000000000000}"/>
          </ac:spMkLst>
        </pc:spChg>
        <pc:spChg chg="add del mod ord">
          <ac:chgData name="Fivestarly Lathong [Chillibreeze]" userId="479dc9aa-69ea-4a23-b6ea-3a9d26ac15ab" providerId="ADAL" clId="{013ED13C-6829-4378-A6EF-2B6A713739E1}" dt="2024-06-12T13:24:11.663" v="737" actId="21"/>
          <ac:spMkLst>
            <pc:docMk/>
            <pc:sldMk cId="0" sldId="274"/>
            <ac:spMk id="4372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22:07.374" v="684" actId="21"/>
          <ac:spMkLst>
            <pc:docMk/>
            <pc:sldMk cId="0" sldId="274"/>
            <ac:spMk id="4373" creationId="{00000000-0000-0000-0000-000000000000}"/>
          </ac:spMkLst>
        </pc:spChg>
        <pc:spChg chg="add del mod">
          <ac:chgData name="Fivestarly Lathong [Chillibreeze]" userId="479dc9aa-69ea-4a23-b6ea-3a9d26ac15ab" providerId="ADAL" clId="{013ED13C-6829-4378-A6EF-2B6A713739E1}" dt="2024-06-12T13:24:11.663" v="737" actId="21"/>
          <ac:spMkLst>
            <pc:docMk/>
            <pc:sldMk cId="0" sldId="274"/>
            <ac:spMk id="4374" creationId="{00000000-0000-0000-0000-000000000000}"/>
          </ac:spMkLst>
        </pc:spChg>
        <pc:spChg chg="mod">
          <ac:chgData name="Fivestarly Lathong [Chillibreeze]" userId="479dc9aa-69ea-4a23-b6ea-3a9d26ac15ab" providerId="ADAL" clId="{013ED13C-6829-4378-A6EF-2B6A713739E1}" dt="2024-06-12T13:21:55.005" v="681" actId="207"/>
          <ac:spMkLst>
            <pc:docMk/>
            <pc:sldMk cId="0" sldId="274"/>
            <ac:spMk id="4376" creationId="{00000000-0000-0000-0000-000000000000}"/>
          </ac:spMkLst>
        </pc:spChg>
        <pc:spChg chg="mod">
          <ac:chgData name="Fivestarly Lathong [Chillibreeze]" userId="479dc9aa-69ea-4a23-b6ea-3a9d26ac15ab" providerId="ADAL" clId="{013ED13C-6829-4378-A6EF-2B6A713739E1}" dt="2024-06-12T13:21:55.005" v="681" actId="207"/>
          <ac:spMkLst>
            <pc:docMk/>
            <pc:sldMk cId="0" sldId="274"/>
            <ac:spMk id="4377" creationId="{00000000-0000-0000-0000-000000000000}"/>
          </ac:spMkLst>
        </pc:spChg>
        <pc:spChg chg="add del mod">
          <ac:chgData name="Fivestarly Lathong [Chillibreeze]" userId="479dc9aa-69ea-4a23-b6ea-3a9d26ac15ab" providerId="ADAL" clId="{013ED13C-6829-4378-A6EF-2B6A713739E1}" dt="2024-06-12T13:24:11.663" v="737" actId="21"/>
          <ac:spMkLst>
            <pc:docMk/>
            <pc:sldMk cId="0" sldId="274"/>
            <ac:spMk id="4378" creationId="{00000000-0000-0000-0000-000000000000}"/>
          </ac:spMkLst>
        </pc:spChg>
        <pc:spChg chg="mod">
          <ac:chgData name="Fivestarly Lathong [Chillibreeze]" userId="479dc9aa-69ea-4a23-b6ea-3a9d26ac15ab" providerId="ADAL" clId="{013ED13C-6829-4378-A6EF-2B6A713739E1}" dt="2024-06-12T13:21:55.005" v="681" actId="207"/>
          <ac:spMkLst>
            <pc:docMk/>
            <pc:sldMk cId="0" sldId="274"/>
            <ac:spMk id="4380" creationId="{00000000-0000-0000-0000-000000000000}"/>
          </ac:spMkLst>
        </pc:spChg>
        <pc:spChg chg="mod">
          <ac:chgData name="Fivestarly Lathong [Chillibreeze]" userId="479dc9aa-69ea-4a23-b6ea-3a9d26ac15ab" providerId="ADAL" clId="{013ED13C-6829-4378-A6EF-2B6A713739E1}" dt="2024-06-12T13:21:55.005" v="681" actId="207"/>
          <ac:spMkLst>
            <pc:docMk/>
            <pc:sldMk cId="0" sldId="274"/>
            <ac:spMk id="4381" creationId="{00000000-0000-0000-0000-000000000000}"/>
          </ac:spMkLst>
        </pc:spChg>
        <pc:grpChg chg="del mod">
          <ac:chgData name="Fivestarly Lathong [Chillibreeze]" userId="479dc9aa-69ea-4a23-b6ea-3a9d26ac15ab" providerId="ADAL" clId="{013ED13C-6829-4378-A6EF-2B6A713739E1}" dt="2024-06-12T13:23:09.456" v="715" actId="21"/>
          <ac:grpSpMkLst>
            <pc:docMk/>
            <pc:sldMk cId="0" sldId="274"/>
            <ac:grpSpMk id="4375" creationId="{00000000-0000-0000-0000-000000000000}"/>
          </ac:grpSpMkLst>
        </pc:grpChg>
        <pc:grpChg chg="del mod">
          <ac:chgData name="Fivestarly Lathong [Chillibreeze]" userId="479dc9aa-69ea-4a23-b6ea-3a9d26ac15ab" providerId="ADAL" clId="{013ED13C-6829-4378-A6EF-2B6A713739E1}" dt="2024-06-12T13:23:09.456" v="715" actId="21"/>
          <ac:grpSpMkLst>
            <pc:docMk/>
            <pc:sldMk cId="0" sldId="274"/>
            <ac:grpSpMk id="4379" creationId="{00000000-0000-0000-0000-000000000000}"/>
          </ac:grpSpMkLst>
        </pc:grpChg>
        <pc:picChg chg="add mod ord">
          <ac:chgData name="Fivestarly Lathong [Chillibreeze]" userId="479dc9aa-69ea-4a23-b6ea-3a9d26ac15ab" providerId="ADAL" clId="{013ED13C-6829-4378-A6EF-2B6A713739E1}" dt="2024-06-12T13:22:19.767" v="688" actId="167"/>
          <ac:picMkLst>
            <pc:docMk/>
            <pc:sldMk cId="0" sldId="274"/>
            <ac:picMk id="3" creationId="{3CE1E5E7-6F6C-7E95-1B3A-C1840A26F2BB}"/>
          </ac:picMkLst>
        </pc:picChg>
        <pc:picChg chg="add mod">
          <ac:chgData name="Fivestarly Lathong [Chillibreeze]" userId="479dc9aa-69ea-4a23-b6ea-3a9d26ac15ab" providerId="ADAL" clId="{013ED13C-6829-4378-A6EF-2B6A713739E1}" dt="2024-06-12T13:22:55.554" v="706"/>
          <ac:picMkLst>
            <pc:docMk/>
            <pc:sldMk cId="0" sldId="274"/>
            <ac:picMk id="18" creationId="{176444F2-1CAA-01C1-45DB-30A67D285838}"/>
          </ac:picMkLst>
        </pc:picChg>
        <pc:picChg chg="add mod">
          <ac:chgData name="Fivestarly Lathong [Chillibreeze]" userId="479dc9aa-69ea-4a23-b6ea-3a9d26ac15ab" providerId="ADAL" clId="{013ED13C-6829-4378-A6EF-2B6A713739E1}" dt="2024-06-12T13:22:55.554" v="706"/>
          <ac:picMkLst>
            <pc:docMk/>
            <pc:sldMk cId="0" sldId="274"/>
            <ac:picMk id="20" creationId="{868CED1F-6B9C-E97D-EF35-23D9D4CCB153}"/>
          </ac:picMkLst>
        </pc:picChg>
        <pc:picChg chg="del">
          <ac:chgData name="Fivestarly Lathong [Chillibreeze]" userId="479dc9aa-69ea-4a23-b6ea-3a9d26ac15ab" providerId="ADAL" clId="{013ED13C-6829-4378-A6EF-2B6A713739E1}" dt="2024-06-12T13:22:06.370" v="683" actId="21"/>
          <ac:picMkLst>
            <pc:docMk/>
            <pc:sldMk cId="0" sldId="274"/>
            <ac:picMk id="4369" creationId="{00000000-0000-0000-0000-000000000000}"/>
          </ac:picMkLst>
        </pc:picChg>
        <pc:cxnChg chg="add mod">
          <ac:chgData name="Fivestarly Lathong [Chillibreeze]" userId="479dc9aa-69ea-4a23-b6ea-3a9d26ac15ab" providerId="ADAL" clId="{013ED13C-6829-4378-A6EF-2B6A713739E1}" dt="2024-06-12T13:22:46.544" v="704" actId="14100"/>
          <ac:cxnSpMkLst>
            <pc:docMk/>
            <pc:sldMk cId="0" sldId="274"/>
            <ac:cxnSpMk id="9" creationId="{9002A781-8FD0-5532-2DC5-9D51370229C7}"/>
          </ac:cxnSpMkLst>
        </pc:cxnChg>
      </pc:sldChg>
      <pc:sldChg chg="addSp delSp modSp mod setBg modClrScheme chgLayout">
        <pc:chgData name="Fivestarly Lathong [Chillibreeze]" userId="479dc9aa-69ea-4a23-b6ea-3a9d26ac15ab" providerId="ADAL" clId="{013ED13C-6829-4378-A6EF-2B6A713739E1}" dt="2024-06-12T14:07:43.488" v="1141" actId="21"/>
        <pc:sldMkLst>
          <pc:docMk/>
          <pc:sldMk cId="0" sldId="275"/>
        </pc:sldMkLst>
        <pc:spChg chg="del">
          <ac:chgData name="Fivestarly Lathong [Chillibreeze]" userId="479dc9aa-69ea-4a23-b6ea-3a9d26ac15ab" providerId="ADAL" clId="{013ED13C-6829-4378-A6EF-2B6A713739E1}" dt="2024-06-12T13:23:21.005" v="718" actId="21"/>
          <ac:spMkLst>
            <pc:docMk/>
            <pc:sldMk cId="0" sldId="275"/>
            <ac:spMk id="2" creationId="{EC3788CD-A50C-DA07-908E-6C747ABF7B54}"/>
          </ac:spMkLst>
        </pc:spChg>
        <pc:spChg chg="add del mod">
          <ac:chgData name="Fivestarly Lathong [Chillibreeze]" userId="479dc9aa-69ea-4a23-b6ea-3a9d26ac15ab" providerId="ADAL" clId="{013ED13C-6829-4378-A6EF-2B6A713739E1}" dt="2024-06-12T13:23:41.061" v="723" actId="6264"/>
          <ac:spMkLst>
            <pc:docMk/>
            <pc:sldMk cId="0" sldId="275"/>
            <ac:spMk id="3" creationId="{BD863578-899F-A859-B744-C76C324D3E5A}"/>
          </ac:spMkLst>
        </pc:spChg>
        <pc:spChg chg="add del mod">
          <ac:chgData name="Fivestarly Lathong [Chillibreeze]" userId="479dc9aa-69ea-4a23-b6ea-3a9d26ac15ab" providerId="ADAL" clId="{013ED13C-6829-4378-A6EF-2B6A713739E1}" dt="2024-06-12T13:23:49.136" v="727" actId="6264"/>
          <ac:spMkLst>
            <pc:docMk/>
            <pc:sldMk cId="0" sldId="275"/>
            <ac:spMk id="4" creationId="{8D451F96-3B03-EE41-8D29-702EA6CD4C52}"/>
          </ac:spMkLst>
        </pc:spChg>
        <pc:spChg chg="add del mod">
          <ac:chgData name="Fivestarly Lathong [Chillibreeze]" userId="479dc9aa-69ea-4a23-b6ea-3a9d26ac15ab" providerId="ADAL" clId="{013ED13C-6829-4378-A6EF-2B6A713739E1}" dt="2024-06-12T13:23:49.340" v="728" actId="6264"/>
          <ac:spMkLst>
            <pc:docMk/>
            <pc:sldMk cId="0" sldId="275"/>
            <ac:spMk id="5" creationId="{071DA116-28D3-61C3-E8A2-9B3BA8DA6CE7}"/>
          </ac:spMkLst>
        </pc:spChg>
        <pc:spChg chg="add mod">
          <ac:chgData name="Fivestarly Lathong [Chillibreeze]" userId="479dc9aa-69ea-4a23-b6ea-3a9d26ac15ab" providerId="ADAL" clId="{013ED13C-6829-4378-A6EF-2B6A713739E1}" dt="2024-06-12T13:24:28.160" v="743"/>
          <ac:spMkLst>
            <pc:docMk/>
            <pc:sldMk cId="0" sldId="275"/>
            <ac:spMk id="7" creationId="{23E82AA9-447C-3BF1-30EC-B70CE7483AD3}"/>
          </ac:spMkLst>
        </pc:spChg>
        <pc:spChg chg="add mod">
          <ac:chgData name="Fivestarly Lathong [Chillibreeze]" userId="479dc9aa-69ea-4a23-b6ea-3a9d26ac15ab" providerId="ADAL" clId="{013ED13C-6829-4378-A6EF-2B6A713739E1}" dt="2024-06-12T13:24:45.375" v="750" actId="14100"/>
          <ac:spMkLst>
            <pc:docMk/>
            <pc:sldMk cId="0" sldId="275"/>
            <ac:spMk id="9" creationId="{8CEBAEA1-746E-87A8-C54C-57864EFA4C5B}"/>
          </ac:spMkLst>
        </pc:spChg>
        <pc:spChg chg="add mod">
          <ac:chgData name="Fivestarly Lathong [Chillibreeze]" userId="479dc9aa-69ea-4a23-b6ea-3a9d26ac15ab" providerId="ADAL" clId="{013ED13C-6829-4378-A6EF-2B6A713739E1}" dt="2024-06-12T13:24:58.341" v="753"/>
          <ac:spMkLst>
            <pc:docMk/>
            <pc:sldMk cId="0" sldId="275"/>
            <ac:spMk id="11" creationId="{B9CBAB69-A146-3961-A4D9-0675A5E9958F}"/>
          </ac:spMkLst>
        </pc:spChg>
        <pc:spChg chg="add mod">
          <ac:chgData name="Fivestarly Lathong [Chillibreeze]" userId="479dc9aa-69ea-4a23-b6ea-3a9d26ac15ab" providerId="ADAL" clId="{013ED13C-6829-4378-A6EF-2B6A713739E1}" dt="2024-06-12T13:24:58.341" v="753"/>
          <ac:spMkLst>
            <pc:docMk/>
            <pc:sldMk cId="0" sldId="275"/>
            <ac:spMk id="12" creationId="{CD5CD1CF-91F2-426B-B341-5022D666C72F}"/>
          </ac:spMkLst>
        </pc:spChg>
        <pc:spChg chg="add mod">
          <ac:chgData name="Fivestarly Lathong [Chillibreeze]" userId="479dc9aa-69ea-4a23-b6ea-3a9d26ac15ab" providerId="ADAL" clId="{013ED13C-6829-4378-A6EF-2B6A713739E1}" dt="2024-06-12T13:24:58.341" v="753"/>
          <ac:spMkLst>
            <pc:docMk/>
            <pc:sldMk cId="0" sldId="275"/>
            <ac:spMk id="13" creationId="{198F6DBD-288B-838C-1D3F-7194144E556D}"/>
          </ac:spMkLst>
        </pc:spChg>
        <pc:spChg chg="add mod">
          <ac:chgData name="Fivestarly Lathong [Chillibreeze]" userId="479dc9aa-69ea-4a23-b6ea-3a9d26ac15ab" providerId="ADAL" clId="{013ED13C-6829-4378-A6EF-2B6A713739E1}" dt="2024-06-12T13:24:58.341" v="753"/>
          <ac:spMkLst>
            <pc:docMk/>
            <pc:sldMk cId="0" sldId="275"/>
            <ac:spMk id="14" creationId="{5CA66F53-F3D1-FBFD-02BE-FB51F378185B}"/>
          </ac:spMkLst>
        </pc:spChg>
        <pc:spChg chg="add mod">
          <ac:chgData name="Fivestarly Lathong [Chillibreeze]" userId="479dc9aa-69ea-4a23-b6ea-3a9d26ac15ab" providerId="ADAL" clId="{013ED13C-6829-4378-A6EF-2B6A713739E1}" dt="2024-06-12T13:24:58.341" v="753"/>
          <ac:spMkLst>
            <pc:docMk/>
            <pc:sldMk cId="0" sldId="275"/>
            <ac:spMk id="15" creationId="{47C14C60-4044-B6CA-0076-9A69EB4DB849}"/>
          </ac:spMkLst>
        </pc:spChg>
        <pc:spChg chg="add mod">
          <ac:chgData name="Fivestarly Lathong [Chillibreeze]" userId="479dc9aa-69ea-4a23-b6ea-3a9d26ac15ab" providerId="ADAL" clId="{013ED13C-6829-4378-A6EF-2B6A713739E1}" dt="2024-06-12T13:24:58.341" v="753"/>
          <ac:spMkLst>
            <pc:docMk/>
            <pc:sldMk cId="0" sldId="275"/>
            <ac:spMk id="16" creationId="{780AE2FB-1A9B-D4F5-1F22-28C5D2A81785}"/>
          </ac:spMkLst>
        </pc:spChg>
        <pc:spChg chg="add mod">
          <ac:chgData name="Fivestarly Lathong [Chillibreeze]" userId="479dc9aa-69ea-4a23-b6ea-3a9d26ac15ab" providerId="ADAL" clId="{013ED13C-6829-4378-A6EF-2B6A713739E1}" dt="2024-06-12T13:24:58.341" v="753"/>
          <ac:spMkLst>
            <pc:docMk/>
            <pc:sldMk cId="0" sldId="275"/>
            <ac:spMk id="17" creationId="{BD9A4C5C-4836-905A-47C8-F0C47900E506}"/>
          </ac:spMkLst>
        </pc:spChg>
        <pc:spChg chg="add mod">
          <ac:chgData name="Fivestarly Lathong [Chillibreeze]" userId="479dc9aa-69ea-4a23-b6ea-3a9d26ac15ab" providerId="ADAL" clId="{013ED13C-6829-4378-A6EF-2B6A713739E1}" dt="2024-06-12T13:24:58.341" v="753"/>
          <ac:spMkLst>
            <pc:docMk/>
            <pc:sldMk cId="0" sldId="275"/>
            <ac:spMk id="18" creationId="{AF5198B1-ABA0-BFA6-6ED0-F96E1B7FFAB0}"/>
          </ac:spMkLst>
        </pc:spChg>
        <pc:spChg chg="add mod">
          <ac:chgData name="Fivestarly Lathong [Chillibreeze]" userId="479dc9aa-69ea-4a23-b6ea-3a9d26ac15ab" providerId="ADAL" clId="{013ED13C-6829-4378-A6EF-2B6A713739E1}" dt="2024-06-12T13:24:58.341" v="753"/>
          <ac:spMkLst>
            <pc:docMk/>
            <pc:sldMk cId="0" sldId="275"/>
            <ac:spMk id="19" creationId="{B10EF99A-FABF-37E3-028C-C26B713ECECA}"/>
          </ac:spMkLst>
        </pc:spChg>
        <pc:spChg chg="add mod">
          <ac:chgData name="Fivestarly Lathong [Chillibreeze]" userId="479dc9aa-69ea-4a23-b6ea-3a9d26ac15ab" providerId="ADAL" clId="{013ED13C-6829-4378-A6EF-2B6A713739E1}" dt="2024-06-12T13:25:26.013" v="764" actId="14100"/>
          <ac:spMkLst>
            <pc:docMk/>
            <pc:sldMk cId="0" sldId="275"/>
            <ac:spMk id="21" creationId="{D54A3F86-B4C1-4B89-296D-4673ACEE75B2}"/>
          </ac:spMkLst>
        </pc:spChg>
        <pc:spChg chg="add mod">
          <ac:chgData name="Fivestarly Lathong [Chillibreeze]" userId="479dc9aa-69ea-4a23-b6ea-3a9d26ac15ab" providerId="ADAL" clId="{013ED13C-6829-4378-A6EF-2B6A713739E1}" dt="2024-06-12T13:25:26.013" v="764" actId="14100"/>
          <ac:spMkLst>
            <pc:docMk/>
            <pc:sldMk cId="0" sldId="275"/>
            <ac:spMk id="23" creationId="{4E60C547-5F2F-F2AC-89F8-C3F38C39C371}"/>
          </ac:spMkLst>
        </pc:spChg>
        <pc:spChg chg="add mod">
          <ac:chgData name="Fivestarly Lathong [Chillibreeze]" userId="479dc9aa-69ea-4a23-b6ea-3a9d26ac15ab" providerId="ADAL" clId="{013ED13C-6829-4378-A6EF-2B6A713739E1}" dt="2024-06-12T13:25:29.095" v="767"/>
          <ac:spMkLst>
            <pc:docMk/>
            <pc:sldMk cId="0" sldId="275"/>
            <ac:spMk id="25" creationId="{917728EC-468C-282D-F731-9B7D45FF1324}"/>
          </ac:spMkLst>
        </pc:spChg>
        <pc:spChg chg="add mod">
          <ac:chgData name="Fivestarly Lathong [Chillibreeze]" userId="479dc9aa-69ea-4a23-b6ea-3a9d26ac15ab" providerId="ADAL" clId="{013ED13C-6829-4378-A6EF-2B6A713739E1}" dt="2024-06-12T13:25:35.863" v="768"/>
          <ac:spMkLst>
            <pc:docMk/>
            <pc:sldMk cId="0" sldId="275"/>
            <ac:spMk id="27" creationId="{1EF84F57-ED04-36C7-93F7-32E9C1EE5EF5}"/>
          </ac:spMkLst>
        </pc:spChg>
        <pc:spChg chg="add mod">
          <ac:chgData name="Fivestarly Lathong [Chillibreeze]" userId="479dc9aa-69ea-4a23-b6ea-3a9d26ac15ab" providerId="ADAL" clId="{013ED13C-6829-4378-A6EF-2B6A713739E1}" dt="2024-06-12T13:25:35.863" v="768"/>
          <ac:spMkLst>
            <pc:docMk/>
            <pc:sldMk cId="0" sldId="275"/>
            <ac:spMk id="28" creationId="{DF8B6B60-560C-AE0F-4A0B-935E0AB8243D}"/>
          </ac:spMkLst>
        </pc:spChg>
        <pc:spChg chg="mod ord">
          <ac:chgData name="Fivestarly Lathong [Chillibreeze]" userId="479dc9aa-69ea-4a23-b6ea-3a9d26ac15ab" providerId="ADAL" clId="{013ED13C-6829-4378-A6EF-2B6A713739E1}" dt="2024-06-12T13:25:39.566" v="769" actId="700"/>
          <ac:spMkLst>
            <pc:docMk/>
            <pc:sldMk cId="0" sldId="275"/>
            <ac:spMk id="4387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4:07:43.488" v="1141" actId="21"/>
          <ac:spMkLst>
            <pc:docMk/>
            <pc:sldMk cId="0" sldId="275"/>
            <ac:spMk id="4388" creationId="{00000000-0000-0000-0000-000000000000}"/>
          </ac:spMkLst>
        </pc:spChg>
        <pc:spChg chg="del mod ord">
          <ac:chgData name="Fivestarly Lathong [Chillibreeze]" userId="479dc9aa-69ea-4a23-b6ea-3a9d26ac15ab" providerId="ADAL" clId="{013ED13C-6829-4378-A6EF-2B6A713739E1}" dt="2024-06-12T13:24:51.568" v="752" actId="21"/>
          <ac:spMkLst>
            <pc:docMk/>
            <pc:sldMk cId="0" sldId="275"/>
            <ac:spMk id="4389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4:07:43.488" v="1141" actId="21"/>
          <ac:spMkLst>
            <pc:docMk/>
            <pc:sldMk cId="0" sldId="275"/>
            <ac:spMk id="4390" creationId="{00000000-0000-0000-0000-000000000000}"/>
          </ac:spMkLst>
        </pc:spChg>
        <pc:spChg chg="mod">
          <ac:chgData name="Fivestarly Lathong [Chillibreeze]" userId="479dc9aa-69ea-4a23-b6ea-3a9d26ac15ab" providerId="ADAL" clId="{013ED13C-6829-4378-A6EF-2B6A713739E1}" dt="2024-06-12T13:23:30.177" v="719" actId="207"/>
          <ac:spMkLst>
            <pc:docMk/>
            <pc:sldMk cId="0" sldId="275"/>
            <ac:spMk id="4392" creationId="{00000000-0000-0000-0000-000000000000}"/>
          </ac:spMkLst>
        </pc:spChg>
        <pc:spChg chg="mod">
          <ac:chgData name="Fivestarly Lathong [Chillibreeze]" userId="479dc9aa-69ea-4a23-b6ea-3a9d26ac15ab" providerId="ADAL" clId="{013ED13C-6829-4378-A6EF-2B6A713739E1}" dt="2024-06-12T13:23:30.177" v="719" actId="207"/>
          <ac:spMkLst>
            <pc:docMk/>
            <pc:sldMk cId="0" sldId="275"/>
            <ac:spMk id="4393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4:07:43.488" v="1141" actId="21"/>
          <ac:spMkLst>
            <pc:docMk/>
            <pc:sldMk cId="0" sldId="275"/>
            <ac:spMk id="4394" creationId="{00000000-0000-0000-0000-000000000000}"/>
          </ac:spMkLst>
        </pc:spChg>
        <pc:spChg chg="mod">
          <ac:chgData name="Fivestarly Lathong [Chillibreeze]" userId="479dc9aa-69ea-4a23-b6ea-3a9d26ac15ab" providerId="ADAL" clId="{013ED13C-6829-4378-A6EF-2B6A713739E1}" dt="2024-06-12T13:23:30.177" v="719" actId="207"/>
          <ac:spMkLst>
            <pc:docMk/>
            <pc:sldMk cId="0" sldId="275"/>
            <ac:spMk id="4396" creationId="{00000000-0000-0000-0000-000000000000}"/>
          </ac:spMkLst>
        </pc:spChg>
        <pc:spChg chg="mod">
          <ac:chgData name="Fivestarly Lathong [Chillibreeze]" userId="479dc9aa-69ea-4a23-b6ea-3a9d26ac15ab" providerId="ADAL" clId="{013ED13C-6829-4378-A6EF-2B6A713739E1}" dt="2024-06-12T13:23:30.177" v="719" actId="207"/>
          <ac:spMkLst>
            <pc:docMk/>
            <pc:sldMk cId="0" sldId="275"/>
            <ac:spMk id="4397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4:07:43.488" v="1141" actId="21"/>
          <ac:spMkLst>
            <pc:docMk/>
            <pc:sldMk cId="0" sldId="275"/>
            <ac:spMk id="4398" creationId="{00000000-0000-0000-0000-000000000000}"/>
          </ac:spMkLst>
        </pc:spChg>
        <pc:spChg chg="mod">
          <ac:chgData name="Fivestarly Lathong [Chillibreeze]" userId="479dc9aa-69ea-4a23-b6ea-3a9d26ac15ab" providerId="ADAL" clId="{013ED13C-6829-4378-A6EF-2B6A713739E1}" dt="2024-06-12T13:23:30.177" v="719" actId="207"/>
          <ac:spMkLst>
            <pc:docMk/>
            <pc:sldMk cId="0" sldId="275"/>
            <ac:spMk id="4400" creationId="{00000000-0000-0000-0000-000000000000}"/>
          </ac:spMkLst>
        </pc:spChg>
        <pc:spChg chg="mod">
          <ac:chgData name="Fivestarly Lathong [Chillibreeze]" userId="479dc9aa-69ea-4a23-b6ea-3a9d26ac15ab" providerId="ADAL" clId="{013ED13C-6829-4378-A6EF-2B6A713739E1}" dt="2024-06-12T13:23:30.177" v="719" actId="207"/>
          <ac:spMkLst>
            <pc:docMk/>
            <pc:sldMk cId="0" sldId="275"/>
            <ac:spMk id="4401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3:24:51.568" v="752" actId="21"/>
          <ac:spMkLst>
            <pc:docMk/>
            <pc:sldMk cId="0" sldId="275"/>
            <ac:spMk id="4402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3:24:51.568" v="752" actId="21"/>
          <ac:spMkLst>
            <pc:docMk/>
            <pc:sldMk cId="0" sldId="275"/>
            <ac:spMk id="4403" creationId="{00000000-0000-0000-0000-000000000000}"/>
          </ac:spMkLst>
        </pc:spChg>
        <pc:grpChg chg="del mod">
          <ac:chgData name="Fivestarly Lathong [Chillibreeze]" userId="479dc9aa-69ea-4a23-b6ea-3a9d26ac15ab" providerId="ADAL" clId="{013ED13C-6829-4378-A6EF-2B6A713739E1}" dt="2024-06-12T13:25:45.877" v="771" actId="21"/>
          <ac:grpSpMkLst>
            <pc:docMk/>
            <pc:sldMk cId="0" sldId="275"/>
            <ac:grpSpMk id="4391" creationId="{00000000-0000-0000-0000-000000000000}"/>
          </ac:grpSpMkLst>
        </pc:grpChg>
        <pc:grpChg chg="del mod">
          <ac:chgData name="Fivestarly Lathong [Chillibreeze]" userId="479dc9aa-69ea-4a23-b6ea-3a9d26ac15ab" providerId="ADAL" clId="{013ED13C-6829-4378-A6EF-2B6A713739E1}" dt="2024-06-12T13:25:45.877" v="771" actId="21"/>
          <ac:grpSpMkLst>
            <pc:docMk/>
            <pc:sldMk cId="0" sldId="275"/>
            <ac:grpSpMk id="4395" creationId="{00000000-0000-0000-0000-000000000000}"/>
          </ac:grpSpMkLst>
        </pc:grpChg>
        <pc:grpChg chg="del mod">
          <ac:chgData name="Fivestarly Lathong [Chillibreeze]" userId="479dc9aa-69ea-4a23-b6ea-3a9d26ac15ab" providerId="ADAL" clId="{013ED13C-6829-4378-A6EF-2B6A713739E1}" dt="2024-06-12T13:25:45.877" v="771" actId="21"/>
          <ac:grpSpMkLst>
            <pc:docMk/>
            <pc:sldMk cId="0" sldId="275"/>
            <ac:grpSpMk id="4399" creationId="{00000000-0000-0000-0000-000000000000}"/>
          </ac:grpSpMkLst>
        </pc:grpChg>
        <pc:picChg chg="add mod">
          <ac:chgData name="Fivestarly Lathong [Chillibreeze]" userId="479dc9aa-69ea-4a23-b6ea-3a9d26ac15ab" providerId="ADAL" clId="{013ED13C-6829-4378-A6EF-2B6A713739E1}" dt="2024-06-12T13:24:58.341" v="753"/>
          <ac:picMkLst>
            <pc:docMk/>
            <pc:sldMk cId="0" sldId="275"/>
            <ac:picMk id="20" creationId="{6F569543-15E8-931D-0679-325B162B71F5}"/>
          </ac:picMkLst>
        </pc:picChg>
        <pc:picChg chg="add mod">
          <ac:chgData name="Fivestarly Lathong [Chillibreeze]" userId="479dc9aa-69ea-4a23-b6ea-3a9d26ac15ab" providerId="ADAL" clId="{013ED13C-6829-4378-A6EF-2B6A713739E1}" dt="2024-06-12T13:24:58.341" v="753"/>
          <ac:picMkLst>
            <pc:docMk/>
            <pc:sldMk cId="0" sldId="275"/>
            <ac:picMk id="22" creationId="{8C114E07-91A1-CA88-2EDF-F04E98316A5C}"/>
          </ac:picMkLst>
        </pc:picChg>
        <pc:picChg chg="add mod">
          <ac:chgData name="Fivestarly Lathong [Chillibreeze]" userId="479dc9aa-69ea-4a23-b6ea-3a9d26ac15ab" providerId="ADAL" clId="{013ED13C-6829-4378-A6EF-2B6A713739E1}" dt="2024-06-12T13:24:58.341" v="753"/>
          <ac:picMkLst>
            <pc:docMk/>
            <pc:sldMk cId="0" sldId="275"/>
            <ac:picMk id="24" creationId="{50BA4A99-1911-3355-8510-FD035FFA49DB}"/>
          </ac:picMkLst>
        </pc:picChg>
        <pc:picChg chg="add mod ord">
          <ac:chgData name="Fivestarly Lathong [Chillibreeze]" userId="479dc9aa-69ea-4a23-b6ea-3a9d26ac15ab" providerId="ADAL" clId="{013ED13C-6829-4378-A6EF-2B6A713739E1}" dt="2024-06-12T13:25:41.953" v="770" actId="167"/>
          <ac:picMkLst>
            <pc:docMk/>
            <pc:sldMk cId="0" sldId="275"/>
            <ac:picMk id="26" creationId="{2510E927-1FE5-6490-22E9-C238151E1BC1}"/>
          </ac:picMkLst>
        </pc:picChg>
        <pc:picChg chg="del mod">
          <ac:chgData name="Fivestarly Lathong [Chillibreeze]" userId="479dc9aa-69ea-4a23-b6ea-3a9d26ac15ab" providerId="ADAL" clId="{013ED13C-6829-4378-A6EF-2B6A713739E1}" dt="2024-06-12T13:25:45.877" v="771" actId="21"/>
          <ac:picMkLst>
            <pc:docMk/>
            <pc:sldMk cId="0" sldId="275"/>
            <ac:picMk id="4386" creationId="{00000000-0000-0000-0000-000000000000}"/>
          </ac:picMkLst>
        </pc:picChg>
        <pc:cxnChg chg="add mod">
          <ac:chgData name="Fivestarly Lathong [Chillibreeze]" userId="479dc9aa-69ea-4a23-b6ea-3a9d26ac15ab" providerId="ADAL" clId="{013ED13C-6829-4378-A6EF-2B6A713739E1}" dt="2024-06-12T13:24:48.109" v="751" actId="14100"/>
          <ac:cxnSpMkLst>
            <pc:docMk/>
            <pc:sldMk cId="0" sldId="275"/>
            <ac:cxnSpMk id="6" creationId="{A5A8EDB9-FB03-0585-1CD5-DCCC4552B104}"/>
          </ac:cxnSpMkLst>
        </pc:cxnChg>
      </pc:sldChg>
      <pc:sldChg chg="addSp delSp modSp mod setBg chgLayout">
        <pc:chgData name="Fivestarly Lathong [Chillibreeze]" userId="479dc9aa-69ea-4a23-b6ea-3a9d26ac15ab" providerId="ADAL" clId="{013ED13C-6829-4378-A6EF-2B6A713739E1}" dt="2024-06-12T13:26:49.007" v="794" actId="14100"/>
        <pc:sldMkLst>
          <pc:docMk/>
          <pc:sldMk cId="0" sldId="276"/>
        </pc:sldMkLst>
        <pc:spChg chg="del mod">
          <ac:chgData name="Fivestarly Lathong [Chillibreeze]" userId="479dc9aa-69ea-4a23-b6ea-3a9d26ac15ab" providerId="ADAL" clId="{013ED13C-6829-4378-A6EF-2B6A713739E1}" dt="2024-06-12T13:25:51.562" v="773" actId="21"/>
          <ac:spMkLst>
            <pc:docMk/>
            <pc:sldMk cId="0" sldId="276"/>
            <ac:spMk id="2" creationId="{715B0ADC-E0F9-FB8F-8F14-19164AA1B6C8}"/>
          </ac:spMkLst>
        </pc:spChg>
        <pc:spChg chg="add mod ord">
          <ac:chgData name="Fivestarly Lathong [Chillibreeze]" userId="479dc9aa-69ea-4a23-b6ea-3a9d26ac15ab" providerId="ADAL" clId="{013ED13C-6829-4378-A6EF-2B6A713739E1}" dt="2024-06-12T13:26:23.920" v="783" actId="207"/>
          <ac:spMkLst>
            <pc:docMk/>
            <pc:sldMk cId="0" sldId="276"/>
            <ac:spMk id="4" creationId="{C7F9B15E-44C5-A562-327A-6536B3FC0001}"/>
          </ac:spMkLst>
        </pc:spChg>
        <pc:spChg chg="add mod ord">
          <ac:chgData name="Fivestarly Lathong [Chillibreeze]" userId="479dc9aa-69ea-4a23-b6ea-3a9d26ac15ab" providerId="ADAL" clId="{013ED13C-6829-4378-A6EF-2B6A713739E1}" dt="2024-06-12T13:26:13.621" v="779" actId="167"/>
          <ac:spMkLst>
            <pc:docMk/>
            <pc:sldMk cId="0" sldId="276"/>
            <ac:spMk id="7" creationId="{DF53BF93-474F-133E-7A87-92AFECB7ED4D}"/>
          </ac:spMkLst>
        </pc:spChg>
        <pc:spChg chg="add mod ord">
          <ac:chgData name="Fivestarly Lathong [Chillibreeze]" userId="479dc9aa-69ea-4a23-b6ea-3a9d26ac15ab" providerId="ADAL" clId="{013ED13C-6829-4378-A6EF-2B6A713739E1}" dt="2024-06-12T13:26:13.621" v="779" actId="167"/>
          <ac:spMkLst>
            <pc:docMk/>
            <pc:sldMk cId="0" sldId="276"/>
            <ac:spMk id="8" creationId="{904E082C-51B9-6085-A9B0-17CF735F0576}"/>
          </ac:spMkLst>
        </pc:spChg>
        <pc:spChg chg="add mod ord">
          <ac:chgData name="Fivestarly Lathong [Chillibreeze]" userId="479dc9aa-69ea-4a23-b6ea-3a9d26ac15ab" providerId="ADAL" clId="{013ED13C-6829-4378-A6EF-2B6A713739E1}" dt="2024-06-12T13:26:13.621" v="779" actId="167"/>
          <ac:spMkLst>
            <pc:docMk/>
            <pc:sldMk cId="0" sldId="276"/>
            <ac:spMk id="9" creationId="{34332113-B583-8258-8FB2-696456DA3AB6}"/>
          </ac:spMkLst>
        </pc:spChg>
        <pc:spChg chg="add mod ord">
          <ac:chgData name="Fivestarly Lathong [Chillibreeze]" userId="479dc9aa-69ea-4a23-b6ea-3a9d26ac15ab" providerId="ADAL" clId="{013ED13C-6829-4378-A6EF-2B6A713739E1}" dt="2024-06-12T13:26:13.621" v="779" actId="167"/>
          <ac:spMkLst>
            <pc:docMk/>
            <pc:sldMk cId="0" sldId="276"/>
            <ac:spMk id="10" creationId="{00B875F9-108D-22F6-9BAC-59A7C2630091}"/>
          </ac:spMkLst>
        </pc:spChg>
        <pc:spChg chg="add del mod">
          <ac:chgData name="Fivestarly Lathong [Chillibreeze]" userId="479dc9aa-69ea-4a23-b6ea-3a9d26ac15ab" providerId="ADAL" clId="{013ED13C-6829-4378-A6EF-2B6A713739E1}" dt="2024-06-12T13:26:20.576" v="781" actId="6264"/>
          <ac:spMkLst>
            <pc:docMk/>
            <pc:sldMk cId="0" sldId="276"/>
            <ac:spMk id="11" creationId="{FC6E9D5D-A7F5-F233-E486-DA661B34BEAE}"/>
          </ac:spMkLst>
        </pc:spChg>
        <pc:spChg chg="add mod">
          <ac:chgData name="Fivestarly Lathong [Chillibreeze]" userId="479dc9aa-69ea-4a23-b6ea-3a9d26ac15ab" providerId="ADAL" clId="{013ED13C-6829-4378-A6EF-2B6A713739E1}" dt="2024-06-12T13:26:33.398" v="784"/>
          <ac:spMkLst>
            <pc:docMk/>
            <pc:sldMk cId="0" sldId="276"/>
            <ac:spMk id="12" creationId="{5C449D43-D587-EB31-4A6B-364A75C7459A}"/>
          </ac:spMkLst>
        </pc:spChg>
        <pc:spChg chg="add mod">
          <ac:chgData name="Fivestarly Lathong [Chillibreeze]" userId="479dc9aa-69ea-4a23-b6ea-3a9d26ac15ab" providerId="ADAL" clId="{013ED13C-6829-4378-A6EF-2B6A713739E1}" dt="2024-06-12T13:26:33.398" v="784"/>
          <ac:spMkLst>
            <pc:docMk/>
            <pc:sldMk cId="0" sldId="276"/>
            <ac:spMk id="13" creationId="{4153321C-90F0-99CE-CFB4-4FC04C32B5A2}"/>
          </ac:spMkLst>
        </pc:spChg>
        <pc:spChg chg="add mod">
          <ac:chgData name="Fivestarly Lathong [Chillibreeze]" userId="479dc9aa-69ea-4a23-b6ea-3a9d26ac15ab" providerId="ADAL" clId="{013ED13C-6829-4378-A6EF-2B6A713739E1}" dt="2024-06-12T13:26:33.398" v="784"/>
          <ac:spMkLst>
            <pc:docMk/>
            <pc:sldMk cId="0" sldId="276"/>
            <ac:spMk id="14" creationId="{29A40878-E779-639F-8132-C94E0BA448B0}"/>
          </ac:spMkLst>
        </pc:spChg>
        <pc:spChg chg="add mod">
          <ac:chgData name="Fivestarly Lathong [Chillibreeze]" userId="479dc9aa-69ea-4a23-b6ea-3a9d26ac15ab" providerId="ADAL" clId="{013ED13C-6829-4378-A6EF-2B6A713739E1}" dt="2024-06-12T13:26:33.398" v="784"/>
          <ac:spMkLst>
            <pc:docMk/>
            <pc:sldMk cId="0" sldId="276"/>
            <ac:spMk id="15" creationId="{29E17049-4BDD-EB12-DB36-C9A5A8F72B8F}"/>
          </ac:spMkLst>
        </pc:spChg>
        <pc:spChg chg="add mod">
          <ac:chgData name="Fivestarly Lathong [Chillibreeze]" userId="479dc9aa-69ea-4a23-b6ea-3a9d26ac15ab" providerId="ADAL" clId="{013ED13C-6829-4378-A6EF-2B6A713739E1}" dt="2024-06-12T13:26:33.398" v="784"/>
          <ac:spMkLst>
            <pc:docMk/>
            <pc:sldMk cId="0" sldId="276"/>
            <ac:spMk id="16" creationId="{3E309927-5567-C8DE-0BCE-32AEA8058239}"/>
          </ac:spMkLst>
        </pc:spChg>
        <pc:spChg chg="add mod">
          <ac:chgData name="Fivestarly Lathong [Chillibreeze]" userId="479dc9aa-69ea-4a23-b6ea-3a9d26ac15ab" providerId="ADAL" clId="{013ED13C-6829-4378-A6EF-2B6A713739E1}" dt="2024-06-12T13:26:33.398" v="784"/>
          <ac:spMkLst>
            <pc:docMk/>
            <pc:sldMk cId="0" sldId="276"/>
            <ac:spMk id="17" creationId="{7E513BD0-CEE9-AC09-F330-4CDBD388F480}"/>
          </ac:spMkLst>
        </pc:spChg>
        <pc:spChg chg="add mod">
          <ac:chgData name="Fivestarly Lathong [Chillibreeze]" userId="479dc9aa-69ea-4a23-b6ea-3a9d26ac15ab" providerId="ADAL" clId="{013ED13C-6829-4378-A6EF-2B6A713739E1}" dt="2024-06-12T13:26:33.398" v="784"/>
          <ac:spMkLst>
            <pc:docMk/>
            <pc:sldMk cId="0" sldId="276"/>
            <ac:spMk id="18" creationId="{46C6BBF5-4F62-F610-2C89-ED593CEEFB17}"/>
          </ac:spMkLst>
        </pc:spChg>
        <pc:spChg chg="add mod">
          <ac:chgData name="Fivestarly Lathong [Chillibreeze]" userId="479dc9aa-69ea-4a23-b6ea-3a9d26ac15ab" providerId="ADAL" clId="{013ED13C-6829-4378-A6EF-2B6A713739E1}" dt="2024-06-12T13:26:33.398" v="784"/>
          <ac:spMkLst>
            <pc:docMk/>
            <pc:sldMk cId="0" sldId="276"/>
            <ac:spMk id="19" creationId="{66E95100-1056-72A3-D6AC-8E6595AA1170}"/>
          </ac:spMkLst>
        </pc:spChg>
        <pc:spChg chg="add mod">
          <ac:chgData name="Fivestarly Lathong [Chillibreeze]" userId="479dc9aa-69ea-4a23-b6ea-3a9d26ac15ab" providerId="ADAL" clId="{013ED13C-6829-4378-A6EF-2B6A713739E1}" dt="2024-06-12T13:26:33.398" v="784"/>
          <ac:spMkLst>
            <pc:docMk/>
            <pc:sldMk cId="0" sldId="276"/>
            <ac:spMk id="20" creationId="{569AB463-8A51-E760-DBF8-E72EB8FF90AF}"/>
          </ac:spMkLst>
        </pc:spChg>
        <pc:spChg chg="add mod">
          <ac:chgData name="Fivestarly Lathong [Chillibreeze]" userId="479dc9aa-69ea-4a23-b6ea-3a9d26ac15ab" providerId="ADAL" clId="{013ED13C-6829-4378-A6EF-2B6A713739E1}" dt="2024-06-12T13:26:37.965" v="787"/>
          <ac:spMkLst>
            <pc:docMk/>
            <pc:sldMk cId="0" sldId="276"/>
            <ac:spMk id="22" creationId="{FBAB4168-4C4B-6A45-D8B1-6296D8CC1A6D}"/>
          </ac:spMkLst>
        </pc:spChg>
        <pc:spChg chg="add mod">
          <ac:chgData name="Fivestarly Lathong [Chillibreeze]" userId="479dc9aa-69ea-4a23-b6ea-3a9d26ac15ab" providerId="ADAL" clId="{013ED13C-6829-4378-A6EF-2B6A713739E1}" dt="2024-06-12T13:26:42.189" v="790"/>
          <ac:spMkLst>
            <pc:docMk/>
            <pc:sldMk cId="0" sldId="276"/>
            <ac:spMk id="24" creationId="{68EF589D-2C6E-24C0-E153-D5A0FC28C9F6}"/>
          </ac:spMkLst>
        </pc:spChg>
        <pc:spChg chg="add mod">
          <ac:chgData name="Fivestarly Lathong [Chillibreeze]" userId="479dc9aa-69ea-4a23-b6ea-3a9d26ac15ab" providerId="ADAL" clId="{013ED13C-6829-4378-A6EF-2B6A713739E1}" dt="2024-06-12T13:26:49.007" v="794" actId="14100"/>
          <ac:spMkLst>
            <pc:docMk/>
            <pc:sldMk cId="0" sldId="276"/>
            <ac:spMk id="26" creationId="{1842809F-1918-3430-6A8A-78C0D5DCA954}"/>
          </ac:spMkLst>
        </pc:spChg>
        <pc:spChg chg="del">
          <ac:chgData name="Fivestarly Lathong [Chillibreeze]" userId="479dc9aa-69ea-4a23-b6ea-3a9d26ac15ab" providerId="ADAL" clId="{013ED13C-6829-4378-A6EF-2B6A713739E1}" dt="2024-06-12T13:25:52.765" v="774" actId="21"/>
          <ac:spMkLst>
            <pc:docMk/>
            <pc:sldMk cId="0" sldId="276"/>
            <ac:spMk id="4409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25:52.765" v="774" actId="21"/>
          <ac:spMkLst>
            <pc:docMk/>
            <pc:sldMk cId="0" sldId="276"/>
            <ac:spMk id="4410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25:52.765" v="774" actId="21"/>
          <ac:spMkLst>
            <pc:docMk/>
            <pc:sldMk cId="0" sldId="276"/>
            <ac:spMk id="4411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25:52.765" v="774" actId="21"/>
          <ac:spMkLst>
            <pc:docMk/>
            <pc:sldMk cId="0" sldId="276"/>
            <ac:spMk id="4412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25:52.765" v="774" actId="21"/>
          <ac:spMkLst>
            <pc:docMk/>
            <pc:sldMk cId="0" sldId="276"/>
            <ac:spMk id="4416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25:52.765" v="774" actId="21"/>
          <ac:spMkLst>
            <pc:docMk/>
            <pc:sldMk cId="0" sldId="276"/>
            <ac:spMk id="4420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25:52.765" v="774" actId="21"/>
          <ac:spMkLst>
            <pc:docMk/>
            <pc:sldMk cId="0" sldId="276"/>
            <ac:spMk id="4424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25:52.765" v="774" actId="21"/>
          <ac:spMkLst>
            <pc:docMk/>
            <pc:sldMk cId="0" sldId="276"/>
            <ac:spMk id="4425" creationId="{00000000-0000-0000-0000-000000000000}"/>
          </ac:spMkLst>
        </pc:spChg>
        <pc:grpChg chg="del">
          <ac:chgData name="Fivestarly Lathong [Chillibreeze]" userId="479dc9aa-69ea-4a23-b6ea-3a9d26ac15ab" providerId="ADAL" clId="{013ED13C-6829-4378-A6EF-2B6A713739E1}" dt="2024-06-12T13:25:52.765" v="774" actId="21"/>
          <ac:grpSpMkLst>
            <pc:docMk/>
            <pc:sldMk cId="0" sldId="276"/>
            <ac:grpSpMk id="4413" creationId="{00000000-0000-0000-0000-000000000000}"/>
          </ac:grpSpMkLst>
        </pc:grpChg>
        <pc:grpChg chg="del">
          <ac:chgData name="Fivestarly Lathong [Chillibreeze]" userId="479dc9aa-69ea-4a23-b6ea-3a9d26ac15ab" providerId="ADAL" clId="{013ED13C-6829-4378-A6EF-2B6A713739E1}" dt="2024-06-12T13:25:52.765" v="774" actId="21"/>
          <ac:grpSpMkLst>
            <pc:docMk/>
            <pc:sldMk cId="0" sldId="276"/>
            <ac:grpSpMk id="4417" creationId="{00000000-0000-0000-0000-000000000000}"/>
          </ac:grpSpMkLst>
        </pc:grpChg>
        <pc:grpChg chg="del">
          <ac:chgData name="Fivestarly Lathong [Chillibreeze]" userId="479dc9aa-69ea-4a23-b6ea-3a9d26ac15ab" providerId="ADAL" clId="{013ED13C-6829-4378-A6EF-2B6A713739E1}" dt="2024-06-12T13:25:52.765" v="774" actId="21"/>
          <ac:grpSpMkLst>
            <pc:docMk/>
            <pc:sldMk cId="0" sldId="276"/>
            <ac:grpSpMk id="4421" creationId="{00000000-0000-0000-0000-000000000000}"/>
          </ac:grpSpMkLst>
        </pc:grpChg>
        <pc:picChg chg="add mod ord">
          <ac:chgData name="Fivestarly Lathong [Chillibreeze]" userId="479dc9aa-69ea-4a23-b6ea-3a9d26ac15ab" providerId="ADAL" clId="{013ED13C-6829-4378-A6EF-2B6A713739E1}" dt="2024-06-12T13:26:13.621" v="779" actId="167"/>
          <ac:picMkLst>
            <pc:docMk/>
            <pc:sldMk cId="0" sldId="276"/>
            <ac:picMk id="5" creationId="{44574B03-A534-5C57-4B3E-E3AF333DA310}"/>
          </ac:picMkLst>
        </pc:picChg>
        <pc:picChg chg="add mod">
          <ac:chgData name="Fivestarly Lathong [Chillibreeze]" userId="479dc9aa-69ea-4a23-b6ea-3a9d26ac15ab" providerId="ADAL" clId="{013ED13C-6829-4378-A6EF-2B6A713739E1}" dt="2024-06-12T13:26:33.398" v="784"/>
          <ac:picMkLst>
            <pc:docMk/>
            <pc:sldMk cId="0" sldId="276"/>
            <ac:picMk id="21" creationId="{1AFFC0EE-416A-7B70-F81A-1CC83CC4CD0C}"/>
          </ac:picMkLst>
        </pc:picChg>
        <pc:picChg chg="add mod">
          <ac:chgData name="Fivestarly Lathong [Chillibreeze]" userId="479dc9aa-69ea-4a23-b6ea-3a9d26ac15ab" providerId="ADAL" clId="{013ED13C-6829-4378-A6EF-2B6A713739E1}" dt="2024-06-12T13:26:33.398" v="784"/>
          <ac:picMkLst>
            <pc:docMk/>
            <pc:sldMk cId="0" sldId="276"/>
            <ac:picMk id="23" creationId="{EA6399DE-1250-AE98-5F15-621D8E70D7F8}"/>
          </ac:picMkLst>
        </pc:picChg>
        <pc:picChg chg="add mod">
          <ac:chgData name="Fivestarly Lathong [Chillibreeze]" userId="479dc9aa-69ea-4a23-b6ea-3a9d26ac15ab" providerId="ADAL" clId="{013ED13C-6829-4378-A6EF-2B6A713739E1}" dt="2024-06-12T13:26:33.398" v="784"/>
          <ac:picMkLst>
            <pc:docMk/>
            <pc:sldMk cId="0" sldId="276"/>
            <ac:picMk id="25" creationId="{5214074B-7CB4-02EB-6026-BD61EB7283D9}"/>
          </ac:picMkLst>
        </pc:picChg>
        <pc:picChg chg="del">
          <ac:chgData name="Fivestarly Lathong [Chillibreeze]" userId="479dc9aa-69ea-4a23-b6ea-3a9d26ac15ab" providerId="ADAL" clId="{013ED13C-6829-4378-A6EF-2B6A713739E1}" dt="2024-06-12T13:25:52.765" v="774" actId="21"/>
          <ac:picMkLst>
            <pc:docMk/>
            <pc:sldMk cId="0" sldId="276"/>
            <ac:picMk id="4408" creationId="{00000000-0000-0000-0000-000000000000}"/>
          </ac:picMkLst>
        </pc:picChg>
        <pc:cxnChg chg="add mod ord">
          <ac:chgData name="Fivestarly Lathong [Chillibreeze]" userId="479dc9aa-69ea-4a23-b6ea-3a9d26ac15ab" providerId="ADAL" clId="{013ED13C-6829-4378-A6EF-2B6A713739E1}" dt="2024-06-12T13:26:13.621" v="779" actId="167"/>
          <ac:cxnSpMkLst>
            <pc:docMk/>
            <pc:sldMk cId="0" sldId="276"/>
            <ac:cxnSpMk id="6" creationId="{633B7389-C59B-A81D-B404-663B9A43AED0}"/>
          </ac:cxnSpMkLst>
        </pc:cxnChg>
      </pc:sldChg>
      <pc:sldChg chg="addSp delSp modSp mod setBg modClrScheme chgLayout">
        <pc:chgData name="Fivestarly Lathong [Chillibreeze]" userId="479dc9aa-69ea-4a23-b6ea-3a9d26ac15ab" providerId="ADAL" clId="{013ED13C-6829-4378-A6EF-2B6A713739E1}" dt="2024-06-12T13:28:27.643" v="828"/>
        <pc:sldMkLst>
          <pc:docMk/>
          <pc:sldMk cId="0" sldId="277"/>
        </pc:sldMkLst>
        <pc:spChg chg="del">
          <ac:chgData name="Fivestarly Lathong [Chillibreeze]" userId="479dc9aa-69ea-4a23-b6ea-3a9d26ac15ab" providerId="ADAL" clId="{013ED13C-6829-4378-A6EF-2B6A713739E1}" dt="2024-06-12T13:27:08.402" v="795" actId="478"/>
          <ac:spMkLst>
            <pc:docMk/>
            <pc:sldMk cId="0" sldId="277"/>
            <ac:spMk id="2" creationId="{CCE04058-2B9A-0F9D-5CAB-46FF70828B34}"/>
          </ac:spMkLst>
        </pc:spChg>
        <pc:spChg chg="add del mod ord">
          <ac:chgData name="Fivestarly Lathong [Chillibreeze]" userId="479dc9aa-69ea-4a23-b6ea-3a9d26ac15ab" providerId="ADAL" clId="{013ED13C-6829-4378-A6EF-2B6A713739E1}" dt="2024-06-12T13:27:21.657" v="800" actId="700"/>
          <ac:spMkLst>
            <pc:docMk/>
            <pc:sldMk cId="0" sldId="277"/>
            <ac:spMk id="4" creationId="{38F4F43E-45EF-919A-1F58-A6043F702083}"/>
          </ac:spMkLst>
        </pc:spChg>
        <pc:spChg chg="add mod">
          <ac:chgData name="Fivestarly Lathong [Chillibreeze]" userId="479dc9aa-69ea-4a23-b6ea-3a9d26ac15ab" providerId="ADAL" clId="{013ED13C-6829-4378-A6EF-2B6A713739E1}" dt="2024-06-12T13:27:18.645" v="799"/>
          <ac:spMkLst>
            <pc:docMk/>
            <pc:sldMk cId="0" sldId="277"/>
            <ac:spMk id="6" creationId="{B861A5BD-639E-228A-9CAE-04D32CE3BF00}"/>
          </ac:spMkLst>
        </pc:spChg>
        <pc:spChg chg="add mod">
          <ac:chgData name="Fivestarly Lathong [Chillibreeze]" userId="479dc9aa-69ea-4a23-b6ea-3a9d26ac15ab" providerId="ADAL" clId="{013ED13C-6829-4378-A6EF-2B6A713739E1}" dt="2024-06-12T13:27:18.645" v="799"/>
          <ac:spMkLst>
            <pc:docMk/>
            <pc:sldMk cId="0" sldId="277"/>
            <ac:spMk id="7" creationId="{645DEE91-4816-EB1A-3362-2C90B6D970A8}"/>
          </ac:spMkLst>
        </pc:spChg>
        <pc:spChg chg="add mod">
          <ac:chgData name="Fivestarly Lathong [Chillibreeze]" userId="479dc9aa-69ea-4a23-b6ea-3a9d26ac15ab" providerId="ADAL" clId="{013ED13C-6829-4378-A6EF-2B6A713739E1}" dt="2024-06-12T13:27:18.645" v="799"/>
          <ac:spMkLst>
            <pc:docMk/>
            <pc:sldMk cId="0" sldId="277"/>
            <ac:spMk id="8" creationId="{A760AA23-5E04-C20E-0A87-929B75FE7259}"/>
          </ac:spMkLst>
        </pc:spChg>
        <pc:spChg chg="add mod">
          <ac:chgData name="Fivestarly Lathong [Chillibreeze]" userId="479dc9aa-69ea-4a23-b6ea-3a9d26ac15ab" providerId="ADAL" clId="{013ED13C-6829-4378-A6EF-2B6A713739E1}" dt="2024-06-12T13:27:18.645" v="799"/>
          <ac:spMkLst>
            <pc:docMk/>
            <pc:sldMk cId="0" sldId="277"/>
            <ac:spMk id="9" creationId="{6A9A108F-4667-DAD9-51E9-FE9CE62E1AE1}"/>
          </ac:spMkLst>
        </pc:spChg>
        <pc:spChg chg="add mod">
          <ac:chgData name="Fivestarly Lathong [Chillibreeze]" userId="479dc9aa-69ea-4a23-b6ea-3a9d26ac15ab" providerId="ADAL" clId="{013ED13C-6829-4378-A6EF-2B6A713739E1}" dt="2024-06-12T13:27:18.645" v="799"/>
          <ac:spMkLst>
            <pc:docMk/>
            <pc:sldMk cId="0" sldId="277"/>
            <ac:spMk id="10" creationId="{6052D7E5-010B-DB2D-E00A-218E03BEB926}"/>
          </ac:spMkLst>
        </pc:spChg>
        <pc:spChg chg="add mod">
          <ac:chgData name="Fivestarly Lathong [Chillibreeze]" userId="479dc9aa-69ea-4a23-b6ea-3a9d26ac15ab" providerId="ADAL" clId="{013ED13C-6829-4378-A6EF-2B6A713739E1}" dt="2024-06-12T13:27:18.645" v="799"/>
          <ac:spMkLst>
            <pc:docMk/>
            <pc:sldMk cId="0" sldId="277"/>
            <ac:spMk id="11" creationId="{354C5E8E-5072-66DA-0CAD-8A4D3343841A}"/>
          </ac:spMkLst>
        </pc:spChg>
        <pc:spChg chg="add mod">
          <ac:chgData name="Fivestarly Lathong [Chillibreeze]" userId="479dc9aa-69ea-4a23-b6ea-3a9d26ac15ab" providerId="ADAL" clId="{013ED13C-6829-4378-A6EF-2B6A713739E1}" dt="2024-06-12T13:27:18.645" v="799"/>
          <ac:spMkLst>
            <pc:docMk/>
            <pc:sldMk cId="0" sldId="277"/>
            <ac:spMk id="12" creationId="{0C9CBEAD-E30A-29AD-393A-C834E00D97EA}"/>
          </ac:spMkLst>
        </pc:spChg>
        <pc:spChg chg="add mod">
          <ac:chgData name="Fivestarly Lathong [Chillibreeze]" userId="479dc9aa-69ea-4a23-b6ea-3a9d26ac15ab" providerId="ADAL" clId="{013ED13C-6829-4378-A6EF-2B6A713739E1}" dt="2024-06-12T13:27:18.645" v="799"/>
          <ac:spMkLst>
            <pc:docMk/>
            <pc:sldMk cId="0" sldId="277"/>
            <ac:spMk id="13" creationId="{7638B66D-A950-9427-28DD-F24B4BE0746D}"/>
          </ac:spMkLst>
        </pc:spChg>
        <pc:spChg chg="add mod">
          <ac:chgData name="Fivestarly Lathong [Chillibreeze]" userId="479dc9aa-69ea-4a23-b6ea-3a9d26ac15ab" providerId="ADAL" clId="{013ED13C-6829-4378-A6EF-2B6A713739E1}" dt="2024-06-12T13:28:24.086" v="825"/>
          <ac:spMkLst>
            <pc:docMk/>
            <pc:sldMk cId="0" sldId="277"/>
            <ac:spMk id="14" creationId="{781BF63E-CF33-079E-8E54-D4F660A1EEC9}"/>
          </ac:spMkLst>
        </pc:spChg>
        <pc:spChg chg="add mod">
          <ac:chgData name="Fivestarly Lathong [Chillibreeze]" userId="479dc9aa-69ea-4a23-b6ea-3a9d26ac15ab" providerId="ADAL" clId="{013ED13C-6829-4378-A6EF-2B6A713739E1}" dt="2024-06-12T13:28:27.643" v="828"/>
          <ac:spMkLst>
            <pc:docMk/>
            <pc:sldMk cId="0" sldId="277"/>
            <ac:spMk id="16" creationId="{05826B5A-A98F-BD71-67E6-D5B27276E087}"/>
          </ac:spMkLst>
        </pc:spChg>
        <pc:spChg chg="add mod ord">
          <ac:chgData name="Fivestarly Lathong [Chillibreeze]" userId="479dc9aa-69ea-4a23-b6ea-3a9d26ac15ab" providerId="ADAL" clId="{013ED13C-6829-4378-A6EF-2B6A713739E1}" dt="2024-06-12T13:27:45.822" v="813" actId="207"/>
          <ac:spMkLst>
            <pc:docMk/>
            <pc:sldMk cId="0" sldId="277"/>
            <ac:spMk id="17" creationId="{950068D5-9DB6-4F21-3024-3BF2D451E2B7}"/>
          </ac:spMkLst>
        </pc:spChg>
        <pc:spChg chg="add del mod">
          <ac:chgData name="Fivestarly Lathong [Chillibreeze]" userId="479dc9aa-69ea-4a23-b6ea-3a9d26ac15ab" providerId="ADAL" clId="{013ED13C-6829-4378-A6EF-2B6A713739E1}" dt="2024-06-12T13:27:30.907" v="802" actId="6264"/>
          <ac:spMkLst>
            <pc:docMk/>
            <pc:sldMk cId="0" sldId="277"/>
            <ac:spMk id="18" creationId="{4465E963-3BDD-4E8E-A0BC-CD20558153DB}"/>
          </ac:spMkLst>
        </pc:spChg>
        <pc:spChg chg="add del mod">
          <ac:chgData name="Fivestarly Lathong [Chillibreeze]" userId="479dc9aa-69ea-4a23-b6ea-3a9d26ac15ab" providerId="ADAL" clId="{013ED13C-6829-4378-A6EF-2B6A713739E1}" dt="2024-06-12T13:27:31.095" v="803" actId="6264"/>
          <ac:spMkLst>
            <pc:docMk/>
            <pc:sldMk cId="0" sldId="277"/>
            <ac:spMk id="19" creationId="{3420FA61-2998-2C0B-D780-7E14645E263A}"/>
          </ac:spMkLst>
        </pc:spChg>
        <pc:spChg chg="add del mod">
          <ac:chgData name="Fivestarly Lathong [Chillibreeze]" userId="479dc9aa-69ea-4a23-b6ea-3a9d26ac15ab" providerId="ADAL" clId="{013ED13C-6829-4378-A6EF-2B6A713739E1}" dt="2024-06-12T13:27:41.599" v="808" actId="6264"/>
          <ac:spMkLst>
            <pc:docMk/>
            <pc:sldMk cId="0" sldId="277"/>
            <ac:spMk id="20" creationId="{B44FAB3C-BE62-F9D6-D916-3E26F45E5566}"/>
          </ac:spMkLst>
        </pc:spChg>
        <pc:spChg chg="add del mod">
          <ac:chgData name="Fivestarly Lathong [Chillibreeze]" userId="479dc9aa-69ea-4a23-b6ea-3a9d26ac15ab" providerId="ADAL" clId="{013ED13C-6829-4378-A6EF-2B6A713739E1}" dt="2024-06-12T13:27:41.755" v="809" actId="6264"/>
          <ac:spMkLst>
            <pc:docMk/>
            <pc:sldMk cId="0" sldId="277"/>
            <ac:spMk id="21" creationId="{B5FA0E1E-1FC1-D8C6-1BCE-DD48765996CB}"/>
          </ac:spMkLst>
        </pc:spChg>
        <pc:spChg chg="add del mod">
          <ac:chgData name="Fivestarly Lathong [Chillibreeze]" userId="479dc9aa-69ea-4a23-b6ea-3a9d26ac15ab" providerId="ADAL" clId="{013ED13C-6829-4378-A6EF-2B6A713739E1}" dt="2024-06-12T13:27:41.912" v="810" actId="6264"/>
          <ac:spMkLst>
            <pc:docMk/>
            <pc:sldMk cId="0" sldId="277"/>
            <ac:spMk id="22" creationId="{DD6DA3FF-8D21-3A56-3F1E-64B90DBB172F}"/>
          </ac:spMkLst>
        </pc:spChg>
        <pc:spChg chg="add mod">
          <ac:chgData name="Fivestarly Lathong [Chillibreeze]" userId="479dc9aa-69ea-4a23-b6ea-3a9d26ac15ab" providerId="ADAL" clId="{013ED13C-6829-4378-A6EF-2B6A713739E1}" dt="2024-06-12T13:28:01.739" v="819"/>
          <ac:spMkLst>
            <pc:docMk/>
            <pc:sldMk cId="0" sldId="277"/>
            <ac:spMk id="24" creationId="{0BD52C36-FF14-F9B2-B2CC-D3D0981D9163}"/>
          </ac:spMkLst>
        </pc:spChg>
        <pc:spChg chg="add mod">
          <ac:chgData name="Fivestarly Lathong [Chillibreeze]" userId="479dc9aa-69ea-4a23-b6ea-3a9d26ac15ab" providerId="ADAL" clId="{013ED13C-6829-4378-A6EF-2B6A713739E1}" dt="2024-06-12T13:28:04.721" v="820" actId="1076"/>
          <ac:spMkLst>
            <pc:docMk/>
            <pc:sldMk cId="0" sldId="277"/>
            <ac:spMk id="25" creationId="{09928E93-73AE-39AA-A508-3C8E067E1876}"/>
          </ac:spMkLst>
        </pc:spChg>
        <pc:spChg chg="del">
          <ac:chgData name="Fivestarly Lathong [Chillibreeze]" userId="479dc9aa-69ea-4a23-b6ea-3a9d26ac15ab" providerId="ADAL" clId="{013ED13C-6829-4378-A6EF-2B6A713739E1}" dt="2024-06-12T13:27:12.222" v="796" actId="478"/>
          <ac:spMkLst>
            <pc:docMk/>
            <pc:sldMk cId="0" sldId="277"/>
            <ac:spMk id="4431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27:12.222" v="796" actId="478"/>
          <ac:spMkLst>
            <pc:docMk/>
            <pc:sldMk cId="0" sldId="277"/>
            <ac:spMk id="4432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27:12.222" v="796" actId="478"/>
          <ac:spMkLst>
            <pc:docMk/>
            <pc:sldMk cId="0" sldId="277"/>
            <ac:spMk id="4433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27:12.222" v="796" actId="478"/>
          <ac:spMkLst>
            <pc:docMk/>
            <pc:sldMk cId="0" sldId="277"/>
            <ac:spMk id="4437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27:12.222" v="796" actId="478"/>
          <ac:spMkLst>
            <pc:docMk/>
            <pc:sldMk cId="0" sldId="277"/>
            <ac:spMk id="4441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27:12.222" v="796" actId="478"/>
          <ac:spMkLst>
            <pc:docMk/>
            <pc:sldMk cId="0" sldId="277"/>
            <ac:spMk id="4442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27:12.222" v="796" actId="478"/>
          <ac:spMkLst>
            <pc:docMk/>
            <pc:sldMk cId="0" sldId="277"/>
            <ac:spMk id="4443" creationId="{00000000-0000-0000-0000-000000000000}"/>
          </ac:spMkLst>
        </pc:spChg>
        <pc:grpChg chg="del">
          <ac:chgData name="Fivestarly Lathong [Chillibreeze]" userId="479dc9aa-69ea-4a23-b6ea-3a9d26ac15ab" providerId="ADAL" clId="{013ED13C-6829-4378-A6EF-2B6A713739E1}" dt="2024-06-12T13:27:12.222" v="796" actId="478"/>
          <ac:grpSpMkLst>
            <pc:docMk/>
            <pc:sldMk cId="0" sldId="277"/>
            <ac:grpSpMk id="4434" creationId="{00000000-0000-0000-0000-000000000000}"/>
          </ac:grpSpMkLst>
        </pc:grpChg>
        <pc:grpChg chg="del">
          <ac:chgData name="Fivestarly Lathong [Chillibreeze]" userId="479dc9aa-69ea-4a23-b6ea-3a9d26ac15ab" providerId="ADAL" clId="{013ED13C-6829-4378-A6EF-2B6A713739E1}" dt="2024-06-12T13:27:12.222" v="796" actId="478"/>
          <ac:grpSpMkLst>
            <pc:docMk/>
            <pc:sldMk cId="0" sldId="277"/>
            <ac:grpSpMk id="4438" creationId="{00000000-0000-0000-0000-000000000000}"/>
          </ac:grpSpMkLst>
        </pc:grpChg>
        <pc:picChg chg="add mod">
          <ac:chgData name="Fivestarly Lathong [Chillibreeze]" userId="479dc9aa-69ea-4a23-b6ea-3a9d26ac15ab" providerId="ADAL" clId="{013ED13C-6829-4378-A6EF-2B6A713739E1}" dt="2024-06-12T13:27:18.645" v="799"/>
          <ac:picMkLst>
            <pc:docMk/>
            <pc:sldMk cId="0" sldId="277"/>
            <ac:picMk id="5" creationId="{CC02B274-611F-8A4D-D316-DFCFAC62EA22}"/>
          </ac:picMkLst>
        </pc:picChg>
        <pc:picChg chg="add mod">
          <ac:chgData name="Fivestarly Lathong [Chillibreeze]" userId="479dc9aa-69ea-4a23-b6ea-3a9d26ac15ab" providerId="ADAL" clId="{013ED13C-6829-4378-A6EF-2B6A713739E1}" dt="2024-06-12T13:27:18.645" v="799"/>
          <ac:picMkLst>
            <pc:docMk/>
            <pc:sldMk cId="0" sldId="277"/>
            <ac:picMk id="15" creationId="{6DA947FB-5A2E-313F-62E9-415A3E7C6472}"/>
          </ac:picMkLst>
        </pc:picChg>
        <pc:picChg chg="add mod">
          <ac:chgData name="Fivestarly Lathong [Chillibreeze]" userId="479dc9aa-69ea-4a23-b6ea-3a9d26ac15ab" providerId="ADAL" clId="{013ED13C-6829-4378-A6EF-2B6A713739E1}" dt="2024-06-12T13:28:15.795" v="822"/>
          <ac:picMkLst>
            <pc:docMk/>
            <pc:sldMk cId="0" sldId="277"/>
            <ac:picMk id="27" creationId="{625BBC65-285D-9F39-B16E-4C15E812E653}"/>
          </ac:picMkLst>
        </pc:picChg>
        <pc:picChg chg="del">
          <ac:chgData name="Fivestarly Lathong [Chillibreeze]" userId="479dc9aa-69ea-4a23-b6ea-3a9d26ac15ab" providerId="ADAL" clId="{013ED13C-6829-4378-A6EF-2B6A713739E1}" dt="2024-06-12T13:27:12.222" v="796" actId="478"/>
          <ac:picMkLst>
            <pc:docMk/>
            <pc:sldMk cId="0" sldId="277"/>
            <ac:picMk id="4430" creationId="{00000000-0000-0000-0000-000000000000}"/>
          </ac:picMkLst>
        </pc:picChg>
        <pc:cxnChg chg="add mod">
          <ac:chgData name="Fivestarly Lathong [Chillibreeze]" userId="479dc9aa-69ea-4a23-b6ea-3a9d26ac15ab" providerId="ADAL" clId="{013ED13C-6829-4378-A6EF-2B6A713739E1}" dt="2024-06-12T13:28:09.181" v="821" actId="14100"/>
          <ac:cxnSpMkLst>
            <pc:docMk/>
            <pc:sldMk cId="0" sldId="277"/>
            <ac:cxnSpMk id="23" creationId="{5C440E04-EE1D-6692-7146-A09574CE8A22}"/>
          </ac:cxnSpMkLst>
        </pc:cxnChg>
      </pc:sldChg>
      <pc:sldChg chg="addSp delSp modSp mod setBg modClrScheme chgLayout">
        <pc:chgData name="Fivestarly Lathong [Chillibreeze]" userId="479dc9aa-69ea-4a23-b6ea-3a9d26ac15ab" providerId="ADAL" clId="{013ED13C-6829-4378-A6EF-2B6A713739E1}" dt="2024-06-12T13:37:29.943" v="867"/>
        <pc:sldMkLst>
          <pc:docMk/>
          <pc:sldMk cId="0" sldId="278"/>
        </pc:sldMkLst>
        <pc:spChg chg="del mod">
          <ac:chgData name="Fivestarly Lathong [Chillibreeze]" userId="479dc9aa-69ea-4a23-b6ea-3a9d26ac15ab" providerId="ADAL" clId="{013ED13C-6829-4378-A6EF-2B6A713739E1}" dt="2024-06-12T13:28:37.976" v="830" actId="21"/>
          <ac:spMkLst>
            <pc:docMk/>
            <pc:sldMk cId="0" sldId="278"/>
            <ac:spMk id="2" creationId="{E4F1F96F-E7A2-6813-77E8-BFC511AEFA78}"/>
          </ac:spMkLst>
        </pc:spChg>
        <pc:spChg chg="add mod ord">
          <ac:chgData name="Fivestarly Lathong [Chillibreeze]" userId="479dc9aa-69ea-4a23-b6ea-3a9d26ac15ab" providerId="ADAL" clId="{013ED13C-6829-4378-A6EF-2B6A713739E1}" dt="2024-06-12T13:36:04.677" v="841" actId="207"/>
          <ac:spMkLst>
            <pc:docMk/>
            <pc:sldMk cId="0" sldId="278"/>
            <ac:spMk id="4" creationId="{2FE3D0E1-31F6-31BC-D206-6657EEECF963}"/>
          </ac:spMkLst>
        </pc:spChg>
        <pc:spChg chg="add del mod">
          <ac:chgData name="Fivestarly Lathong [Chillibreeze]" userId="479dc9aa-69ea-4a23-b6ea-3a9d26ac15ab" providerId="ADAL" clId="{013ED13C-6829-4378-A6EF-2B6A713739E1}" dt="2024-06-12T13:28:49.492" v="833" actId="6264"/>
          <ac:spMkLst>
            <pc:docMk/>
            <pc:sldMk cId="0" sldId="278"/>
            <ac:spMk id="5" creationId="{4EAE1A5E-DCC9-292C-6752-DFE37A4B0E05}"/>
          </ac:spMkLst>
        </pc:spChg>
        <pc:spChg chg="add del mod">
          <ac:chgData name="Fivestarly Lathong [Chillibreeze]" userId="479dc9aa-69ea-4a23-b6ea-3a9d26ac15ab" providerId="ADAL" clId="{013ED13C-6829-4378-A6EF-2B6A713739E1}" dt="2024-06-12T13:28:49.692" v="834" actId="6264"/>
          <ac:spMkLst>
            <pc:docMk/>
            <pc:sldMk cId="0" sldId="278"/>
            <ac:spMk id="6" creationId="{A88F6B49-BAA5-3ABE-1763-727B71334F1C}"/>
          </ac:spMkLst>
        </pc:spChg>
        <pc:spChg chg="add mod ord">
          <ac:chgData name="Fivestarly Lathong [Chillibreeze]" userId="479dc9aa-69ea-4a23-b6ea-3a9d26ac15ab" providerId="ADAL" clId="{013ED13C-6829-4378-A6EF-2B6A713739E1}" dt="2024-06-12T13:29:10.410" v="840" actId="167"/>
          <ac:spMkLst>
            <pc:docMk/>
            <pc:sldMk cId="0" sldId="278"/>
            <ac:spMk id="8" creationId="{90AEDA61-C20E-D49E-B0F6-6BB7317A6B36}"/>
          </ac:spMkLst>
        </pc:spChg>
        <pc:spChg chg="add mod ord">
          <ac:chgData name="Fivestarly Lathong [Chillibreeze]" userId="479dc9aa-69ea-4a23-b6ea-3a9d26ac15ab" providerId="ADAL" clId="{013ED13C-6829-4378-A6EF-2B6A713739E1}" dt="2024-06-12T13:29:10.410" v="840" actId="167"/>
          <ac:spMkLst>
            <pc:docMk/>
            <pc:sldMk cId="0" sldId="278"/>
            <ac:spMk id="9" creationId="{C906F526-8D3A-3240-704E-1DFA7EB79818}"/>
          </ac:spMkLst>
        </pc:spChg>
        <pc:spChg chg="add mod">
          <ac:chgData name="Fivestarly Lathong [Chillibreeze]" userId="479dc9aa-69ea-4a23-b6ea-3a9d26ac15ab" providerId="ADAL" clId="{013ED13C-6829-4378-A6EF-2B6A713739E1}" dt="2024-06-12T13:36:21.512" v="847"/>
          <ac:spMkLst>
            <pc:docMk/>
            <pc:sldMk cId="0" sldId="278"/>
            <ac:spMk id="11" creationId="{699F8EB4-35A9-53E1-9EA0-5728EECA4451}"/>
          </ac:spMkLst>
        </pc:spChg>
        <pc:spChg chg="add mod">
          <ac:chgData name="Fivestarly Lathong [Chillibreeze]" userId="479dc9aa-69ea-4a23-b6ea-3a9d26ac15ab" providerId="ADAL" clId="{013ED13C-6829-4378-A6EF-2B6A713739E1}" dt="2024-06-12T13:36:36.348" v="853" actId="1076"/>
          <ac:spMkLst>
            <pc:docMk/>
            <pc:sldMk cId="0" sldId="278"/>
            <ac:spMk id="12" creationId="{C3A9B2B6-A300-AC29-8E8F-B880372B04AB}"/>
          </ac:spMkLst>
        </pc:spChg>
        <pc:spChg chg="add mod">
          <ac:chgData name="Fivestarly Lathong [Chillibreeze]" userId="479dc9aa-69ea-4a23-b6ea-3a9d26ac15ab" providerId="ADAL" clId="{013ED13C-6829-4378-A6EF-2B6A713739E1}" dt="2024-06-12T13:37:00.520" v="857"/>
          <ac:spMkLst>
            <pc:docMk/>
            <pc:sldMk cId="0" sldId="278"/>
            <ac:spMk id="13" creationId="{A62ED95C-332F-765C-2C0D-01C769D69919}"/>
          </ac:spMkLst>
        </pc:spChg>
        <pc:spChg chg="add mod">
          <ac:chgData name="Fivestarly Lathong [Chillibreeze]" userId="479dc9aa-69ea-4a23-b6ea-3a9d26ac15ab" providerId="ADAL" clId="{013ED13C-6829-4378-A6EF-2B6A713739E1}" dt="2024-06-12T13:37:14.034" v="858"/>
          <ac:spMkLst>
            <pc:docMk/>
            <pc:sldMk cId="0" sldId="278"/>
            <ac:spMk id="16" creationId="{522BDD3F-55CB-DDDE-4C23-D127BA9B09AE}"/>
          </ac:spMkLst>
        </pc:spChg>
        <pc:spChg chg="add mod">
          <ac:chgData name="Fivestarly Lathong [Chillibreeze]" userId="479dc9aa-69ea-4a23-b6ea-3a9d26ac15ab" providerId="ADAL" clId="{013ED13C-6829-4378-A6EF-2B6A713739E1}" dt="2024-06-12T13:37:14.034" v="858"/>
          <ac:spMkLst>
            <pc:docMk/>
            <pc:sldMk cId="0" sldId="278"/>
            <ac:spMk id="17" creationId="{F3F07420-176D-BCFF-025E-7DA74C7BF648}"/>
          </ac:spMkLst>
        </pc:spChg>
        <pc:spChg chg="add mod">
          <ac:chgData name="Fivestarly Lathong [Chillibreeze]" userId="479dc9aa-69ea-4a23-b6ea-3a9d26ac15ab" providerId="ADAL" clId="{013ED13C-6829-4378-A6EF-2B6A713739E1}" dt="2024-06-12T13:37:14.034" v="858"/>
          <ac:spMkLst>
            <pc:docMk/>
            <pc:sldMk cId="0" sldId="278"/>
            <ac:spMk id="18" creationId="{09403BFB-C617-0A1A-B8AF-0B5E6C94470A}"/>
          </ac:spMkLst>
        </pc:spChg>
        <pc:spChg chg="add mod">
          <ac:chgData name="Fivestarly Lathong [Chillibreeze]" userId="479dc9aa-69ea-4a23-b6ea-3a9d26ac15ab" providerId="ADAL" clId="{013ED13C-6829-4378-A6EF-2B6A713739E1}" dt="2024-06-12T13:37:14.034" v="858"/>
          <ac:spMkLst>
            <pc:docMk/>
            <pc:sldMk cId="0" sldId="278"/>
            <ac:spMk id="19" creationId="{58FD851B-A115-3D5F-A8C6-9BE6E800D324}"/>
          </ac:spMkLst>
        </pc:spChg>
        <pc:spChg chg="add mod">
          <ac:chgData name="Fivestarly Lathong [Chillibreeze]" userId="479dc9aa-69ea-4a23-b6ea-3a9d26ac15ab" providerId="ADAL" clId="{013ED13C-6829-4378-A6EF-2B6A713739E1}" dt="2024-06-12T13:37:14.034" v="858"/>
          <ac:spMkLst>
            <pc:docMk/>
            <pc:sldMk cId="0" sldId="278"/>
            <ac:spMk id="20" creationId="{9A7A16D4-EAB5-89A0-7C5B-F253C2764867}"/>
          </ac:spMkLst>
        </pc:spChg>
        <pc:spChg chg="add mod">
          <ac:chgData name="Fivestarly Lathong [Chillibreeze]" userId="479dc9aa-69ea-4a23-b6ea-3a9d26ac15ab" providerId="ADAL" clId="{013ED13C-6829-4378-A6EF-2B6A713739E1}" dt="2024-06-12T13:37:14.034" v="858"/>
          <ac:spMkLst>
            <pc:docMk/>
            <pc:sldMk cId="0" sldId="278"/>
            <ac:spMk id="21" creationId="{D9AF2E45-EC27-2EBD-6C6A-AFA3D082D244}"/>
          </ac:spMkLst>
        </pc:spChg>
        <pc:spChg chg="add mod">
          <ac:chgData name="Fivestarly Lathong [Chillibreeze]" userId="479dc9aa-69ea-4a23-b6ea-3a9d26ac15ab" providerId="ADAL" clId="{013ED13C-6829-4378-A6EF-2B6A713739E1}" dt="2024-06-12T13:37:14.034" v="858"/>
          <ac:spMkLst>
            <pc:docMk/>
            <pc:sldMk cId="0" sldId="278"/>
            <ac:spMk id="22" creationId="{5EDE2539-D904-E6E2-5CA9-4CC581509D2B}"/>
          </ac:spMkLst>
        </pc:spChg>
        <pc:spChg chg="add mod">
          <ac:chgData name="Fivestarly Lathong [Chillibreeze]" userId="479dc9aa-69ea-4a23-b6ea-3a9d26ac15ab" providerId="ADAL" clId="{013ED13C-6829-4378-A6EF-2B6A713739E1}" dt="2024-06-12T13:37:14.034" v="858"/>
          <ac:spMkLst>
            <pc:docMk/>
            <pc:sldMk cId="0" sldId="278"/>
            <ac:spMk id="23" creationId="{FFD5B6AD-F391-89F3-D557-204D1BC2FC9F}"/>
          </ac:spMkLst>
        </pc:spChg>
        <pc:spChg chg="add mod">
          <ac:chgData name="Fivestarly Lathong [Chillibreeze]" userId="479dc9aa-69ea-4a23-b6ea-3a9d26ac15ab" providerId="ADAL" clId="{013ED13C-6829-4378-A6EF-2B6A713739E1}" dt="2024-06-12T13:37:14.034" v="858"/>
          <ac:spMkLst>
            <pc:docMk/>
            <pc:sldMk cId="0" sldId="278"/>
            <ac:spMk id="24" creationId="{BD49E534-9055-9A49-235A-59F94C777584}"/>
          </ac:spMkLst>
        </pc:spChg>
        <pc:spChg chg="add mod">
          <ac:chgData name="Fivestarly Lathong [Chillibreeze]" userId="479dc9aa-69ea-4a23-b6ea-3a9d26ac15ab" providerId="ADAL" clId="{013ED13C-6829-4378-A6EF-2B6A713739E1}" dt="2024-06-12T13:37:19.481" v="861"/>
          <ac:spMkLst>
            <pc:docMk/>
            <pc:sldMk cId="0" sldId="278"/>
            <ac:spMk id="26" creationId="{C3374202-9B4F-CD99-DD58-4EA62F0417C2}"/>
          </ac:spMkLst>
        </pc:spChg>
        <pc:spChg chg="add mod">
          <ac:chgData name="Fivestarly Lathong [Chillibreeze]" userId="479dc9aa-69ea-4a23-b6ea-3a9d26ac15ab" providerId="ADAL" clId="{013ED13C-6829-4378-A6EF-2B6A713739E1}" dt="2024-06-12T13:37:25.770" v="864"/>
          <ac:spMkLst>
            <pc:docMk/>
            <pc:sldMk cId="0" sldId="278"/>
            <ac:spMk id="28" creationId="{BB489264-1C98-8803-7188-C4BA92BCCC8E}"/>
          </ac:spMkLst>
        </pc:spChg>
        <pc:spChg chg="add mod">
          <ac:chgData name="Fivestarly Lathong [Chillibreeze]" userId="479dc9aa-69ea-4a23-b6ea-3a9d26ac15ab" providerId="ADAL" clId="{013ED13C-6829-4378-A6EF-2B6A713739E1}" dt="2024-06-12T13:37:29.943" v="867"/>
          <ac:spMkLst>
            <pc:docMk/>
            <pc:sldMk cId="0" sldId="278"/>
            <ac:spMk id="30" creationId="{F87BE75B-FB1B-0C0D-D808-026115DE94B5}"/>
          </ac:spMkLst>
        </pc:spChg>
        <pc:spChg chg="del">
          <ac:chgData name="Fivestarly Lathong [Chillibreeze]" userId="479dc9aa-69ea-4a23-b6ea-3a9d26ac15ab" providerId="ADAL" clId="{013ED13C-6829-4378-A6EF-2B6A713739E1}" dt="2024-06-12T13:28:38.988" v="831" actId="21"/>
          <ac:spMkLst>
            <pc:docMk/>
            <pc:sldMk cId="0" sldId="278"/>
            <ac:spMk id="4449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28:38.988" v="831" actId="21"/>
          <ac:spMkLst>
            <pc:docMk/>
            <pc:sldMk cId="0" sldId="278"/>
            <ac:spMk id="4450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28:38.988" v="831" actId="21"/>
          <ac:spMkLst>
            <pc:docMk/>
            <pc:sldMk cId="0" sldId="278"/>
            <ac:spMk id="4451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28:38.988" v="831" actId="21"/>
          <ac:spMkLst>
            <pc:docMk/>
            <pc:sldMk cId="0" sldId="278"/>
            <ac:spMk id="4452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28:38.988" v="831" actId="21"/>
          <ac:spMkLst>
            <pc:docMk/>
            <pc:sldMk cId="0" sldId="278"/>
            <ac:spMk id="4456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28:38.988" v="831" actId="21"/>
          <ac:spMkLst>
            <pc:docMk/>
            <pc:sldMk cId="0" sldId="278"/>
            <ac:spMk id="4460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28:38.988" v="831" actId="21"/>
          <ac:spMkLst>
            <pc:docMk/>
            <pc:sldMk cId="0" sldId="278"/>
            <ac:spMk id="4464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28:38.988" v="831" actId="21"/>
          <ac:spMkLst>
            <pc:docMk/>
            <pc:sldMk cId="0" sldId="278"/>
            <ac:spMk id="4465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28:38.988" v="831" actId="21"/>
          <ac:spMkLst>
            <pc:docMk/>
            <pc:sldMk cId="0" sldId="278"/>
            <ac:spMk id="4466" creationId="{00000000-0000-0000-0000-000000000000}"/>
          </ac:spMkLst>
        </pc:spChg>
        <pc:grpChg chg="del">
          <ac:chgData name="Fivestarly Lathong [Chillibreeze]" userId="479dc9aa-69ea-4a23-b6ea-3a9d26ac15ab" providerId="ADAL" clId="{013ED13C-6829-4378-A6EF-2B6A713739E1}" dt="2024-06-12T13:28:38.988" v="831" actId="21"/>
          <ac:grpSpMkLst>
            <pc:docMk/>
            <pc:sldMk cId="0" sldId="278"/>
            <ac:grpSpMk id="4453" creationId="{00000000-0000-0000-0000-000000000000}"/>
          </ac:grpSpMkLst>
        </pc:grpChg>
        <pc:grpChg chg="del">
          <ac:chgData name="Fivestarly Lathong [Chillibreeze]" userId="479dc9aa-69ea-4a23-b6ea-3a9d26ac15ab" providerId="ADAL" clId="{013ED13C-6829-4378-A6EF-2B6A713739E1}" dt="2024-06-12T13:28:38.988" v="831" actId="21"/>
          <ac:grpSpMkLst>
            <pc:docMk/>
            <pc:sldMk cId="0" sldId="278"/>
            <ac:grpSpMk id="4457" creationId="{00000000-0000-0000-0000-000000000000}"/>
          </ac:grpSpMkLst>
        </pc:grpChg>
        <pc:grpChg chg="del">
          <ac:chgData name="Fivestarly Lathong [Chillibreeze]" userId="479dc9aa-69ea-4a23-b6ea-3a9d26ac15ab" providerId="ADAL" clId="{013ED13C-6829-4378-A6EF-2B6A713739E1}" dt="2024-06-12T13:28:38.988" v="831" actId="21"/>
          <ac:grpSpMkLst>
            <pc:docMk/>
            <pc:sldMk cId="0" sldId="278"/>
            <ac:grpSpMk id="4461" creationId="{00000000-0000-0000-0000-000000000000}"/>
          </ac:grpSpMkLst>
        </pc:grpChg>
        <pc:picChg chg="add mod ord">
          <ac:chgData name="Fivestarly Lathong [Chillibreeze]" userId="479dc9aa-69ea-4a23-b6ea-3a9d26ac15ab" providerId="ADAL" clId="{013ED13C-6829-4378-A6EF-2B6A713739E1}" dt="2024-06-12T13:29:10.410" v="840" actId="167"/>
          <ac:picMkLst>
            <pc:docMk/>
            <pc:sldMk cId="0" sldId="278"/>
            <ac:picMk id="7" creationId="{5AE0E102-371E-E9AB-99D8-3DB4AF44BE0D}"/>
          </ac:picMkLst>
        </pc:picChg>
        <pc:picChg chg="add mod">
          <ac:chgData name="Fivestarly Lathong [Chillibreeze]" userId="479dc9aa-69ea-4a23-b6ea-3a9d26ac15ab" providerId="ADAL" clId="{013ED13C-6829-4378-A6EF-2B6A713739E1}" dt="2024-06-12T13:37:14.034" v="858"/>
          <ac:picMkLst>
            <pc:docMk/>
            <pc:sldMk cId="0" sldId="278"/>
            <ac:picMk id="25" creationId="{8F170A2B-CE6B-1642-1E61-D9E8A6B79C29}"/>
          </ac:picMkLst>
        </pc:picChg>
        <pc:picChg chg="add mod">
          <ac:chgData name="Fivestarly Lathong [Chillibreeze]" userId="479dc9aa-69ea-4a23-b6ea-3a9d26ac15ab" providerId="ADAL" clId="{013ED13C-6829-4378-A6EF-2B6A713739E1}" dt="2024-06-12T13:37:14.034" v="858"/>
          <ac:picMkLst>
            <pc:docMk/>
            <pc:sldMk cId="0" sldId="278"/>
            <ac:picMk id="27" creationId="{17ECFC45-90A4-6916-96FD-D3A10EB27C42}"/>
          </ac:picMkLst>
        </pc:picChg>
        <pc:picChg chg="add mod">
          <ac:chgData name="Fivestarly Lathong [Chillibreeze]" userId="479dc9aa-69ea-4a23-b6ea-3a9d26ac15ab" providerId="ADAL" clId="{013ED13C-6829-4378-A6EF-2B6A713739E1}" dt="2024-06-12T13:37:14.034" v="858"/>
          <ac:picMkLst>
            <pc:docMk/>
            <pc:sldMk cId="0" sldId="278"/>
            <ac:picMk id="29" creationId="{139CC9BB-0693-116F-66FC-394AE6ABCD37}"/>
          </ac:picMkLst>
        </pc:picChg>
        <pc:picChg chg="del">
          <ac:chgData name="Fivestarly Lathong [Chillibreeze]" userId="479dc9aa-69ea-4a23-b6ea-3a9d26ac15ab" providerId="ADAL" clId="{013ED13C-6829-4378-A6EF-2B6A713739E1}" dt="2024-06-12T13:28:38.988" v="831" actId="21"/>
          <ac:picMkLst>
            <pc:docMk/>
            <pc:sldMk cId="0" sldId="278"/>
            <ac:picMk id="4448" creationId="{00000000-0000-0000-0000-000000000000}"/>
          </ac:picMkLst>
        </pc:picChg>
        <pc:cxnChg chg="add mod">
          <ac:chgData name="Fivestarly Lathong [Chillibreeze]" userId="479dc9aa-69ea-4a23-b6ea-3a9d26ac15ab" providerId="ADAL" clId="{013ED13C-6829-4378-A6EF-2B6A713739E1}" dt="2024-06-12T13:36:42.984" v="855" actId="14100"/>
          <ac:cxnSpMkLst>
            <pc:docMk/>
            <pc:sldMk cId="0" sldId="278"/>
            <ac:cxnSpMk id="10" creationId="{748977C0-5D11-851A-2289-29897ED8F395}"/>
          </ac:cxnSpMkLst>
        </pc:cxnChg>
      </pc:sldChg>
      <pc:sldChg chg="addSp delSp modSp mod setBg chgLayout">
        <pc:chgData name="Fivestarly Lathong [Chillibreeze]" userId="479dc9aa-69ea-4a23-b6ea-3a9d26ac15ab" providerId="ADAL" clId="{013ED13C-6829-4378-A6EF-2B6A713739E1}" dt="2024-06-12T13:40:55.681" v="914" actId="167"/>
        <pc:sldMkLst>
          <pc:docMk/>
          <pc:sldMk cId="0" sldId="279"/>
        </pc:sldMkLst>
        <pc:spChg chg="del">
          <ac:chgData name="Fivestarly Lathong [Chillibreeze]" userId="479dc9aa-69ea-4a23-b6ea-3a9d26ac15ab" providerId="ADAL" clId="{013ED13C-6829-4378-A6EF-2B6A713739E1}" dt="2024-06-12T13:37:49.312" v="868" actId="478"/>
          <ac:spMkLst>
            <pc:docMk/>
            <pc:sldMk cId="0" sldId="279"/>
            <ac:spMk id="2" creationId="{1FE2944C-AFA8-EFB4-914A-E7022225D27B}"/>
          </ac:spMkLst>
        </pc:spChg>
        <pc:spChg chg="add mod ord">
          <ac:chgData name="Fivestarly Lathong [Chillibreeze]" userId="479dc9aa-69ea-4a23-b6ea-3a9d26ac15ab" providerId="ADAL" clId="{013ED13C-6829-4378-A6EF-2B6A713739E1}" dt="2024-06-12T13:38:41.637" v="888" actId="20577"/>
          <ac:spMkLst>
            <pc:docMk/>
            <pc:sldMk cId="0" sldId="279"/>
            <ac:spMk id="4" creationId="{6F6A15FE-3F16-1D22-FA13-DBCAF1364F21}"/>
          </ac:spMkLst>
        </pc:spChg>
        <pc:spChg chg="add mod">
          <ac:chgData name="Fivestarly Lathong [Chillibreeze]" userId="479dc9aa-69ea-4a23-b6ea-3a9d26ac15ab" providerId="ADAL" clId="{013ED13C-6829-4378-A6EF-2B6A713739E1}" dt="2024-06-12T13:37:55.262" v="871"/>
          <ac:spMkLst>
            <pc:docMk/>
            <pc:sldMk cId="0" sldId="279"/>
            <ac:spMk id="5" creationId="{498E8562-8991-68AB-3867-B85FEECDE04E}"/>
          </ac:spMkLst>
        </pc:spChg>
        <pc:spChg chg="add mod">
          <ac:chgData name="Fivestarly Lathong [Chillibreeze]" userId="479dc9aa-69ea-4a23-b6ea-3a9d26ac15ab" providerId="ADAL" clId="{013ED13C-6829-4378-A6EF-2B6A713739E1}" dt="2024-06-12T13:37:55.262" v="871"/>
          <ac:spMkLst>
            <pc:docMk/>
            <pc:sldMk cId="0" sldId="279"/>
            <ac:spMk id="6" creationId="{C31AFF92-9183-5120-8A06-D2F5DD0A9970}"/>
          </ac:spMkLst>
        </pc:spChg>
        <pc:spChg chg="add mod">
          <ac:chgData name="Fivestarly Lathong [Chillibreeze]" userId="479dc9aa-69ea-4a23-b6ea-3a9d26ac15ab" providerId="ADAL" clId="{013ED13C-6829-4378-A6EF-2B6A713739E1}" dt="2024-06-12T13:37:55.262" v="871"/>
          <ac:spMkLst>
            <pc:docMk/>
            <pc:sldMk cId="0" sldId="279"/>
            <ac:spMk id="7" creationId="{E543F595-4293-E243-C8B8-8CDFDC7A622C}"/>
          </ac:spMkLst>
        </pc:spChg>
        <pc:spChg chg="add mod">
          <ac:chgData name="Fivestarly Lathong [Chillibreeze]" userId="479dc9aa-69ea-4a23-b6ea-3a9d26ac15ab" providerId="ADAL" clId="{013ED13C-6829-4378-A6EF-2B6A713739E1}" dt="2024-06-12T13:37:55.262" v="871"/>
          <ac:spMkLst>
            <pc:docMk/>
            <pc:sldMk cId="0" sldId="279"/>
            <ac:spMk id="8" creationId="{75DF8216-6BAB-084E-19B9-31FBFBC324C3}"/>
          </ac:spMkLst>
        </pc:spChg>
        <pc:spChg chg="add mod">
          <ac:chgData name="Fivestarly Lathong [Chillibreeze]" userId="479dc9aa-69ea-4a23-b6ea-3a9d26ac15ab" providerId="ADAL" clId="{013ED13C-6829-4378-A6EF-2B6A713739E1}" dt="2024-06-12T13:37:55.262" v="871"/>
          <ac:spMkLst>
            <pc:docMk/>
            <pc:sldMk cId="0" sldId="279"/>
            <ac:spMk id="9" creationId="{DCA408E6-5390-9994-4219-DDF8DAE4A691}"/>
          </ac:spMkLst>
        </pc:spChg>
        <pc:spChg chg="add mod">
          <ac:chgData name="Fivestarly Lathong [Chillibreeze]" userId="479dc9aa-69ea-4a23-b6ea-3a9d26ac15ab" providerId="ADAL" clId="{013ED13C-6829-4378-A6EF-2B6A713739E1}" dt="2024-06-12T13:37:55.262" v="871"/>
          <ac:spMkLst>
            <pc:docMk/>
            <pc:sldMk cId="0" sldId="279"/>
            <ac:spMk id="10" creationId="{35AF3AE9-FCCB-DE2A-2B14-B32640110957}"/>
          </ac:spMkLst>
        </pc:spChg>
        <pc:spChg chg="add mod">
          <ac:chgData name="Fivestarly Lathong [Chillibreeze]" userId="479dc9aa-69ea-4a23-b6ea-3a9d26ac15ab" providerId="ADAL" clId="{013ED13C-6829-4378-A6EF-2B6A713739E1}" dt="2024-06-12T13:38:47.158" v="891"/>
          <ac:spMkLst>
            <pc:docMk/>
            <pc:sldMk cId="0" sldId="279"/>
            <ac:spMk id="11" creationId="{5F30AD36-39A6-7CA3-6CCA-36B1D15C3F5C}"/>
          </ac:spMkLst>
        </pc:spChg>
        <pc:spChg chg="add mod">
          <ac:chgData name="Fivestarly Lathong [Chillibreeze]" userId="479dc9aa-69ea-4a23-b6ea-3a9d26ac15ab" providerId="ADAL" clId="{013ED13C-6829-4378-A6EF-2B6A713739E1}" dt="2024-06-12T13:38:51.714" v="894"/>
          <ac:spMkLst>
            <pc:docMk/>
            <pc:sldMk cId="0" sldId="279"/>
            <ac:spMk id="13" creationId="{F2923114-4D1A-641E-BBEE-E21704252055}"/>
          </ac:spMkLst>
        </pc:spChg>
        <pc:spChg chg="add mod ord">
          <ac:chgData name="Fivestarly Lathong [Chillibreeze]" userId="479dc9aa-69ea-4a23-b6ea-3a9d26ac15ab" providerId="ADAL" clId="{013ED13C-6829-4378-A6EF-2B6A713739E1}" dt="2024-06-12T13:40:55.681" v="914" actId="167"/>
          <ac:spMkLst>
            <pc:docMk/>
            <pc:sldMk cId="0" sldId="279"/>
            <ac:spMk id="16" creationId="{F65C7752-18D3-A4DA-FFF7-EE036B7488F6}"/>
          </ac:spMkLst>
        </pc:spChg>
        <pc:spChg chg="add mod ord">
          <ac:chgData name="Fivestarly Lathong [Chillibreeze]" userId="479dc9aa-69ea-4a23-b6ea-3a9d26ac15ab" providerId="ADAL" clId="{013ED13C-6829-4378-A6EF-2B6A713739E1}" dt="2024-06-12T13:40:55.681" v="914" actId="167"/>
          <ac:spMkLst>
            <pc:docMk/>
            <pc:sldMk cId="0" sldId="279"/>
            <ac:spMk id="17" creationId="{7752F4CF-27B6-E289-EA1E-1C973954187D}"/>
          </ac:spMkLst>
        </pc:spChg>
        <pc:spChg chg="add mod ord">
          <ac:chgData name="Fivestarly Lathong [Chillibreeze]" userId="479dc9aa-69ea-4a23-b6ea-3a9d26ac15ab" providerId="ADAL" clId="{013ED13C-6829-4378-A6EF-2B6A713739E1}" dt="2024-06-12T13:38:15.374" v="878"/>
          <ac:spMkLst>
            <pc:docMk/>
            <pc:sldMk cId="0" sldId="279"/>
            <ac:spMk id="19" creationId="{BB460927-46F0-A332-09DE-C40E6F5463DA}"/>
          </ac:spMkLst>
        </pc:spChg>
        <pc:spChg chg="add mod ord">
          <ac:chgData name="Fivestarly Lathong [Chillibreeze]" userId="479dc9aa-69ea-4a23-b6ea-3a9d26ac15ab" providerId="ADAL" clId="{013ED13C-6829-4378-A6EF-2B6A713739E1}" dt="2024-06-12T13:38:19.008" v="879" actId="1076"/>
          <ac:spMkLst>
            <pc:docMk/>
            <pc:sldMk cId="0" sldId="279"/>
            <ac:spMk id="20" creationId="{E917C5E0-FA04-EDB9-D376-81E57F1E6F4F}"/>
          </ac:spMkLst>
        </pc:spChg>
        <pc:spChg chg="add mod ord">
          <ac:chgData name="Fivestarly Lathong [Chillibreeze]" userId="479dc9aa-69ea-4a23-b6ea-3a9d26ac15ab" providerId="ADAL" clId="{013ED13C-6829-4378-A6EF-2B6A713739E1}" dt="2024-06-12T13:38:19.008" v="879" actId="1076"/>
          <ac:spMkLst>
            <pc:docMk/>
            <pc:sldMk cId="0" sldId="279"/>
            <ac:spMk id="21" creationId="{46FA337C-8F42-0F6E-4BC6-1659607EE928}"/>
          </ac:spMkLst>
        </pc:spChg>
        <pc:spChg chg="add del mod">
          <ac:chgData name="Fivestarly Lathong [Chillibreeze]" userId="479dc9aa-69ea-4a23-b6ea-3a9d26ac15ab" providerId="ADAL" clId="{013ED13C-6829-4378-A6EF-2B6A713739E1}" dt="2024-06-12T13:38:32.906" v="882" actId="6264"/>
          <ac:spMkLst>
            <pc:docMk/>
            <pc:sldMk cId="0" sldId="279"/>
            <ac:spMk id="24" creationId="{4F121033-AD6F-602E-F50A-F7ADB82D470F}"/>
          </ac:spMkLst>
        </pc:spChg>
        <pc:spChg chg="add del mod">
          <ac:chgData name="Fivestarly Lathong [Chillibreeze]" userId="479dc9aa-69ea-4a23-b6ea-3a9d26ac15ab" providerId="ADAL" clId="{013ED13C-6829-4378-A6EF-2B6A713739E1}" dt="2024-06-12T13:38:38.055" v="885" actId="6264"/>
          <ac:spMkLst>
            <pc:docMk/>
            <pc:sldMk cId="0" sldId="279"/>
            <ac:spMk id="25" creationId="{15B17431-562F-4D7F-5F6D-0CA224AF3AAB}"/>
          </ac:spMkLst>
        </pc:spChg>
        <pc:spChg chg="add del mod">
          <ac:chgData name="Fivestarly Lathong [Chillibreeze]" userId="479dc9aa-69ea-4a23-b6ea-3a9d26ac15ab" providerId="ADAL" clId="{013ED13C-6829-4378-A6EF-2B6A713739E1}" dt="2024-06-12T13:38:38.227" v="886" actId="6264"/>
          <ac:spMkLst>
            <pc:docMk/>
            <pc:sldMk cId="0" sldId="279"/>
            <ac:spMk id="26" creationId="{E86DB961-4225-E96C-4E42-387141ED9A27}"/>
          </ac:spMkLst>
        </pc:spChg>
        <pc:spChg chg="del">
          <ac:chgData name="Fivestarly Lathong [Chillibreeze]" userId="479dc9aa-69ea-4a23-b6ea-3a9d26ac15ab" providerId="ADAL" clId="{013ED13C-6829-4378-A6EF-2B6A713739E1}" dt="2024-06-12T13:37:49.312" v="868" actId="478"/>
          <ac:spMkLst>
            <pc:docMk/>
            <pc:sldMk cId="0" sldId="279"/>
            <ac:spMk id="4471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37:49.312" v="868" actId="478"/>
          <ac:spMkLst>
            <pc:docMk/>
            <pc:sldMk cId="0" sldId="279"/>
            <ac:spMk id="4472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37:49.312" v="868" actId="478"/>
          <ac:spMkLst>
            <pc:docMk/>
            <pc:sldMk cId="0" sldId="279"/>
            <ac:spMk id="4473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37:49.312" v="868" actId="478"/>
          <ac:spMkLst>
            <pc:docMk/>
            <pc:sldMk cId="0" sldId="279"/>
            <ac:spMk id="4477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37:49.312" v="868" actId="478"/>
          <ac:spMkLst>
            <pc:docMk/>
            <pc:sldMk cId="0" sldId="279"/>
            <ac:spMk id="4481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37:49.312" v="868" actId="478"/>
          <ac:spMkLst>
            <pc:docMk/>
            <pc:sldMk cId="0" sldId="279"/>
            <ac:spMk id="4482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37:49.312" v="868" actId="478"/>
          <ac:spMkLst>
            <pc:docMk/>
            <pc:sldMk cId="0" sldId="279"/>
            <ac:spMk id="4483" creationId="{00000000-0000-0000-0000-000000000000}"/>
          </ac:spMkLst>
        </pc:spChg>
        <pc:grpChg chg="del">
          <ac:chgData name="Fivestarly Lathong [Chillibreeze]" userId="479dc9aa-69ea-4a23-b6ea-3a9d26ac15ab" providerId="ADAL" clId="{013ED13C-6829-4378-A6EF-2B6A713739E1}" dt="2024-06-12T13:37:49.312" v="868" actId="478"/>
          <ac:grpSpMkLst>
            <pc:docMk/>
            <pc:sldMk cId="0" sldId="279"/>
            <ac:grpSpMk id="4474" creationId="{00000000-0000-0000-0000-000000000000}"/>
          </ac:grpSpMkLst>
        </pc:grpChg>
        <pc:grpChg chg="del">
          <ac:chgData name="Fivestarly Lathong [Chillibreeze]" userId="479dc9aa-69ea-4a23-b6ea-3a9d26ac15ab" providerId="ADAL" clId="{013ED13C-6829-4378-A6EF-2B6A713739E1}" dt="2024-06-12T13:37:49.312" v="868" actId="478"/>
          <ac:grpSpMkLst>
            <pc:docMk/>
            <pc:sldMk cId="0" sldId="279"/>
            <ac:grpSpMk id="4478" creationId="{00000000-0000-0000-0000-000000000000}"/>
          </ac:grpSpMkLst>
        </pc:grpChg>
        <pc:picChg chg="add mod">
          <ac:chgData name="Fivestarly Lathong [Chillibreeze]" userId="479dc9aa-69ea-4a23-b6ea-3a9d26ac15ab" providerId="ADAL" clId="{013ED13C-6829-4378-A6EF-2B6A713739E1}" dt="2024-06-12T13:37:55.262" v="871"/>
          <ac:picMkLst>
            <pc:docMk/>
            <pc:sldMk cId="0" sldId="279"/>
            <ac:picMk id="12" creationId="{B86630E2-AF9F-65A0-7BFF-11DC1BCB9720}"/>
          </ac:picMkLst>
        </pc:picChg>
        <pc:picChg chg="add mod">
          <ac:chgData name="Fivestarly Lathong [Chillibreeze]" userId="479dc9aa-69ea-4a23-b6ea-3a9d26ac15ab" providerId="ADAL" clId="{013ED13C-6829-4378-A6EF-2B6A713739E1}" dt="2024-06-12T13:37:55.262" v="871"/>
          <ac:picMkLst>
            <pc:docMk/>
            <pc:sldMk cId="0" sldId="279"/>
            <ac:picMk id="14" creationId="{3890FAD3-22B3-6A56-8818-461EE427F9BC}"/>
          </ac:picMkLst>
        </pc:picChg>
        <pc:picChg chg="add mod ord">
          <ac:chgData name="Fivestarly Lathong [Chillibreeze]" userId="479dc9aa-69ea-4a23-b6ea-3a9d26ac15ab" providerId="ADAL" clId="{013ED13C-6829-4378-A6EF-2B6A713739E1}" dt="2024-06-12T13:40:55.681" v="914" actId="167"/>
          <ac:picMkLst>
            <pc:docMk/>
            <pc:sldMk cId="0" sldId="279"/>
            <ac:picMk id="15" creationId="{87591879-7E49-3918-8372-28F7B499D417}"/>
          </ac:picMkLst>
        </pc:picChg>
        <pc:cxnChg chg="add mod ord">
          <ac:chgData name="Fivestarly Lathong [Chillibreeze]" userId="479dc9aa-69ea-4a23-b6ea-3a9d26ac15ab" providerId="ADAL" clId="{013ED13C-6829-4378-A6EF-2B6A713739E1}" dt="2024-06-12T13:38:25.710" v="880" actId="14100"/>
          <ac:cxnSpMkLst>
            <pc:docMk/>
            <pc:sldMk cId="0" sldId="279"/>
            <ac:cxnSpMk id="18" creationId="{634E97F7-4C4B-271C-CE94-1D022B853D45}"/>
          </ac:cxnSpMkLst>
        </pc:cxnChg>
      </pc:sldChg>
      <pc:sldChg chg="addSp delSp modSp mod setBg chgLayout">
        <pc:chgData name="Fivestarly Lathong [Chillibreeze]" userId="479dc9aa-69ea-4a23-b6ea-3a9d26ac15ab" providerId="ADAL" clId="{013ED13C-6829-4378-A6EF-2B6A713739E1}" dt="2024-06-12T13:41:22.520" v="929"/>
        <pc:sldMkLst>
          <pc:docMk/>
          <pc:sldMk cId="0" sldId="280"/>
        </pc:sldMkLst>
        <pc:spChg chg="del mod">
          <ac:chgData name="Fivestarly Lathong [Chillibreeze]" userId="479dc9aa-69ea-4a23-b6ea-3a9d26ac15ab" providerId="ADAL" clId="{013ED13C-6829-4378-A6EF-2B6A713739E1}" dt="2024-06-12T13:39:46.134" v="897" actId="21"/>
          <ac:spMkLst>
            <pc:docMk/>
            <pc:sldMk cId="0" sldId="280"/>
            <ac:spMk id="2" creationId="{284DF9CF-9952-2446-51BF-CC31126E9D16}"/>
          </ac:spMkLst>
        </pc:spChg>
        <pc:spChg chg="add mod ord">
          <ac:chgData name="Fivestarly Lathong [Chillibreeze]" userId="479dc9aa-69ea-4a23-b6ea-3a9d26ac15ab" providerId="ADAL" clId="{013ED13C-6829-4378-A6EF-2B6A713739E1}" dt="2024-06-12T13:40:47.099" v="913" actId="14100"/>
          <ac:spMkLst>
            <pc:docMk/>
            <pc:sldMk cId="0" sldId="280"/>
            <ac:spMk id="4" creationId="{E1E09095-DC97-7BFE-72CE-4255A0407683}"/>
          </ac:spMkLst>
        </pc:spChg>
        <pc:spChg chg="add del mod">
          <ac:chgData name="Fivestarly Lathong [Chillibreeze]" userId="479dc9aa-69ea-4a23-b6ea-3a9d26ac15ab" providerId="ADAL" clId="{013ED13C-6829-4378-A6EF-2B6A713739E1}" dt="2024-06-12T13:40:08.657" v="901" actId="6264"/>
          <ac:spMkLst>
            <pc:docMk/>
            <pc:sldMk cId="0" sldId="280"/>
            <ac:spMk id="5" creationId="{2FB9FF53-6C66-A44D-2341-9570B7C201D7}"/>
          </ac:spMkLst>
        </pc:spChg>
        <pc:spChg chg="add del mod">
          <ac:chgData name="Fivestarly Lathong [Chillibreeze]" userId="479dc9aa-69ea-4a23-b6ea-3a9d26ac15ab" providerId="ADAL" clId="{013ED13C-6829-4378-A6EF-2B6A713739E1}" dt="2024-06-12T13:40:08.807" v="902" actId="6264"/>
          <ac:spMkLst>
            <pc:docMk/>
            <pc:sldMk cId="0" sldId="280"/>
            <ac:spMk id="6" creationId="{E4FCBD24-E329-7362-BD73-106CE739B22B}"/>
          </ac:spMkLst>
        </pc:spChg>
        <pc:spChg chg="add mod">
          <ac:chgData name="Fivestarly Lathong [Chillibreeze]" userId="479dc9aa-69ea-4a23-b6ea-3a9d26ac15ab" providerId="ADAL" clId="{013ED13C-6829-4378-A6EF-2B6A713739E1}" dt="2024-06-12T13:40:36.112" v="910"/>
          <ac:spMkLst>
            <pc:docMk/>
            <pc:sldMk cId="0" sldId="280"/>
            <ac:spMk id="8" creationId="{238202F8-4A9F-EB4F-6599-23A3C5800B30}"/>
          </ac:spMkLst>
        </pc:spChg>
        <pc:spChg chg="add del mod">
          <ac:chgData name="Fivestarly Lathong [Chillibreeze]" userId="479dc9aa-69ea-4a23-b6ea-3a9d26ac15ab" providerId="ADAL" clId="{013ED13C-6829-4378-A6EF-2B6A713739E1}" dt="2024-06-12T13:40:22.792" v="904" actId="21"/>
          <ac:spMkLst>
            <pc:docMk/>
            <pc:sldMk cId="0" sldId="280"/>
            <ac:spMk id="9" creationId="{EA0F6FBC-BEBD-7848-5FDD-2A3555311C60}"/>
          </ac:spMkLst>
        </pc:spChg>
        <pc:spChg chg="add del mod">
          <ac:chgData name="Fivestarly Lathong [Chillibreeze]" userId="479dc9aa-69ea-4a23-b6ea-3a9d26ac15ab" providerId="ADAL" clId="{013ED13C-6829-4378-A6EF-2B6A713739E1}" dt="2024-06-12T13:40:22.792" v="904" actId="21"/>
          <ac:spMkLst>
            <pc:docMk/>
            <pc:sldMk cId="0" sldId="280"/>
            <ac:spMk id="10" creationId="{981090C9-C295-A039-A63F-E8F3BF3B0C89}"/>
          </ac:spMkLst>
        </pc:spChg>
        <pc:spChg chg="add mod ord">
          <ac:chgData name="Fivestarly Lathong [Chillibreeze]" userId="479dc9aa-69ea-4a23-b6ea-3a9d26ac15ab" providerId="ADAL" clId="{013ED13C-6829-4378-A6EF-2B6A713739E1}" dt="2024-06-12T13:40:59.556" v="916" actId="167"/>
          <ac:spMkLst>
            <pc:docMk/>
            <pc:sldMk cId="0" sldId="280"/>
            <ac:spMk id="13" creationId="{48F6FEF7-79BA-746E-471B-089EC7056C77}"/>
          </ac:spMkLst>
        </pc:spChg>
        <pc:spChg chg="add mod ord">
          <ac:chgData name="Fivestarly Lathong [Chillibreeze]" userId="479dc9aa-69ea-4a23-b6ea-3a9d26ac15ab" providerId="ADAL" clId="{013ED13C-6829-4378-A6EF-2B6A713739E1}" dt="2024-06-12T13:40:59.556" v="916" actId="167"/>
          <ac:spMkLst>
            <pc:docMk/>
            <pc:sldMk cId="0" sldId="280"/>
            <ac:spMk id="14" creationId="{7E82C28C-5519-4BDF-A8E5-C806E79A934F}"/>
          </ac:spMkLst>
        </pc:spChg>
        <pc:spChg chg="add mod">
          <ac:chgData name="Fivestarly Lathong [Chillibreeze]" userId="479dc9aa-69ea-4a23-b6ea-3a9d26ac15ab" providerId="ADAL" clId="{013ED13C-6829-4378-A6EF-2B6A713739E1}" dt="2024-06-12T13:41:04.281" v="917"/>
          <ac:spMkLst>
            <pc:docMk/>
            <pc:sldMk cId="0" sldId="280"/>
            <ac:spMk id="15" creationId="{82AF57AB-7F82-9004-1A4F-29AF310D2CCB}"/>
          </ac:spMkLst>
        </pc:spChg>
        <pc:spChg chg="add mod">
          <ac:chgData name="Fivestarly Lathong [Chillibreeze]" userId="479dc9aa-69ea-4a23-b6ea-3a9d26ac15ab" providerId="ADAL" clId="{013ED13C-6829-4378-A6EF-2B6A713739E1}" dt="2024-06-12T13:41:04.281" v="917"/>
          <ac:spMkLst>
            <pc:docMk/>
            <pc:sldMk cId="0" sldId="280"/>
            <ac:spMk id="16" creationId="{13CF078A-BFB3-B050-7602-B846FBE420D3}"/>
          </ac:spMkLst>
        </pc:spChg>
        <pc:spChg chg="add mod">
          <ac:chgData name="Fivestarly Lathong [Chillibreeze]" userId="479dc9aa-69ea-4a23-b6ea-3a9d26ac15ab" providerId="ADAL" clId="{013ED13C-6829-4378-A6EF-2B6A713739E1}" dt="2024-06-12T13:41:04.281" v="917"/>
          <ac:spMkLst>
            <pc:docMk/>
            <pc:sldMk cId="0" sldId="280"/>
            <ac:spMk id="17" creationId="{7BF16BAC-E393-F72C-E82A-0F162D3F4A7E}"/>
          </ac:spMkLst>
        </pc:spChg>
        <pc:spChg chg="add mod">
          <ac:chgData name="Fivestarly Lathong [Chillibreeze]" userId="479dc9aa-69ea-4a23-b6ea-3a9d26ac15ab" providerId="ADAL" clId="{013ED13C-6829-4378-A6EF-2B6A713739E1}" dt="2024-06-12T13:41:09.186" v="920"/>
          <ac:spMkLst>
            <pc:docMk/>
            <pc:sldMk cId="0" sldId="280"/>
            <ac:spMk id="18" creationId="{1EE8FBC8-7FA0-0B1D-5D82-C2C8DA5E5452}"/>
          </ac:spMkLst>
        </pc:spChg>
        <pc:spChg chg="mod">
          <ac:chgData name="Fivestarly Lathong [Chillibreeze]" userId="479dc9aa-69ea-4a23-b6ea-3a9d26ac15ab" providerId="ADAL" clId="{013ED13C-6829-4378-A6EF-2B6A713739E1}" dt="2024-06-12T13:41:04.281" v="917"/>
          <ac:spMkLst>
            <pc:docMk/>
            <pc:sldMk cId="0" sldId="280"/>
            <ac:spMk id="20" creationId="{6149ECAB-03C4-8179-CD70-F38A342C68BA}"/>
          </ac:spMkLst>
        </pc:spChg>
        <pc:spChg chg="mod">
          <ac:chgData name="Fivestarly Lathong [Chillibreeze]" userId="479dc9aa-69ea-4a23-b6ea-3a9d26ac15ab" providerId="ADAL" clId="{013ED13C-6829-4378-A6EF-2B6A713739E1}" dt="2024-06-12T13:41:04.281" v="917"/>
          <ac:spMkLst>
            <pc:docMk/>
            <pc:sldMk cId="0" sldId="280"/>
            <ac:spMk id="21" creationId="{25C859C0-4B7F-5593-9149-10F54E7D1DEE}"/>
          </ac:spMkLst>
        </pc:spChg>
        <pc:spChg chg="add mod">
          <ac:chgData name="Fivestarly Lathong [Chillibreeze]" userId="479dc9aa-69ea-4a23-b6ea-3a9d26ac15ab" providerId="ADAL" clId="{013ED13C-6829-4378-A6EF-2B6A713739E1}" dt="2024-06-12T13:41:13.758" v="923"/>
          <ac:spMkLst>
            <pc:docMk/>
            <pc:sldMk cId="0" sldId="280"/>
            <ac:spMk id="23" creationId="{463787BC-4890-F5FB-DBDA-8A0F402210D5}"/>
          </ac:spMkLst>
        </pc:spChg>
        <pc:spChg chg="mod">
          <ac:chgData name="Fivestarly Lathong [Chillibreeze]" userId="479dc9aa-69ea-4a23-b6ea-3a9d26ac15ab" providerId="ADAL" clId="{013ED13C-6829-4378-A6EF-2B6A713739E1}" dt="2024-06-12T13:41:04.281" v="917"/>
          <ac:spMkLst>
            <pc:docMk/>
            <pc:sldMk cId="0" sldId="280"/>
            <ac:spMk id="25" creationId="{0B71C1A4-10BC-B79D-5327-B7ACA3705581}"/>
          </ac:spMkLst>
        </pc:spChg>
        <pc:spChg chg="mod">
          <ac:chgData name="Fivestarly Lathong [Chillibreeze]" userId="479dc9aa-69ea-4a23-b6ea-3a9d26ac15ab" providerId="ADAL" clId="{013ED13C-6829-4378-A6EF-2B6A713739E1}" dt="2024-06-12T13:41:04.281" v="917"/>
          <ac:spMkLst>
            <pc:docMk/>
            <pc:sldMk cId="0" sldId="280"/>
            <ac:spMk id="26" creationId="{E01FEB13-22CA-4149-42D9-0552266F0382}"/>
          </ac:spMkLst>
        </pc:spChg>
        <pc:spChg chg="add mod">
          <ac:chgData name="Fivestarly Lathong [Chillibreeze]" userId="479dc9aa-69ea-4a23-b6ea-3a9d26ac15ab" providerId="ADAL" clId="{013ED13C-6829-4378-A6EF-2B6A713739E1}" dt="2024-06-12T13:41:18.547" v="926"/>
          <ac:spMkLst>
            <pc:docMk/>
            <pc:sldMk cId="0" sldId="280"/>
            <ac:spMk id="28" creationId="{2146C49D-9EF5-05BC-E8E7-A25DD4AB12B9}"/>
          </ac:spMkLst>
        </pc:spChg>
        <pc:spChg chg="mod">
          <ac:chgData name="Fivestarly Lathong [Chillibreeze]" userId="479dc9aa-69ea-4a23-b6ea-3a9d26ac15ab" providerId="ADAL" clId="{013ED13C-6829-4378-A6EF-2B6A713739E1}" dt="2024-06-12T13:41:04.281" v="917"/>
          <ac:spMkLst>
            <pc:docMk/>
            <pc:sldMk cId="0" sldId="280"/>
            <ac:spMk id="30" creationId="{7CDD244E-FD0C-AA39-A867-28B29B37F1AE}"/>
          </ac:spMkLst>
        </pc:spChg>
        <pc:spChg chg="mod">
          <ac:chgData name="Fivestarly Lathong [Chillibreeze]" userId="479dc9aa-69ea-4a23-b6ea-3a9d26ac15ab" providerId="ADAL" clId="{013ED13C-6829-4378-A6EF-2B6A713739E1}" dt="2024-06-12T13:41:04.281" v="917"/>
          <ac:spMkLst>
            <pc:docMk/>
            <pc:sldMk cId="0" sldId="280"/>
            <ac:spMk id="31" creationId="{4FA30C23-EB1C-09A6-9595-5212269C48BE}"/>
          </ac:spMkLst>
        </pc:spChg>
        <pc:spChg chg="add mod">
          <ac:chgData name="Fivestarly Lathong [Chillibreeze]" userId="479dc9aa-69ea-4a23-b6ea-3a9d26ac15ab" providerId="ADAL" clId="{013ED13C-6829-4378-A6EF-2B6A713739E1}" dt="2024-06-12T13:41:22.520" v="929"/>
          <ac:spMkLst>
            <pc:docMk/>
            <pc:sldMk cId="0" sldId="280"/>
            <ac:spMk id="33" creationId="{65C25D6C-8990-431B-ADCB-2F124B9F22A6}"/>
          </ac:spMkLst>
        </pc:spChg>
        <pc:spChg chg="del">
          <ac:chgData name="Fivestarly Lathong [Chillibreeze]" userId="479dc9aa-69ea-4a23-b6ea-3a9d26ac15ab" providerId="ADAL" clId="{013ED13C-6829-4378-A6EF-2B6A713739E1}" dt="2024-06-12T13:39:46.134" v="897" actId="21"/>
          <ac:spMkLst>
            <pc:docMk/>
            <pc:sldMk cId="0" sldId="280"/>
            <ac:spMk id="4489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39:46.134" v="897" actId="21"/>
          <ac:spMkLst>
            <pc:docMk/>
            <pc:sldMk cId="0" sldId="280"/>
            <ac:spMk id="4490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39:46.134" v="897" actId="21"/>
          <ac:spMkLst>
            <pc:docMk/>
            <pc:sldMk cId="0" sldId="280"/>
            <ac:spMk id="4491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39:46.134" v="897" actId="21"/>
          <ac:spMkLst>
            <pc:docMk/>
            <pc:sldMk cId="0" sldId="280"/>
            <ac:spMk id="4492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39:46.134" v="897" actId="21"/>
          <ac:spMkLst>
            <pc:docMk/>
            <pc:sldMk cId="0" sldId="280"/>
            <ac:spMk id="4493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39:46.134" v="897" actId="21"/>
          <ac:spMkLst>
            <pc:docMk/>
            <pc:sldMk cId="0" sldId="280"/>
            <ac:spMk id="4494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39:46.134" v="897" actId="21"/>
          <ac:spMkLst>
            <pc:docMk/>
            <pc:sldMk cId="0" sldId="280"/>
            <ac:spMk id="4498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39:46.134" v="897" actId="21"/>
          <ac:spMkLst>
            <pc:docMk/>
            <pc:sldMk cId="0" sldId="280"/>
            <ac:spMk id="4502" creationId="{00000000-0000-0000-0000-000000000000}"/>
          </ac:spMkLst>
        </pc:spChg>
        <pc:grpChg chg="add mod">
          <ac:chgData name="Fivestarly Lathong [Chillibreeze]" userId="479dc9aa-69ea-4a23-b6ea-3a9d26ac15ab" providerId="ADAL" clId="{013ED13C-6829-4378-A6EF-2B6A713739E1}" dt="2024-06-12T13:41:04.281" v="917"/>
          <ac:grpSpMkLst>
            <pc:docMk/>
            <pc:sldMk cId="0" sldId="280"/>
            <ac:grpSpMk id="19" creationId="{9E3E9B06-47FB-DE39-FA96-258D7BAE6525}"/>
          </ac:grpSpMkLst>
        </pc:grpChg>
        <pc:grpChg chg="add mod">
          <ac:chgData name="Fivestarly Lathong [Chillibreeze]" userId="479dc9aa-69ea-4a23-b6ea-3a9d26ac15ab" providerId="ADAL" clId="{013ED13C-6829-4378-A6EF-2B6A713739E1}" dt="2024-06-12T13:41:04.281" v="917"/>
          <ac:grpSpMkLst>
            <pc:docMk/>
            <pc:sldMk cId="0" sldId="280"/>
            <ac:grpSpMk id="24" creationId="{68D20110-A15B-F219-A854-5630878D5074}"/>
          </ac:grpSpMkLst>
        </pc:grpChg>
        <pc:grpChg chg="add mod">
          <ac:chgData name="Fivestarly Lathong [Chillibreeze]" userId="479dc9aa-69ea-4a23-b6ea-3a9d26ac15ab" providerId="ADAL" clId="{013ED13C-6829-4378-A6EF-2B6A713739E1}" dt="2024-06-12T13:41:04.281" v="917"/>
          <ac:grpSpMkLst>
            <pc:docMk/>
            <pc:sldMk cId="0" sldId="280"/>
            <ac:grpSpMk id="29" creationId="{09D8C550-91D1-73F2-DBA4-C99535C706F9}"/>
          </ac:grpSpMkLst>
        </pc:grpChg>
        <pc:grpChg chg="del">
          <ac:chgData name="Fivestarly Lathong [Chillibreeze]" userId="479dc9aa-69ea-4a23-b6ea-3a9d26ac15ab" providerId="ADAL" clId="{013ED13C-6829-4378-A6EF-2B6A713739E1}" dt="2024-06-12T13:39:46.134" v="897" actId="21"/>
          <ac:grpSpMkLst>
            <pc:docMk/>
            <pc:sldMk cId="0" sldId="280"/>
            <ac:grpSpMk id="4495" creationId="{00000000-0000-0000-0000-000000000000}"/>
          </ac:grpSpMkLst>
        </pc:grpChg>
        <pc:grpChg chg="del">
          <ac:chgData name="Fivestarly Lathong [Chillibreeze]" userId="479dc9aa-69ea-4a23-b6ea-3a9d26ac15ab" providerId="ADAL" clId="{013ED13C-6829-4378-A6EF-2B6A713739E1}" dt="2024-06-12T13:39:46.134" v="897" actId="21"/>
          <ac:grpSpMkLst>
            <pc:docMk/>
            <pc:sldMk cId="0" sldId="280"/>
            <ac:grpSpMk id="4499" creationId="{00000000-0000-0000-0000-000000000000}"/>
          </ac:grpSpMkLst>
        </pc:grpChg>
        <pc:grpChg chg="del">
          <ac:chgData name="Fivestarly Lathong [Chillibreeze]" userId="479dc9aa-69ea-4a23-b6ea-3a9d26ac15ab" providerId="ADAL" clId="{013ED13C-6829-4378-A6EF-2B6A713739E1}" dt="2024-06-12T13:39:46.134" v="897" actId="21"/>
          <ac:grpSpMkLst>
            <pc:docMk/>
            <pc:sldMk cId="0" sldId="280"/>
            <ac:grpSpMk id="4503" creationId="{00000000-0000-0000-0000-000000000000}"/>
          </ac:grpSpMkLst>
        </pc:grpChg>
        <pc:picChg chg="add mod ord">
          <ac:chgData name="Fivestarly Lathong [Chillibreeze]" userId="479dc9aa-69ea-4a23-b6ea-3a9d26ac15ab" providerId="ADAL" clId="{013ED13C-6829-4378-A6EF-2B6A713739E1}" dt="2024-06-12T13:40:59.556" v="916" actId="167"/>
          <ac:picMkLst>
            <pc:docMk/>
            <pc:sldMk cId="0" sldId="280"/>
            <ac:picMk id="12" creationId="{34278999-07BA-2387-AE9F-0AF393E901D2}"/>
          </ac:picMkLst>
        </pc:picChg>
        <pc:picChg chg="mod">
          <ac:chgData name="Fivestarly Lathong [Chillibreeze]" userId="479dc9aa-69ea-4a23-b6ea-3a9d26ac15ab" providerId="ADAL" clId="{013ED13C-6829-4378-A6EF-2B6A713739E1}" dt="2024-06-12T13:41:04.281" v="917"/>
          <ac:picMkLst>
            <pc:docMk/>
            <pc:sldMk cId="0" sldId="280"/>
            <ac:picMk id="22" creationId="{C35BC423-EC5D-6041-67A5-28A8F976FDAA}"/>
          </ac:picMkLst>
        </pc:picChg>
        <pc:picChg chg="mod">
          <ac:chgData name="Fivestarly Lathong [Chillibreeze]" userId="479dc9aa-69ea-4a23-b6ea-3a9d26ac15ab" providerId="ADAL" clId="{013ED13C-6829-4378-A6EF-2B6A713739E1}" dt="2024-06-12T13:41:04.281" v="917"/>
          <ac:picMkLst>
            <pc:docMk/>
            <pc:sldMk cId="0" sldId="280"/>
            <ac:picMk id="27" creationId="{F9A27753-CA14-1BCF-129C-C43ED1E3CB38}"/>
          </ac:picMkLst>
        </pc:picChg>
        <pc:picChg chg="mod">
          <ac:chgData name="Fivestarly Lathong [Chillibreeze]" userId="479dc9aa-69ea-4a23-b6ea-3a9d26ac15ab" providerId="ADAL" clId="{013ED13C-6829-4378-A6EF-2B6A713739E1}" dt="2024-06-12T13:41:04.281" v="917"/>
          <ac:picMkLst>
            <pc:docMk/>
            <pc:sldMk cId="0" sldId="280"/>
            <ac:picMk id="32" creationId="{0A699261-F535-C768-FA70-1EED712354D8}"/>
          </ac:picMkLst>
        </pc:picChg>
        <pc:picChg chg="del">
          <ac:chgData name="Fivestarly Lathong [Chillibreeze]" userId="479dc9aa-69ea-4a23-b6ea-3a9d26ac15ab" providerId="ADAL" clId="{013ED13C-6829-4378-A6EF-2B6A713739E1}" dt="2024-06-12T13:39:46.134" v="897" actId="21"/>
          <ac:picMkLst>
            <pc:docMk/>
            <pc:sldMk cId="0" sldId="280"/>
            <ac:picMk id="4488" creationId="{00000000-0000-0000-0000-000000000000}"/>
          </ac:picMkLst>
        </pc:picChg>
        <pc:cxnChg chg="add mod">
          <ac:chgData name="Fivestarly Lathong [Chillibreeze]" userId="479dc9aa-69ea-4a23-b6ea-3a9d26ac15ab" providerId="ADAL" clId="{013ED13C-6829-4378-A6EF-2B6A713739E1}" dt="2024-06-12T13:40:39.843" v="911" actId="14100"/>
          <ac:cxnSpMkLst>
            <pc:docMk/>
            <pc:sldMk cId="0" sldId="280"/>
            <ac:cxnSpMk id="7" creationId="{092C4383-C573-BD80-B331-A519EFB669C5}"/>
          </ac:cxnSpMkLst>
        </pc:cxnChg>
      </pc:sldChg>
      <pc:sldChg chg="addSp delSp modSp mod setBg modClrScheme chgLayout">
        <pc:chgData name="Fivestarly Lathong [Chillibreeze]" userId="479dc9aa-69ea-4a23-b6ea-3a9d26ac15ab" providerId="ADAL" clId="{013ED13C-6829-4378-A6EF-2B6A713739E1}" dt="2024-06-12T13:56:18.753" v="1020" actId="255"/>
        <pc:sldMkLst>
          <pc:docMk/>
          <pc:sldMk cId="0" sldId="282"/>
        </pc:sldMkLst>
        <pc:spChg chg="del mod">
          <ac:chgData name="Fivestarly Lathong [Chillibreeze]" userId="479dc9aa-69ea-4a23-b6ea-3a9d26ac15ab" providerId="ADAL" clId="{013ED13C-6829-4378-A6EF-2B6A713739E1}" dt="2024-06-12T13:53:25.860" v="977" actId="478"/>
          <ac:spMkLst>
            <pc:docMk/>
            <pc:sldMk cId="0" sldId="282"/>
            <ac:spMk id="2" creationId="{08C437D1-7A40-24F6-D8D8-ABCCDBCB5786}"/>
          </ac:spMkLst>
        </pc:spChg>
        <pc:spChg chg="add del mod">
          <ac:chgData name="Fivestarly Lathong [Chillibreeze]" userId="479dc9aa-69ea-4a23-b6ea-3a9d26ac15ab" providerId="ADAL" clId="{013ED13C-6829-4378-A6EF-2B6A713739E1}" dt="2024-06-12T13:53:34.305" v="979" actId="478"/>
          <ac:spMkLst>
            <pc:docMk/>
            <pc:sldMk cId="0" sldId="282"/>
            <ac:spMk id="4" creationId="{DFD37809-52FA-17C4-35FD-43D0ACD11236}"/>
          </ac:spMkLst>
        </pc:spChg>
        <pc:spChg chg="add del mod">
          <ac:chgData name="Fivestarly Lathong [Chillibreeze]" userId="479dc9aa-69ea-4a23-b6ea-3a9d26ac15ab" providerId="ADAL" clId="{013ED13C-6829-4378-A6EF-2B6A713739E1}" dt="2024-06-12T13:54:35.469" v="985" actId="478"/>
          <ac:spMkLst>
            <pc:docMk/>
            <pc:sldMk cId="0" sldId="282"/>
            <ac:spMk id="6" creationId="{564EB29E-39D9-2DDA-A4E6-9EB2B02223C4}"/>
          </ac:spMkLst>
        </pc:spChg>
        <pc:spChg chg="add del mod">
          <ac:chgData name="Fivestarly Lathong [Chillibreeze]" userId="479dc9aa-69ea-4a23-b6ea-3a9d26ac15ab" providerId="ADAL" clId="{013ED13C-6829-4378-A6EF-2B6A713739E1}" dt="2024-06-12T13:54:35.469" v="985" actId="478"/>
          <ac:spMkLst>
            <pc:docMk/>
            <pc:sldMk cId="0" sldId="282"/>
            <ac:spMk id="7" creationId="{987AD5D9-82EB-0414-ACD9-D3792C47B0BF}"/>
          </ac:spMkLst>
        </pc:spChg>
        <pc:spChg chg="add del mod">
          <ac:chgData name="Fivestarly Lathong [Chillibreeze]" userId="479dc9aa-69ea-4a23-b6ea-3a9d26ac15ab" providerId="ADAL" clId="{013ED13C-6829-4378-A6EF-2B6A713739E1}" dt="2024-06-12T13:54:35.469" v="985" actId="478"/>
          <ac:spMkLst>
            <pc:docMk/>
            <pc:sldMk cId="0" sldId="282"/>
            <ac:spMk id="8" creationId="{C285D7F2-E5DB-7D4C-09AE-E152691E91D8}"/>
          </ac:spMkLst>
        </pc:spChg>
        <pc:spChg chg="add del mod">
          <ac:chgData name="Fivestarly Lathong [Chillibreeze]" userId="479dc9aa-69ea-4a23-b6ea-3a9d26ac15ab" providerId="ADAL" clId="{013ED13C-6829-4378-A6EF-2B6A713739E1}" dt="2024-06-12T13:54:35.469" v="985" actId="478"/>
          <ac:spMkLst>
            <pc:docMk/>
            <pc:sldMk cId="0" sldId="282"/>
            <ac:spMk id="9" creationId="{6602E140-A6FC-E901-2094-0A20EEDF24E2}"/>
          </ac:spMkLst>
        </pc:spChg>
        <pc:spChg chg="mod">
          <ac:chgData name="Fivestarly Lathong [Chillibreeze]" userId="479dc9aa-69ea-4a23-b6ea-3a9d26ac15ab" providerId="ADAL" clId="{013ED13C-6829-4378-A6EF-2B6A713739E1}" dt="2024-06-12T13:54:19.421" v="982" actId="207"/>
          <ac:spMkLst>
            <pc:docMk/>
            <pc:sldMk cId="0" sldId="282"/>
            <ac:spMk id="11" creationId="{A7858980-D1D1-039F-4344-B4F1F76951DF}"/>
          </ac:spMkLst>
        </pc:spChg>
        <pc:spChg chg="mod">
          <ac:chgData name="Fivestarly Lathong [Chillibreeze]" userId="479dc9aa-69ea-4a23-b6ea-3a9d26ac15ab" providerId="ADAL" clId="{013ED13C-6829-4378-A6EF-2B6A713739E1}" dt="2024-06-12T13:54:19.421" v="982" actId="207"/>
          <ac:spMkLst>
            <pc:docMk/>
            <pc:sldMk cId="0" sldId="282"/>
            <ac:spMk id="12" creationId="{390385A4-0305-D67F-6E47-97A50148AB53}"/>
          </ac:spMkLst>
        </pc:spChg>
        <pc:spChg chg="add del mod">
          <ac:chgData name="Fivestarly Lathong [Chillibreeze]" userId="479dc9aa-69ea-4a23-b6ea-3a9d26ac15ab" providerId="ADAL" clId="{013ED13C-6829-4378-A6EF-2B6A713739E1}" dt="2024-06-12T13:54:35.469" v="985" actId="478"/>
          <ac:spMkLst>
            <pc:docMk/>
            <pc:sldMk cId="0" sldId="282"/>
            <ac:spMk id="13" creationId="{401662A9-6691-FB17-4887-1E703C8A7FBE}"/>
          </ac:spMkLst>
        </pc:spChg>
        <pc:spChg chg="mod">
          <ac:chgData name="Fivestarly Lathong [Chillibreeze]" userId="479dc9aa-69ea-4a23-b6ea-3a9d26ac15ab" providerId="ADAL" clId="{013ED13C-6829-4378-A6EF-2B6A713739E1}" dt="2024-06-12T13:53:41.060" v="981"/>
          <ac:spMkLst>
            <pc:docMk/>
            <pc:sldMk cId="0" sldId="282"/>
            <ac:spMk id="16" creationId="{7B6662C2-0E71-4D4A-60B9-42A79C897729}"/>
          </ac:spMkLst>
        </pc:spChg>
        <pc:spChg chg="mod">
          <ac:chgData name="Fivestarly Lathong [Chillibreeze]" userId="479dc9aa-69ea-4a23-b6ea-3a9d26ac15ab" providerId="ADAL" clId="{013ED13C-6829-4378-A6EF-2B6A713739E1}" dt="2024-06-12T13:53:41.060" v="981"/>
          <ac:spMkLst>
            <pc:docMk/>
            <pc:sldMk cId="0" sldId="282"/>
            <ac:spMk id="17" creationId="{801739E0-F935-E2D2-4694-BDA5E519D2D3}"/>
          </ac:spMkLst>
        </pc:spChg>
        <pc:spChg chg="mod">
          <ac:chgData name="Fivestarly Lathong [Chillibreeze]" userId="479dc9aa-69ea-4a23-b6ea-3a9d26ac15ab" providerId="ADAL" clId="{013ED13C-6829-4378-A6EF-2B6A713739E1}" dt="2024-06-12T13:53:41.060" v="981"/>
          <ac:spMkLst>
            <pc:docMk/>
            <pc:sldMk cId="0" sldId="282"/>
            <ac:spMk id="18" creationId="{EF4291F1-6FDE-D521-C57A-60CC13E04F7F}"/>
          </ac:spMkLst>
        </pc:spChg>
        <pc:spChg chg="add del mod">
          <ac:chgData name="Fivestarly Lathong [Chillibreeze]" userId="479dc9aa-69ea-4a23-b6ea-3a9d26ac15ab" providerId="ADAL" clId="{013ED13C-6829-4378-A6EF-2B6A713739E1}" dt="2024-06-12T13:54:35.469" v="985" actId="478"/>
          <ac:spMkLst>
            <pc:docMk/>
            <pc:sldMk cId="0" sldId="282"/>
            <ac:spMk id="19" creationId="{517F43CB-D6F5-BBB5-5CDC-24F88FF9C404}"/>
          </ac:spMkLst>
        </pc:spChg>
        <pc:spChg chg="add del mod">
          <ac:chgData name="Fivestarly Lathong [Chillibreeze]" userId="479dc9aa-69ea-4a23-b6ea-3a9d26ac15ab" providerId="ADAL" clId="{013ED13C-6829-4378-A6EF-2B6A713739E1}" dt="2024-06-12T13:54:35.469" v="985" actId="478"/>
          <ac:spMkLst>
            <pc:docMk/>
            <pc:sldMk cId="0" sldId="282"/>
            <ac:spMk id="21" creationId="{0B1CCA1E-00F0-D5F9-9D14-0AD79713B5D0}"/>
          </ac:spMkLst>
        </pc:spChg>
        <pc:spChg chg="add del mod">
          <ac:chgData name="Fivestarly Lathong [Chillibreeze]" userId="479dc9aa-69ea-4a23-b6ea-3a9d26ac15ab" providerId="ADAL" clId="{013ED13C-6829-4378-A6EF-2B6A713739E1}" dt="2024-06-12T13:54:35.469" v="985" actId="478"/>
          <ac:spMkLst>
            <pc:docMk/>
            <pc:sldMk cId="0" sldId="282"/>
            <ac:spMk id="22" creationId="{47D080DD-35DB-B0D5-0786-5081433D21AA}"/>
          </ac:spMkLst>
        </pc:spChg>
        <pc:spChg chg="add mod ord">
          <ac:chgData name="Fivestarly Lathong [Chillibreeze]" userId="479dc9aa-69ea-4a23-b6ea-3a9d26ac15ab" providerId="ADAL" clId="{013ED13C-6829-4378-A6EF-2B6A713739E1}" dt="2024-06-12T13:54:37.951" v="987" actId="167"/>
          <ac:spMkLst>
            <pc:docMk/>
            <pc:sldMk cId="0" sldId="282"/>
            <ac:spMk id="23" creationId="{894DF438-7408-F4C8-2A73-91B004F9ED0F}"/>
          </ac:spMkLst>
        </pc:spChg>
        <pc:spChg chg="add mod ord">
          <ac:chgData name="Fivestarly Lathong [Chillibreeze]" userId="479dc9aa-69ea-4a23-b6ea-3a9d26ac15ab" providerId="ADAL" clId="{013ED13C-6829-4378-A6EF-2B6A713739E1}" dt="2024-06-12T13:54:37.951" v="987" actId="167"/>
          <ac:spMkLst>
            <pc:docMk/>
            <pc:sldMk cId="0" sldId="282"/>
            <ac:spMk id="24" creationId="{5B5005E9-FD72-E2B8-F28F-936F050676B2}"/>
          </ac:spMkLst>
        </pc:spChg>
        <pc:spChg chg="add mod ord">
          <ac:chgData name="Fivestarly Lathong [Chillibreeze]" userId="479dc9aa-69ea-4a23-b6ea-3a9d26ac15ab" providerId="ADAL" clId="{013ED13C-6829-4378-A6EF-2B6A713739E1}" dt="2024-06-12T13:54:37.951" v="987" actId="167"/>
          <ac:spMkLst>
            <pc:docMk/>
            <pc:sldMk cId="0" sldId="282"/>
            <ac:spMk id="25" creationId="{735D2B41-8741-E9E6-EA01-4F4CF6D0F255}"/>
          </ac:spMkLst>
        </pc:spChg>
        <pc:spChg chg="mod">
          <ac:chgData name="Fivestarly Lathong [Chillibreeze]" userId="479dc9aa-69ea-4a23-b6ea-3a9d26ac15ab" providerId="ADAL" clId="{013ED13C-6829-4378-A6EF-2B6A713739E1}" dt="2024-06-12T13:54:36.196" v="986"/>
          <ac:spMkLst>
            <pc:docMk/>
            <pc:sldMk cId="0" sldId="282"/>
            <ac:spMk id="27" creationId="{ABF9F21B-1A27-8A73-7F7D-0D110E97A238}"/>
          </ac:spMkLst>
        </pc:spChg>
        <pc:spChg chg="mod">
          <ac:chgData name="Fivestarly Lathong [Chillibreeze]" userId="479dc9aa-69ea-4a23-b6ea-3a9d26ac15ab" providerId="ADAL" clId="{013ED13C-6829-4378-A6EF-2B6A713739E1}" dt="2024-06-12T13:54:36.196" v="986"/>
          <ac:spMkLst>
            <pc:docMk/>
            <pc:sldMk cId="0" sldId="282"/>
            <ac:spMk id="28" creationId="{E8AB545C-60D4-46DE-5759-C1DAE1350102}"/>
          </ac:spMkLst>
        </pc:spChg>
        <pc:spChg chg="add mod ord">
          <ac:chgData name="Fivestarly Lathong [Chillibreeze]" userId="479dc9aa-69ea-4a23-b6ea-3a9d26ac15ab" providerId="ADAL" clId="{013ED13C-6829-4378-A6EF-2B6A713739E1}" dt="2024-06-12T13:56:12.725" v="1019" actId="12788"/>
          <ac:spMkLst>
            <pc:docMk/>
            <pc:sldMk cId="0" sldId="282"/>
            <ac:spMk id="29" creationId="{23FACB9F-DF7C-02EB-0484-12F92DF60380}"/>
          </ac:spMkLst>
        </pc:spChg>
        <pc:spChg chg="mod">
          <ac:chgData name="Fivestarly Lathong [Chillibreeze]" userId="479dc9aa-69ea-4a23-b6ea-3a9d26ac15ab" providerId="ADAL" clId="{013ED13C-6829-4378-A6EF-2B6A713739E1}" dt="2024-06-12T13:54:36.196" v="986"/>
          <ac:spMkLst>
            <pc:docMk/>
            <pc:sldMk cId="0" sldId="282"/>
            <ac:spMk id="32" creationId="{4F88C8D2-B4A8-37B7-C4E1-ED788FC71F74}"/>
          </ac:spMkLst>
        </pc:spChg>
        <pc:spChg chg="mod">
          <ac:chgData name="Fivestarly Lathong [Chillibreeze]" userId="479dc9aa-69ea-4a23-b6ea-3a9d26ac15ab" providerId="ADAL" clId="{013ED13C-6829-4378-A6EF-2B6A713739E1}" dt="2024-06-12T13:54:36.196" v="986"/>
          <ac:spMkLst>
            <pc:docMk/>
            <pc:sldMk cId="0" sldId="282"/>
            <ac:spMk id="33" creationId="{C85ED407-1142-6AC5-0C4B-E3CDC53F2BEE}"/>
          </ac:spMkLst>
        </pc:spChg>
        <pc:spChg chg="mod">
          <ac:chgData name="Fivestarly Lathong [Chillibreeze]" userId="479dc9aa-69ea-4a23-b6ea-3a9d26ac15ab" providerId="ADAL" clId="{013ED13C-6829-4378-A6EF-2B6A713739E1}" dt="2024-06-12T13:54:36.196" v="986"/>
          <ac:spMkLst>
            <pc:docMk/>
            <pc:sldMk cId="0" sldId="282"/>
            <ac:spMk id="34" creationId="{3D1030B0-EFBC-B8B7-BDA0-D80F531582D4}"/>
          </ac:spMkLst>
        </pc:spChg>
        <pc:spChg chg="add mod ord">
          <ac:chgData name="Fivestarly Lathong [Chillibreeze]" userId="479dc9aa-69ea-4a23-b6ea-3a9d26ac15ab" providerId="ADAL" clId="{013ED13C-6829-4378-A6EF-2B6A713739E1}" dt="2024-06-12T13:54:46.541" v="990" actId="1076"/>
          <ac:spMkLst>
            <pc:docMk/>
            <pc:sldMk cId="0" sldId="282"/>
            <ac:spMk id="35" creationId="{D4C33E14-F434-2581-BC56-8E1C3AC197F3}"/>
          </ac:spMkLst>
        </pc:spChg>
        <pc:spChg chg="add mod ord">
          <ac:chgData name="Fivestarly Lathong [Chillibreeze]" userId="479dc9aa-69ea-4a23-b6ea-3a9d26ac15ab" providerId="ADAL" clId="{013ED13C-6829-4378-A6EF-2B6A713739E1}" dt="2024-06-12T13:54:37.951" v="987" actId="167"/>
          <ac:spMkLst>
            <pc:docMk/>
            <pc:sldMk cId="0" sldId="282"/>
            <ac:spMk id="37" creationId="{A83DE006-9F87-DB91-374B-028D251E92FF}"/>
          </ac:spMkLst>
        </pc:spChg>
        <pc:spChg chg="add mod ord">
          <ac:chgData name="Fivestarly Lathong [Chillibreeze]" userId="479dc9aa-69ea-4a23-b6ea-3a9d26ac15ab" providerId="ADAL" clId="{013ED13C-6829-4378-A6EF-2B6A713739E1}" dt="2024-06-12T13:56:18.753" v="1020" actId="255"/>
          <ac:spMkLst>
            <pc:docMk/>
            <pc:sldMk cId="0" sldId="282"/>
            <ac:spMk id="38" creationId="{3BF8F80A-C5FA-F26D-16E9-F2E94BA7DAFE}"/>
          </ac:spMkLst>
        </pc:spChg>
        <pc:spChg chg="add del mod">
          <ac:chgData name="Fivestarly Lathong [Chillibreeze]" userId="479dc9aa-69ea-4a23-b6ea-3a9d26ac15ab" providerId="ADAL" clId="{013ED13C-6829-4378-A6EF-2B6A713739E1}" dt="2024-06-12T13:55:47.149" v="1009" actId="21"/>
          <ac:spMkLst>
            <pc:docMk/>
            <pc:sldMk cId="0" sldId="282"/>
            <ac:spMk id="39" creationId="{20FD85F4-323E-B5A0-15B9-6EE8FD131C69}"/>
          </ac:spMkLst>
        </pc:spChg>
        <pc:spChg chg="add del">
          <ac:chgData name="Fivestarly Lathong [Chillibreeze]" userId="479dc9aa-69ea-4a23-b6ea-3a9d26ac15ab" providerId="ADAL" clId="{013ED13C-6829-4378-A6EF-2B6A713739E1}" dt="2024-06-12T13:53:36.271" v="980" actId="478"/>
          <ac:spMkLst>
            <pc:docMk/>
            <pc:sldMk cId="0" sldId="282"/>
            <ac:spMk id="4530" creationId="{00000000-0000-0000-0000-000000000000}"/>
          </ac:spMkLst>
        </pc:spChg>
        <pc:spChg chg="add del">
          <ac:chgData name="Fivestarly Lathong [Chillibreeze]" userId="479dc9aa-69ea-4a23-b6ea-3a9d26ac15ab" providerId="ADAL" clId="{013ED13C-6829-4378-A6EF-2B6A713739E1}" dt="2024-06-12T13:53:36.271" v="980" actId="478"/>
          <ac:spMkLst>
            <pc:docMk/>
            <pc:sldMk cId="0" sldId="282"/>
            <ac:spMk id="4531" creationId="{00000000-0000-0000-0000-000000000000}"/>
          </ac:spMkLst>
        </pc:spChg>
        <pc:spChg chg="add del">
          <ac:chgData name="Fivestarly Lathong [Chillibreeze]" userId="479dc9aa-69ea-4a23-b6ea-3a9d26ac15ab" providerId="ADAL" clId="{013ED13C-6829-4378-A6EF-2B6A713739E1}" dt="2024-06-12T13:53:36.271" v="980" actId="478"/>
          <ac:spMkLst>
            <pc:docMk/>
            <pc:sldMk cId="0" sldId="282"/>
            <ac:spMk id="4532" creationId="{00000000-0000-0000-0000-000000000000}"/>
          </ac:spMkLst>
        </pc:spChg>
        <pc:spChg chg="add del">
          <ac:chgData name="Fivestarly Lathong [Chillibreeze]" userId="479dc9aa-69ea-4a23-b6ea-3a9d26ac15ab" providerId="ADAL" clId="{013ED13C-6829-4378-A6EF-2B6A713739E1}" dt="2024-06-12T13:53:36.271" v="980" actId="478"/>
          <ac:spMkLst>
            <pc:docMk/>
            <pc:sldMk cId="0" sldId="282"/>
            <ac:spMk id="4533" creationId="{00000000-0000-0000-0000-000000000000}"/>
          </ac:spMkLst>
        </pc:spChg>
        <pc:spChg chg="add del">
          <ac:chgData name="Fivestarly Lathong [Chillibreeze]" userId="479dc9aa-69ea-4a23-b6ea-3a9d26ac15ab" providerId="ADAL" clId="{013ED13C-6829-4378-A6EF-2B6A713739E1}" dt="2024-06-12T13:53:36.271" v="980" actId="478"/>
          <ac:spMkLst>
            <pc:docMk/>
            <pc:sldMk cId="0" sldId="282"/>
            <ac:spMk id="4535" creationId="{00000000-0000-0000-0000-000000000000}"/>
          </ac:spMkLst>
        </pc:spChg>
        <pc:spChg chg="add del">
          <ac:chgData name="Fivestarly Lathong [Chillibreeze]" userId="479dc9aa-69ea-4a23-b6ea-3a9d26ac15ab" providerId="ADAL" clId="{013ED13C-6829-4378-A6EF-2B6A713739E1}" dt="2024-06-12T13:53:36.271" v="980" actId="478"/>
          <ac:spMkLst>
            <pc:docMk/>
            <pc:sldMk cId="0" sldId="282"/>
            <ac:spMk id="4536" creationId="{00000000-0000-0000-0000-000000000000}"/>
          </ac:spMkLst>
        </pc:spChg>
        <pc:spChg chg="add del">
          <ac:chgData name="Fivestarly Lathong [Chillibreeze]" userId="479dc9aa-69ea-4a23-b6ea-3a9d26ac15ab" providerId="ADAL" clId="{013ED13C-6829-4378-A6EF-2B6A713739E1}" dt="2024-06-12T13:53:36.271" v="980" actId="478"/>
          <ac:spMkLst>
            <pc:docMk/>
            <pc:sldMk cId="0" sldId="282"/>
            <ac:spMk id="4537" creationId="{00000000-0000-0000-0000-000000000000}"/>
          </ac:spMkLst>
        </pc:spChg>
        <pc:spChg chg="add del">
          <ac:chgData name="Fivestarly Lathong [Chillibreeze]" userId="479dc9aa-69ea-4a23-b6ea-3a9d26ac15ab" providerId="ADAL" clId="{013ED13C-6829-4378-A6EF-2B6A713739E1}" dt="2024-06-12T13:53:36.271" v="980" actId="478"/>
          <ac:spMkLst>
            <pc:docMk/>
            <pc:sldMk cId="0" sldId="282"/>
            <ac:spMk id="4538" creationId="{00000000-0000-0000-0000-000000000000}"/>
          </ac:spMkLst>
        </pc:spChg>
        <pc:grpChg chg="add del mod">
          <ac:chgData name="Fivestarly Lathong [Chillibreeze]" userId="479dc9aa-69ea-4a23-b6ea-3a9d26ac15ab" providerId="ADAL" clId="{013ED13C-6829-4378-A6EF-2B6A713739E1}" dt="2024-06-12T13:54:35.469" v="985" actId="478"/>
          <ac:grpSpMkLst>
            <pc:docMk/>
            <pc:sldMk cId="0" sldId="282"/>
            <ac:grpSpMk id="10" creationId="{B57B5C67-DBBB-2D97-F0D4-68E1A94A72A5}"/>
          </ac:grpSpMkLst>
        </pc:grpChg>
        <pc:grpChg chg="add del mod">
          <ac:chgData name="Fivestarly Lathong [Chillibreeze]" userId="479dc9aa-69ea-4a23-b6ea-3a9d26ac15ab" providerId="ADAL" clId="{013ED13C-6829-4378-A6EF-2B6A713739E1}" dt="2024-06-12T13:54:35.469" v="985" actId="478"/>
          <ac:grpSpMkLst>
            <pc:docMk/>
            <pc:sldMk cId="0" sldId="282"/>
            <ac:grpSpMk id="15" creationId="{2D98EB0E-2E7D-11C9-CB99-6B99A10F309F}"/>
          </ac:grpSpMkLst>
        </pc:grpChg>
        <pc:grpChg chg="add mod ord">
          <ac:chgData name="Fivestarly Lathong [Chillibreeze]" userId="479dc9aa-69ea-4a23-b6ea-3a9d26ac15ab" providerId="ADAL" clId="{013ED13C-6829-4378-A6EF-2B6A713739E1}" dt="2024-06-12T13:54:37.951" v="987" actId="167"/>
          <ac:grpSpMkLst>
            <pc:docMk/>
            <pc:sldMk cId="0" sldId="282"/>
            <ac:grpSpMk id="26" creationId="{20498451-48B1-269A-63B4-4D08BACA1550}"/>
          </ac:grpSpMkLst>
        </pc:grpChg>
        <pc:grpChg chg="add mod ord">
          <ac:chgData name="Fivestarly Lathong [Chillibreeze]" userId="479dc9aa-69ea-4a23-b6ea-3a9d26ac15ab" providerId="ADAL" clId="{013ED13C-6829-4378-A6EF-2B6A713739E1}" dt="2024-06-12T13:54:37.951" v="987" actId="167"/>
          <ac:grpSpMkLst>
            <pc:docMk/>
            <pc:sldMk cId="0" sldId="282"/>
            <ac:grpSpMk id="31" creationId="{2210D7BF-78D5-4026-697C-A56272BEBF96}"/>
          </ac:grpSpMkLst>
        </pc:grpChg>
        <pc:picChg chg="add del mod">
          <ac:chgData name="Fivestarly Lathong [Chillibreeze]" userId="479dc9aa-69ea-4a23-b6ea-3a9d26ac15ab" providerId="ADAL" clId="{013ED13C-6829-4378-A6EF-2B6A713739E1}" dt="2024-06-12T13:54:35.469" v="985" actId="478"/>
          <ac:picMkLst>
            <pc:docMk/>
            <pc:sldMk cId="0" sldId="282"/>
            <ac:picMk id="14" creationId="{EFDE18EE-BC4B-4569-B0D9-584AAB04098D}"/>
          </ac:picMkLst>
        </pc:picChg>
        <pc:picChg chg="add del mod">
          <ac:chgData name="Fivestarly Lathong [Chillibreeze]" userId="479dc9aa-69ea-4a23-b6ea-3a9d26ac15ab" providerId="ADAL" clId="{013ED13C-6829-4378-A6EF-2B6A713739E1}" dt="2024-06-12T13:54:35.469" v="985" actId="478"/>
          <ac:picMkLst>
            <pc:docMk/>
            <pc:sldMk cId="0" sldId="282"/>
            <ac:picMk id="20" creationId="{2E052DDE-1268-9E7A-B4A2-8B4829CC008C}"/>
          </ac:picMkLst>
        </pc:picChg>
        <pc:picChg chg="add mod ord modCrop">
          <ac:chgData name="Fivestarly Lathong [Chillibreeze]" userId="479dc9aa-69ea-4a23-b6ea-3a9d26ac15ab" providerId="ADAL" clId="{013ED13C-6829-4378-A6EF-2B6A713739E1}" dt="2024-06-12T13:55:55.061" v="1012" actId="732"/>
          <ac:picMkLst>
            <pc:docMk/>
            <pc:sldMk cId="0" sldId="282"/>
            <ac:picMk id="30" creationId="{1A07DE57-3CB8-00F6-A50D-31B78DCF10E6}"/>
          </ac:picMkLst>
        </pc:picChg>
        <pc:picChg chg="add del mod ord">
          <ac:chgData name="Fivestarly Lathong [Chillibreeze]" userId="479dc9aa-69ea-4a23-b6ea-3a9d26ac15ab" providerId="ADAL" clId="{013ED13C-6829-4378-A6EF-2B6A713739E1}" dt="2024-06-12T13:54:55.790" v="992" actId="21"/>
          <ac:picMkLst>
            <pc:docMk/>
            <pc:sldMk cId="0" sldId="282"/>
            <ac:picMk id="36" creationId="{665760FB-D3DF-7B3A-4550-5E61726E1392}"/>
          </ac:picMkLst>
        </pc:picChg>
        <pc:picChg chg="add mod">
          <ac:chgData name="Fivestarly Lathong [Chillibreeze]" userId="479dc9aa-69ea-4a23-b6ea-3a9d26ac15ab" providerId="ADAL" clId="{013ED13C-6829-4378-A6EF-2B6A713739E1}" dt="2024-06-12T13:56:12.725" v="1019" actId="12788"/>
          <ac:picMkLst>
            <pc:docMk/>
            <pc:sldMk cId="0" sldId="282"/>
            <ac:picMk id="40" creationId="{9E4E6ACC-6EF4-8E72-CB89-5AACA2939B19}"/>
          </ac:picMkLst>
        </pc:picChg>
        <pc:picChg chg="add del">
          <ac:chgData name="Fivestarly Lathong [Chillibreeze]" userId="479dc9aa-69ea-4a23-b6ea-3a9d26ac15ab" providerId="ADAL" clId="{013ED13C-6829-4378-A6EF-2B6A713739E1}" dt="2024-06-12T13:53:36.271" v="980" actId="478"/>
          <ac:picMkLst>
            <pc:docMk/>
            <pc:sldMk cId="0" sldId="282"/>
            <ac:picMk id="4534" creationId="{00000000-0000-0000-0000-000000000000}"/>
          </ac:picMkLst>
        </pc:picChg>
      </pc:sldChg>
      <pc:sldChg chg="addSp delSp modSp mod setBg modClrScheme chgLayout">
        <pc:chgData name="Fivestarly Lathong [Chillibreeze]" userId="479dc9aa-69ea-4a23-b6ea-3a9d26ac15ab" providerId="ADAL" clId="{013ED13C-6829-4378-A6EF-2B6A713739E1}" dt="2024-06-12T13:58:50.875" v="1104" actId="12789"/>
        <pc:sldMkLst>
          <pc:docMk/>
          <pc:sldMk cId="0" sldId="283"/>
        </pc:sldMkLst>
        <pc:spChg chg="del mod">
          <ac:chgData name="Fivestarly Lathong [Chillibreeze]" userId="479dc9aa-69ea-4a23-b6ea-3a9d26ac15ab" providerId="ADAL" clId="{013ED13C-6829-4378-A6EF-2B6A713739E1}" dt="2024-06-12T13:56:29.652" v="1021" actId="478"/>
          <ac:spMkLst>
            <pc:docMk/>
            <pc:sldMk cId="0" sldId="283"/>
            <ac:spMk id="2" creationId="{D3C206CB-76CF-51C2-2A8D-03CBCD5777A8}"/>
          </ac:spMkLst>
        </pc:spChg>
        <pc:spChg chg="add del mod ord">
          <ac:chgData name="Fivestarly Lathong [Chillibreeze]" userId="479dc9aa-69ea-4a23-b6ea-3a9d26ac15ab" providerId="ADAL" clId="{013ED13C-6829-4378-A6EF-2B6A713739E1}" dt="2024-06-12T13:56:39.617" v="1025" actId="700"/>
          <ac:spMkLst>
            <pc:docMk/>
            <pc:sldMk cId="0" sldId="283"/>
            <ac:spMk id="4" creationId="{3C18335B-E201-4954-232D-6FA17A1779F8}"/>
          </ac:spMkLst>
        </pc:spChg>
        <pc:spChg chg="add mod ord">
          <ac:chgData name="Fivestarly Lathong [Chillibreeze]" userId="479dc9aa-69ea-4a23-b6ea-3a9d26ac15ab" providerId="ADAL" clId="{013ED13C-6829-4378-A6EF-2B6A713739E1}" dt="2024-06-12T13:56:41.738" v="1027" actId="167"/>
          <ac:spMkLst>
            <pc:docMk/>
            <pc:sldMk cId="0" sldId="283"/>
            <ac:spMk id="5" creationId="{151B6B05-27DB-2A8A-F9CA-4A277B2DEC13}"/>
          </ac:spMkLst>
        </pc:spChg>
        <pc:spChg chg="add mod ord">
          <ac:chgData name="Fivestarly Lathong [Chillibreeze]" userId="479dc9aa-69ea-4a23-b6ea-3a9d26ac15ab" providerId="ADAL" clId="{013ED13C-6829-4378-A6EF-2B6A713739E1}" dt="2024-06-12T13:56:41.738" v="1027" actId="167"/>
          <ac:spMkLst>
            <pc:docMk/>
            <pc:sldMk cId="0" sldId="283"/>
            <ac:spMk id="6" creationId="{7F4980D3-88D0-0358-93E3-B299B216F113}"/>
          </ac:spMkLst>
        </pc:spChg>
        <pc:spChg chg="add mod ord">
          <ac:chgData name="Fivestarly Lathong [Chillibreeze]" userId="479dc9aa-69ea-4a23-b6ea-3a9d26ac15ab" providerId="ADAL" clId="{013ED13C-6829-4378-A6EF-2B6A713739E1}" dt="2024-06-12T13:56:41.738" v="1027" actId="167"/>
          <ac:spMkLst>
            <pc:docMk/>
            <pc:sldMk cId="0" sldId="283"/>
            <ac:spMk id="7" creationId="{C92A4EF7-CCE8-0412-17F3-B7F4E309EB5D}"/>
          </ac:spMkLst>
        </pc:spChg>
        <pc:spChg chg="mod">
          <ac:chgData name="Fivestarly Lathong [Chillibreeze]" userId="479dc9aa-69ea-4a23-b6ea-3a9d26ac15ab" providerId="ADAL" clId="{013ED13C-6829-4378-A6EF-2B6A713739E1}" dt="2024-06-12T13:56:35.681" v="1024"/>
          <ac:spMkLst>
            <pc:docMk/>
            <pc:sldMk cId="0" sldId="283"/>
            <ac:spMk id="9" creationId="{13BD8CEE-F943-49AC-6954-26BDBFA60EBD}"/>
          </ac:spMkLst>
        </pc:spChg>
        <pc:spChg chg="mod">
          <ac:chgData name="Fivestarly Lathong [Chillibreeze]" userId="479dc9aa-69ea-4a23-b6ea-3a9d26ac15ab" providerId="ADAL" clId="{013ED13C-6829-4378-A6EF-2B6A713739E1}" dt="2024-06-12T13:56:35.681" v="1024"/>
          <ac:spMkLst>
            <pc:docMk/>
            <pc:sldMk cId="0" sldId="283"/>
            <ac:spMk id="10" creationId="{4F42D960-5D74-9691-9E02-6FD037320DE9}"/>
          </ac:spMkLst>
        </pc:spChg>
        <pc:spChg chg="add mod ord">
          <ac:chgData name="Fivestarly Lathong [Chillibreeze]" userId="479dc9aa-69ea-4a23-b6ea-3a9d26ac15ab" providerId="ADAL" clId="{013ED13C-6829-4378-A6EF-2B6A713739E1}" dt="2024-06-12T13:58:50.875" v="1104" actId="12789"/>
          <ac:spMkLst>
            <pc:docMk/>
            <pc:sldMk cId="0" sldId="283"/>
            <ac:spMk id="11" creationId="{16CED005-4E87-21F5-4CE6-09D2D067EEE8}"/>
          </ac:spMkLst>
        </pc:spChg>
        <pc:spChg chg="mod">
          <ac:chgData name="Fivestarly Lathong [Chillibreeze]" userId="479dc9aa-69ea-4a23-b6ea-3a9d26ac15ab" providerId="ADAL" clId="{013ED13C-6829-4378-A6EF-2B6A713739E1}" dt="2024-06-12T13:56:35.681" v="1024"/>
          <ac:spMkLst>
            <pc:docMk/>
            <pc:sldMk cId="0" sldId="283"/>
            <ac:spMk id="13" creationId="{BF01154F-C8E9-64F1-1DB6-815DDCFAEB8F}"/>
          </ac:spMkLst>
        </pc:spChg>
        <pc:spChg chg="mod">
          <ac:chgData name="Fivestarly Lathong [Chillibreeze]" userId="479dc9aa-69ea-4a23-b6ea-3a9d26ac15ab" providerId="ADAL" clId="{013ED13C-6829-4378-A6EF-2B6A713739E1}" dt="2024-06-12T13:56:35.681" v="1024"/>
          <ac:spMkLst>
            <pc:docMk/>
            <pc:sldMk cId="0" sldId="283"/>
            <ac:spMk id="14" creationId="{F69D2832-0DC3-AEA2-0AB0-3A39A2ACCC94}"/>
          </ac:spMkLst>
        </pc:spChg>
        <pc:spChg chg="mod">
          <ac:chgData name="Fivestarly Lathong [Chillibreeze]" userId="479dc9aa-69ea-4a23-b6ea-3a9d26ac15ab" providerId="ADAL" clId="{013ED13C-6829-4378-A6EF-2B6A713739E1}" dt="2024-06-12T13:56:35.681" v="1024"/>
          <ac:spMkLst>
            <pc:docMk/>
            <pc:sldMk cId="0" sldId="283"/>
            <ac:spMk id="15" creationId="{304AEA07-A0A7-4E0C-E1AB-2C380A1EAAB2}"/>
          </ac:spMkLst>
        </pc:spChg>
        <pc:spChg chg="add del mod ord">
          <ac:chgData name="Fivestarly Lathong [Chillibreeze]" userId="479dc9aa-69ea-4a23-b6ea-3a9d26ac15ab" providerId="ADAL" clId="{013ED13C-6829-4378-A6EF-2B6A713739E1}" dt="2024-06-12T13:57:06.831" v="1060" actId="21"/>
          <ac:spMkLst>
            <pc:docMk/>
            <pc:sldMk cId="0" sldId="283"/>
            <ac:spMk id="16" creationId="{69831EAE-7FDD-1F6E-5D99-0842ACF169AC}"/>
          </ac:spMkLst>
        </pc:spChg>
        <pc:spChg chg="add mod ord">
          <ac:chgData name="Fivestarly Lathong [Chillibreeze]" userId="479dc9aa-69ea-4a23-b6ea-3a9d26ac15ab" providerId="ADAL" clId="{013ED13C-6829-4378-A6EF-2B6A713739E1}" dt="2024-06-12T13:56:41.738" v="1027" actId="167"/>
          <ac:spMkLst>
            <pc:docMk/>
            <pc:sldMk cId="0" sldId="283"/>
            <ac:spMk id="17" creationId="{5FB698BC-C9AB-707C-DE52-5695F57411B9}"/>
          </ac:spMkLst>
        </pc:spChg>
        <pc:spChg chg="add mod ord">
          <ac:chgData name="Fivestarly Lathong [Chillibreeze]" userId="479dc9aa-69ea-4a23-b6ea-3a9d26ac15ab" providerId="ADAL" clId="{013ED13C-6829-4378-A6EF-2B6A713739E1}" dt="2024-06-12T13:57:33.573" v="1069" actId="113"/>
          <ac:spMkLst>
            <pc:docMk/>
            <pc:sldMk cId="0" sldId="283"/>
            <ac:spMk id="18" creationId="{E998B36D-62C2-D2F9-2732-A8A1DE851393}"/>
          </ac:spMkLst>
        </pc:spChg>
        <pc:spChg chg="add mod ord">
          <ac:chgData name="Fivestarly Lathong [Chillibreeze]" userId="479dc9aa-69ea-4a23-b6ea-3a9d26ac15ab" providerId="ADAL" clId="{013ED13C-6829-4378-A6EF-2B6A713739E1}" dt="2024-06-12T13:57:04.718" v="1059"/>
          <ac:spMkLst>
            <pc:docMk/>
            <pc:sldMk cId="0" sldId="283"/>
            <ac:spMk id="21" creationId="{AC2AA5CD-1100-269C-4D75-66787C793D3C}"/>
          </ac:spMkLst>
        </pc:spChg>
        <pc:spChg chg="add del mod">
          <ac:chgData name="Fivestarly Lathong [Chillibreeze]" userId="479dc9aa-69ea-4a23-b6ea-3a9d26ac15ab" providerId="ADAL" clId="{013ED13C-6829-4378-A6EF-2B6A713739E1}" dt="2024-06-12T13:57:35.441" v="1070" actId="21"/>
          <ac:spMkLst>
            <pc:docMk/>
            <pc:sldMk cId="0" sldId="283"/>
            <ac:spMk id="22" creationId="{E0B32818-CED3-EA4C-B41D-7E36D013261F}"/>
          </ac:spMkLst>
        </pc:spChg>
        <pc:spChg chg="del">
          <ac:chgData name="Fivestarly Lathong [Chillibreeze]" userId="479dc9aa-69ea-4a23-b6ea-3a9d26ac15ab" providerId="ADAL" clId="{013ED13C-6829-4378-A6EF-2B6A713739E1}" dt="2024-06-12T13:56:29.652" v="1021" actId="478"/>
          <ac:spMkLst>
            <pc:docMk/>
            <pc:sldMk cId="0" sldId="283"/>
            <ac:spMk id="4543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56:29.652" v="1021" actId="478"/>
          <ac:spMkLst>
            <pc:docMk/>
            <pc:sldMk cId="0" sldId="283"/>
            <ac:spMk id="4544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56:29.652" v="1021" actId="478"/>
          <ac:spMkLst>
            <pc:docMk/>
            <pc:sldMk cId="0" sldId="283"/>
            <ac:spMk id="4545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56:29.652" v="1021" actId="478"/>
          <ac:spMkLst>
            <pc:docMk/>
            <pc:sldMk cId="0" sldId="283"/>
            <ac:spMk id="4546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56:29.652" v="1021" actId="478"/>
          <ac:spMkLst>
            <pc:docMk/>
            <pc:sldMk cId="0" sldId="283"/>
            <ac:spMk id="4548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56:29.652" v="1021" actId="478"/>
          <ac:spMkLst>
            <pc:docMk/>
            <pc:sldMk cId="0" sldId="283"/>
            <ac:spMk id="4549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56:29.652" v="1021" actId="478"/>
          <ac:spMkLst>
            <pc:docMk/>
            <pc:sldMk cId="0" sldId="283"/>
            <ac:spMk id="4550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3:56:29.652" v="1021" actId="478"/>
          <ac:spMkLst>
            <pc:docMk/>
            <pc:sldMk cId="0" sldId="283"/>
            <ac:spMk id="4551" creationId="{00000000-0000-0000-0000-000000000000}"/>
          </ac:spMkLst>
        </pc:spChg>
        <pc:grpChg chg="add mod ord">
          <ac:chgData name="Fivestarly Lathong [Chillibreeze]" userId="479dc9aa-69ea-4a23-b6ea-3a9d26ac15ab" providerId="ADAL" clId="{013ED13C-6829-4378-A6EF-2B6A713739E1}" dt="2024-06-12T13:56:41.738" v="1027" actId="167"/>
          <ac:grpSpMkLst>
            <pc:docMk/>
            <pc:sldMk cId="0" sldId="283"/>
            <ac:grpSpMk id="8" creationId="{03CC77B8-8068-475D-3C4C-B2BDC5E1921F}"/>
          </ac:grpSpMkLst>
        </pc:grpChg>
        <pc:grpChg chg="add mod ord">
          <ac:chgData name="Fivestarly Lathong [Chillibreeze]" userId="479dc9aa-69ea-4a23-b6ea-3a9d26ac15ab" providerId="ADAL" clId="{013ED13C-6829-4378-A6EF-2B6A713739E1}" dt="2024-06-12T13:56:41.738" v="1027" actId="167"/>
          <ac:grpSpMkLst>
            <pc:docMk/>
            <pc:sldMk cId="0" sldId="283"/>
            <ac:grpSpMk id="12" creationId="{F50CF7BD-81B2-FA1C-8AA6-D1E4E76C8AED}"/>
          </ac:grpSpMkLst>
        </pc:grpChg>
        <pc:picChg chg="add mod ord">
          <ac:chgData name="Fivestarly Lathong [Chillibreeze]" userId="479dc9aa-69ea-4a23-b6ea-3a9d26ac15ab" providerId="ADAL" clId="{013ED13C-6829-4378-A6EF-2B6A713739E1}" dt="2024-06-12T13:56:41.738" v="1027" actId="167"/>
          <ac:picMkLst>
            <pc:docMk/>
            <pc:sldMk cId="0" sldId="283"/>
            <ac:picMk id="19" creationId="{7457F8DD-9A51-C356-66CE-8E0181045615}"/>
          </ac:picMkLst>
        </pc:picChg>
        <pc:picChg chg="add del mod ord">
          <ac:chgData name="Fivestarly Lathong [Chillibreeze]" userId="479dc9aa-69ea-4a23-b6ea-3a9d26ac15ab" providerId="ADAL" clId="{013ED13C-6829-4378-A6EF-2B6A713739E1}" dt="2024-06-12T13:58:44.827" v="1100" actId="21"/>
          <ac:picMkLst>
            <pc:docMk/>
            <pc:sldMk cId="0" sldId="283"/>
            <ac:picMk id="20" creationId="{9F2B9EE6-9BCE-536C-02C7-1B0771FBE39C}"/>
          </ac:picMkLst>
        </pc:picChg>
        <pc:picChg chg="add del mod">
          <ac:chgData name="Fivestarly Lathong [Chillibreeze]" userId="479dc9aa-69ea-4a23-b6ea-3a9d26ac15ab" providerId="ADAL" clId="{013ED13C-6829-4378-A6EF-2B6A713739E1}" dt="2024-06-12T13:57:56.045" v="1075" actId="21"/>
          <ac:picMkLst>
            <pc:docMk/>
            <pc:sldMk cId="0" sldId="283"/>
            <ac:picMk id="23" creationId="{B12E0AF6-9CF1-DA97-C3D5-4D84D6DE6652}"/>
          </ac:picMkLst>
        </pc:picChg>
        <pc:picChg chg="del mod">
          <ac:chgData name="Fivestarly Lathong [Chillibreeze]" userId="479dc9aa-69ea-4a23-b6ea-3a9d26ac15ab" providerId="ADAL" clId="{013ED13C-6829-4378-A6EF-2B6A713739E1}" dt="2024-06-12T13:58:22.974" v="1092" actId="21"/>
          <ac:picMkLst>
            <pc:docMk/>
            <pc:sldMk cId="0" sldId="283"/>
            <ac:picMk id="24" creationId="{3C20A814-1928-B1D5-BA80-ECCA8B1436ED}"/>
          </ac:picMkLst>
        </pc:picChg>
        <pc:picChg chg="del mod">
          <ac:chgData name="Fivestarly Lathong [Chillibreeze]" userId="479dc9aa-69ea-4a23-b6ea-3a9d26ac15ab" providerId="ADAL" clId="{013ED13C-6829-4378-A6EF-2B6A713739E1}" dt="2024-06-12T13:58:32.971" v="1095" actId="21"/>
          <ac:picMkLst>
            <pc:docMk/>
            <pc:sldMk cId="0" sldId="283"/>
            <ac:picMk id="25" creationId="{D22FF961-F218-981F-3B6C-0D99F4BD4EEE}"/>
          </ac:picMkLst>
        </pc:picChg>
        <pc:picChg chg="mod">
          <ac:chgData name="Fivestarly Lathong [Chillibreeze]" userId="479dc9aa-69ea-4a23-b6ea-3a9d26ac15ab" providerId="ADAL" clId="{013ED13C-6829-4378-A6EF-2B6A713739E1}" dt="2024-06-12T13:58:50.875" v="1104" actId="12789"/>
          <ac:picMkLst>
            <pc:docMk/>
            <pc:sldMk cId="0" sldId="283"/>
            <ac:picMk id="26" creationId="{6171C311-B2AF-1E21-6A39-5A851F6563BF}"/>
          </ac:picMkLst>
        </pc:picChg>
        <pc:picChg chg="del">
          <ac:chgData name="Fivestarly Lathong [Chillibreeze]" userId="479dc9aa-69ea-4a23-b6ea-3a9d26ac15ab" providerId="ADAL" clId="{013ED13C-6829-4378-A6EF-2B6A713739E1}" dt="2024-06-12T13:56:29.652" v="1021" actId="478"/>
          <ac:picMkLst>
            <pc:docMk/>
            <pc:sldMk cId="0" sldId="283"/>
            <ac:picMk id="4547" creationId="{00000000-0000-0000-0000-000000000000}"/>
          </ac:picMkLst>
        </pc:picChg>
      </pc:sldChg>
      <pc:sldChg chg="addSp delSp modSp mod setBg chgLayout">
        <pc:chgData name="Fivestarly Lathong [Chillibreeze]" userId="479dc9aa-69ea-4a23-b6ea-3a9d26ac15ab" providerId="ADAL" clId="{013ED13C-6829-4378-A6EF-2B6A713739E1}" dt="2024-06-12T15:24:00.879" v="2843" actId="1076"/>
        <pc:sldMkLst>
          <pc:docMk/>
          <pc:sldMk cId="0" sldId="284"/>
        </pc:sldMkLst>
        <pc:spChg chg="del">
          <ac:chgData name="Fivestarly Lathong [Chillibreeze]" userId="479dc9aa-69ea-4a23-b6ea-3a9d26ac15ab" providerId="ADAL" clId="{013ED13C-6829-4378-A6EF-2B6A713739E1}" dt="2024-06-12T15:20:06.491" v="2753" actId="21"/>
          <ac:spMkLst>
            <pc:docMk/>
            <pc:sldMk cId="0" sldId="284"/>
            <ac:spMk id="2" creationId="{5936A221-99AF-82C4-1FB3-E5B4815CDF04}"/>
          </ac:spMkLst>
        </pc:spChg>
        <pc:spChg chg="del mod">
          <ac:chgData name="Fivestarly Lathong [Chillibreeze]" userId="479dc9aa-69ea-4a23-b6ea-3a9d26ac15ab" providerId="ADAL" clId="{013ED13C-6829-4378-A6EF-2B6A713739E1}" dt="2024-06-12T15:20:06.491" v="2753" actId="21"/>
          <ac:spMkLst>
            <pc:docMk/>
            <pc:sldMk cId="0" sldId="284"/>
            <ac:spMk id="3" creationId="{64D04133-B5CD-97D1-07E4-C74B493D262E}"/>
          </ac:spMkLst>
        </pc:spChg>
        <pc:spChg chg="add mod ord">
          <ac:chgData name="Fivestarly Lathong [Chillibreeze]" userId="479dc9aa-69ea-4a23-b6ea-3a9d26ac15ab" providerId="ADAL" clId="{013ED13C-6829-4378-A6EF-2B6A713739E1}" dt="2024-06-12T15:20:18.368" v="2758" actId="167"/>
          <ac:spMkLst>
            <pc:docMk/>
            <pc:sldMk cId="0" sldId="284"/>
            <ac:spMk id="4" creationId="{30F67B84-ED86-BD7D-49A6-3BED13966F83}"/>
          </ac:spMkLst>
        </pc:spChg>
        <pc:spChg chg="add mod ord">
          <ac:chgData name="Fivestarly Lathong [Chillibreeze]" userId="479dc9aa-69ea-4a23-b6ea-3a9d26ac15ab" providerId="ADAL" clId="{013ED13C-6829-4378-A6EF-2B6A713739E1}" dt="2024-06-12T15:20:18.368" v="2758" actId="167"/>
          <ac:spMkLst>
            <pc:docMk/>
            <pc:sldMk cId="0" sldId="284"/>
            <ac:spMk id="5" creationId="{13FB194F-54E5-5C65-E89B-6D6E78A289F6}"/>
          </ac:spMkLst>
        </pc:spChg>
        <pc:spChg chg="add mod ord">
          <ac:chgData name="Fivestarly Lathong [Chillibreeze]" userId="479dc9aa-69ea-4a23-b6ea-3a9d26ac15ab" providerId="ADAL" clId="{013ED13C-6829-4378-A6EF-2B6A713739E1}" dt="2024-06-12T15:20:18.368" v="2758" actId="167"/>
          <ac:spMkLst>
            <pc:docMk/>
            <pc:sldMk cId="0" sldId="284"/>
            <ac:spMk id="6" creationId="{08ADCAAD-ADA6-7B9F-FF6B-B64920418A02}"/>
          </ac:spMkLst>
        </pc:spChg>
        <pc:spChg chg="mod">
          <ac:chgData name="Fivestarly Lathong [Chillibreeze]" userId="479dc9aa-69ea-4a23-b6ea-3a9d26ac15ab" providerId="ADAL" clId="{013ED13C-6829-4378-A6EF-2B6A713739E1}" dt="2024-06-12T15:20:16.154" v="2756"/>
          <ac:spMkLst>
            <pc:docMk/>
            <pc:sldMk cId="0" sldId="284"/>
            <ac:spMk id="8" creationId="{3204DF2B-4EAA-53D1-36C4-C5ED25C4DC21}"/>
          </ac:spMkLst>
        </pc:spChg>
        <pc:spChg chg="mod">
          <ac:chgData name="Fivestarly Lathong [Chillibreeze]" userId="479dc9aa-69ea-4a23-b6ea-3a9d26ac15ab" providerId="ADAL" clId="{013ED13C-6829-4378-A6EF-2B6A713739E1}" dt="2024-06-12T15:20:16.154" v="2756"/>
          <ac:spMkLst>
            <pc:docMk/>
            <pc:sldMk cId="0" sldId="284"/>
            <ac:spMk id="9" creationId="{23EC615E-35DB-7CD7-138C-F3D657AA50CA}"/>
          </ac:spMkLst>
        </pc:spChg>
        <pc:spChg chg="add del mod ord">
          <ac:chgData name="Fivestarly Lathong [Chillibreeze]" userId="479dc9aa-69ea-4a23-b6ea-3a9d26ac15ab" providerId="ADAL" clId="{013ED13C-6829-4378-A6EF-2B6A713739E1}" dt="2024-06-12T15:20:25.646" v="2761" actId="21"/>
          <ac:spMkLst>
            <pc:docMk/>
            <pc:sldMk cId="0" sldId="284"/>
            <ac:spMk id="10" creationId="{C16F1CE1-213C-A592-FD48-BD5BED16649D}"/>
          </ac:spMkLst>
        </pc:spChg>
        <pc:spChg chg="mod">
          <ac:chgData name="Fivestarly Lathong [Chillibreeze]" userId="479dc9aa-69ea-4a23-b6ea-3a9d26ac15ab" providerId="ADAL" clId="{013ED13C-6829-4378-A6EF-2B6A713739E1}" dt="2024-06-12T15:20:16.154" v="2756"/>
          <ac:spMkLst>
            <pc:docMk/>
            <pc:sldMk cId="0" sldId="284"/>
            <ac:spMk id="12" creationId="{EC89D41B-DE40-871D-F1BD-3680357C076D}"/>
          </ac:spMkLst>
        </pc:spChg>
        <pc:spChg chg="mod">
          <ac:chgData name="Fivestarly Lathong [Chillibreeze]" userId="479dc9aa-69ea-4a23-b6ea-3a9d26ac15ab" providerId="ADAL" clId="{013ED13C-6829-4378-A6EF-2B6A713739E1}" dt="2024-06-12T15:20:16.154" v="2756"/>
          <ac:spMkLst>
            <pc:docMk/>
            <pc:sldMk cId="0" sldId="284"/>
            <ac:spMk id="13" creationId="{397163BE-59D2-D395-06EC-DCA537265091}"/>
          </ac:spMkLst>
        </pc:spChg>
        <pc:spChg chg="mod">
          <ac:chgData name="Fivestarly Lathong [Chillibreeze]" userId="479dc9aa-69ea-4a23-b6ea-3a9d26ac15ab" providerId="ADAL" clId="{013ED13C-6829-4378-A6EF-2B6A713739E1}" dt="2024-06-12T15:20:16.154" v="2756"/>
          <ac:spMkLst>
            <pc:docMk/>
            <pc:sldMk cId="0" sldId="284"/>
            <ac:spMk id="14" creationId="{3270ADFB-4DEC-7834-76AB-554853E0F8D7}"/>
          </ac:spMkLst>
        </pc:spChg>
        <pc:spChg chg="add mod ord">
          <ac:chgData name="Fivestarly Lathong [Chillibreeze]" userId="479dc9aa-69ea-4a23-b6ea-3a9d26ac15ab" providerId="ADAL" clId="{013ED13C-6829-4378-A6EF-2B6A713739E1}" dt="2024-06-12T15:20:29.201" v="2762" actId="465"/>
          <ac:spMkLst>
            <pc:docMk/>
            <pc:sldMk cId="0" sldId="284"/>
            <ac:spMk id="15" creationId="{662DA307-3A2E-124A-75A9-9BE0AD291E51}"/>
          </ac:spMkLst>
        </pc:spChg>
        <pc:spChg chg="add del mod ord">
          <ac:chgData name="Fivestarly Lathong [Chillibreeze]" userId="479dc9aa-69ea-4a23-b6ea-3a9d26ac15ab" providerId="ADAL" clId="{013ED13C-6829-4378-A6EF-2B6A713739E1}" dt="2024-06-12T15:20:45.849" v="2763" actId="21"/>
          <ac:spMkLst>
            <pc:docMk/>
            <pc:sldMk cId="0" sldId="284"/>
            <ac:spMk id="16" creationId="{915BD4D9-5BEF-B199-B609-0689A7909D5E}"/>
          </ac:spMkLst>
        </pc:spChg>
        <pc:spChg chg="add del mod ord">
          <ac:chgData name="Fivestarly Lathong [Chillibreeze]" userId="479dc9aa-69ea-4a23-b6ea-3a9d26ac15ab" providerId="ADAL" clId="{013ED13C-6829-4378-A6EF-2B6A713739E1}" dt="2024-06-12T15:20:45.849" v="2763" actId="21"/>
          <ac:spMkLst>
            <pc:docMk/>
            <pc:sldMk cId="0" sldId="284"/>
            <ac:spMk id="17" creationId="{0B261106-34A8-64EE-69A4-871BD8839ADD}"/>
          </ac:spMkLst>
        </pc:spChg>
        <pc:spChg chg="add del mod">
          <ac:chgData name="Fivestarly Lathong [Chillibreeze]" userId="479dc9aa-69ea-4a23-b6ea-3a9d26ac15ab" providerId="ADAL" clId="{013ED13C-6829-4378-A6EF-2B6A713739E1}" dt="2024-06-12T15:20:22.234" v="2760" actId="6264"/>
          <ac:spMkLst>
            <pc:docMk/>
            <pc:sldMk cId="0" sldId="284"/>
            <ac:spMk id="20" creationId="{D206BD66-0D2A-4C11-B67D-85D65D1012C6}"/>
          </ac:spMkLst>
        </pc:spChg>
        <pc:spChg chg="add mod ord">
          <ac:chgData name="Fivestarly Lathong [Chillibreeze]" userId="479dc9aa-69ea-4a23-b6ea-3a9d26ac15ab" providerId="ADAL" clId="{013ED13C-6829-4378-A6EF-2B6A713739E1}" dt="2024-06-12T15:23:55.947" v="2841" actId="164"/>
          <ac:spMkLst>
            <pc:docMk/>
            <pc:sldMk cId="0" sldId="284"/>
            <ac:spMk id="28" creationId="{57C2E21F-0302-D1E8-720A-1B2430A814FE}"/>
          </ac:spMkLst>
        </pc:spChg>
        <pc:spChg chg="del">
          <ac:chgData name="Fivestarly Lathong [Chillibreeze]" userId="479dc9aa-69ea-4a23-b6ea-3a9d26ac15ab" providerId="ADAL" clId="{013ED13C-6829-4378-A6EF-2B6A713739E1}" dt="2024-06-12T15:20:06.491" v="2753" actId="21"/>
          <ac:spMkLst>
            <pc:docMk/>
            <pc:sldMk cId="0" sldId="284"/>
            <ac:spMk id="4556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5:20:06.491" v="2753" actId="21"/>
          <ac:spMkLst>
            <pc:docMk/>
            <pc:sldMk cId="0" sldId="284"/>
            <ac:spMk id="4559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5:20:06.491" v="2753" actId="21"/>
          <ac:spMkLst>
            <pc:docMk/>
            <pc:sldMk cId="0" sldId="284"/>
            <ac:spMk id="4560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5:20:06.491" v="2753" actId="21"/>
          <ac:spMkLst>
            <pc:docMk/>
            <pc:sldMk cId="0" sldId="284"/>
            <ac:spMk id="4561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5:20:06.491" v="2753" actId="21"/>
          <ac:spMkLst>
            <pc:docMk/>
            <pc:sldMk cId="0" sldId="284"/>
            <ac:spMk id="4562" creationId="{00000000-0000-0000-0000-000000000000}"/>
          </ac:spMkLst>
        </pc:spChg>
        <pc:grpChg chg="add del mod ord">
          <ac:chgData name="Fivestarly Lathong [Chillibreeze]" userId="479dc9aa-69ea-4a23-b6ea-3a9d26ac15ab" providerId="ADAL" clId="{013ED13C-6829-4378-A6EF-2B6A713739E1}" dt="2024-06-12T15:20:45.849" v="2763" actId="21"/>
          <ac:grpSpMkLst>
            <pc:docMk/>
            <pc:sldMk cId="0" sldId="284"/>
            <ac:grpSpMk id="7" creationId="{AF40E938-36BE-BF98-5D33-30C4AE1D9908}"/>
          </ac:grpSpMkLst>
        </pc:grpChg>
        <pc:grpChg chg="add mod ord">
          <ac:chgData name="Fivestarly Lathong [Chillibreeze]" userId="479dc9aa-69ea-4a23-b6ea-3a9d26ac15ab" providerId="ADAL" clId="{013ED13C-6829-4378-A6EF-2B6A713739E1}" dt="2024-06-12T15:20:18.368" v="2758" actId="167"/>
          <ac:grpSpMkLst>
            <pc:docMk/>
            <pc:sldMk cId="0" sldId="284"/>
            <ac:grpSpMk id="11" creationId="{990871C5-85F2-15DB-16EF-15260937F708}"/>
          </ac:grpSpMkLst>
        </pc:grpChg>
        <pc:grpChg chg="add del mod">
          <ac:chgData name="Fivestarly Lathong [Chillibreeze]" userId="479dc9aa-69ea-4a23-b6ea-3a9d26ac15ab" providerId="ADAL" clId="{013ED13C-6829-4378-A6EF-2B6A713739E1}" dt="2024-06-12T15:21:34.086" v="2768" actId="165"/>
          <ac:grpSpMkLst>
            <pc:docMk/>
            <pc:sldMk cId="0" sldId="284"/>
            <ac:grpSpMk id="27" creationId="{71C7F64D-17A5-C2CB-E18F-6764335FFB57}"/>
          </ac:grpSpMkLst>
        </pc:grpChg>
        <pc:grpChg chg="add mod">
          <ac:chgData name="Fivestarly Lathong [Chillibreeze]" userId="479dc9aa-69ea-4a23-b6ea-3a9d26ac15ab" providerId="ADAL" clId="{013ED13C-6829-4378-A6EF-2B6A713739E1}" dt="2024-06-12T15:23:31.947" v="2827" actId="164"/>
          <ac:grpSpMkLst>
            <pc:docMk/>
            <pc:sldMk cId="0" sldId="284"/>
            <ac:grpSpMk id="29" creationId="{14923C16-1B10-56AD-5AA2-8530542E382E}"/>
          </ac:grpSpMkLst>
        </pc:grpChg>
        <pc:grpChg chg="add mod">
          <ac:chgData name="Fivestarly Lathong [Chillibreeze]" userId="479dc9aa-69ea-4a23-b6ea-3a9d26ac15ab" providerId="ADAL" clId="{013ED13C-6829-4378-A6EF-2B6A713739E1}" dt="2024-06-12T15:23:31.947" v="2827" actId="164"/>
          <ac:grpSpMkLst>
            <pc:docMk/>
            <pc:sldMk cId="0" sldId="284"/>
            <ac:grpSpMk id="30" creationId="{DB9B8C11-1648-DF1A-7E8D-82566021EAE6}"/>
          </ac:grpSpMkLst>
        </pc:grpChg>
        <pc:grpChg chg="add mod">
          <ac:chgData name="Fivestarly Lathong [Chillibreeze]" userId="479dc9aa-69ea-4a23-b6ea-3a9d26ac15ab" providerId="ADAL" clId="{013ED13C-6829-4378-A6EF-2B6A713739E1}" dt="2024-06-12T15:23:55.947" v="2841" actId="164"/>
          <ac:grpSpMkLst>
            <pc:docMk/>
            <pc:sldMk cId="0" sldId="284"/>
            <ac:grpSpMk id="31" creationId="{AA5041E7-5707-D32D-C58A-748E18109DE6}"/>
          </ac:grpSpMkLst>
        </pc:grpChg>
        <pc:grpChg chg="add mod">
          <ac:chgData name="Fivestarly Lathong [Chillibreeze]" userId="479dc9aa-69ea-4a23-b6ea-3a9d26ac15ab" providerId="ADAL" clId="{013ED13C-6829-4378-A6EF-2B6A713739E1}" dt="2024-06-12T15:24:00.879" v="2843" actId="1076"/>
          <ac:grpSpMkLst>
            <pc:docMk/>
            <pc:sldMk cId="0" sldId="284"/>
            <ac:grpSpMk id="32" creationId="{4D61A36F-A021-5792-82BD-E0A6466CF039}"/>
          </ac:grpSpMkLst>
        </pc:grpChg>
        <pc:picChg chg="add mod ord">
          <ac:chgData name="Fivestarly Lathong [Chillibreeze]" userId="479dc9aa-69ea-4a23-b6ea-3a9d26ac15ab" providerId="ADAL" clId="{013ED13C-6829-4378-A6EF-2B6A713739E1}" dt="2024-06-12T15:20:18.368" v="2758" actId="167"/>
          <ac:picMkLst>
            <pc:docMk/>
            <pc:sldMk cId="0" sldId="284"/>
            <ac:picMk id="18" creationId="{A617897A-BE7C-796A-423D-9E598E431790}"/>
          </ac:picMkLst>
        </pc:picChg>
        <pc:picChg chg="add del mod ord">
          <ac:chgData name="Fivestarly Lathong [Chillibreeze]" userId="479dc9aa-69ea-4a23-b6ea-3a9d26ac15ab" providerId="ADAL" clId="{013ED13C-6829-4378-A6EF-2B6A713739E1}" dt="2024-06-12T15:20:25.646" v="2761" actId="21"/>
          <ac:picMkLst>
            <pc:docMk/>
            <pc:sldMk cId="0" sldId="284"/>
            <ac:picMk id="19" creationId="{DBDEB9E3-BD25-8F57-61A7-3A433B75610A}"/>
          </ac:picMkLst>
        </pc:picChg>
        <pc:picChg chg="add mod ord topLvl">
          <ac:chgData name="Fivestarly Lathong [Chillibreeze]" userId="479dc9aa-69ea-4a23-b6ea-3a9d26ac15ab" providerId="ADAL" clId="{013ED13C-6829-4378-A6EF-2B6A713739E1}" dt="2024-06-12T15:23:29.946" v="2825" actId="164"/>
          <ac:picMkLst>
            <pc:docMk/>
            <pc:sldMk cId="0" sldId="284"/>
            <ac:picMk id="21" creationId="{619B9E06-67ED-3747-DE27-E0F8A68B9B5D}"/>
          </ac:picMkLst>
        </pc:picChg>
        <pc:picChg chg="add mod ord topLvl">
          <ac:chgData name="Fivestarly Lathong [Chillibreeze]" userId="479dc9aa-69ea-4a23-b6ea-3a9d26ac15ab" providerId="ADAL" clId="{013ED13C-6829-4378-A6EF-2B6A713739E1}" dt="2024-06-12T15:23:28.323" v="2824" actId="164"/>
          <ac:picMkLst>
            <pc:docMk/>
            <pc:sldMk cId="0" sldId="284"/>
            <ac:picMk id="22" creationId="{0D014AC5-9E5D-C92B-DC3A-B580661468D9}"/>
          </ac:picMkLst>
        </pc:picChg>
        <pc:picChg chg="add mod ord topLvl">
          <ac:chgData name="Fivestarly Lathong [Chillibreeze]" userId="479dc9aa-69ea-4a23-b6ea-3a9d26ac15ab" providerId="ADAL" clId="{013ED13C-6829-4378-A6EF-2B6A713739E1}" dt="2024-06-12T15:23:29.946" v="2825" actId="164"/>
          <ac:picMkLst>
            <pc:docMk/>
            <pc:sldMk cId="0" sldId="284"/>
            <ac:picMk id="23" creationId="{B09E2FA9-1E39-31D3-D661-34976D531850}"/>
          </ac:picMkLst>
        </pc:picChg>
        <pc:picChg chg="add mod ord topLvl">
          <ac:chgData name="Fivestarly Lathong [Chillibreeze]" userId="479dc9aa-69ea-4a23-b6ea-3a9d26ac15ab" providerId="ADAL" clId="{013ED13C-6829-4378-A6EF-2B6A713739E1}" dt="2024-06-12T15:23:28.323" v="2824" actId="164"/>
          <ac:picMkLst>
            <pc:docMk/>
            <pc:sldMk cId="0" sldId="284"/>
            <ac:picMk id="24" creationId="{5D8BE886-C518-3C89-2205-5E6AC3C7413B}"/>
          </ac:picMkLst>
        </pc:picChg>
        <pc:picChg chg="add mod ord topLvl">
          <ac:chgData name="Fivestarly Lathong [Chillibreeze]" userId="479dc9aa-69ea-4a23-b6ea-3a9d26ac15ab" providerId="ADAL" clId="{013ED13C-6829-4378-A6EF-2B6A713739E1}" dt="2024-06-12T15:23:28.323" v="2824" actId="164"/>
          <ac:picMkLst>
            <pc:docMk/>
            <pc:sldMk cId="0" sldId="284"/>
            <ac:picMk id="25" creationId="{DB9D0BCA-5174-3CF1-5655-F5E9AD7FCB79}"/>
          </ac:picMkLst>
        </pc:picChg>
        <pc:picChg chg="add mod ord topLvl">
          <ac:chgData name="Fivestarly Lathong [Chillibreeze]" userId="479dc9aa-69ea-4a23-b6ea-3a9d26ac15ab" providerId="ADAL" clId="{013ED13C-6829-4378-A6EF-2B6A713739E1}" dt="2024-06-12T15:23:29.946" v="2825" actId="164"/>
          <ac:picMkLst>
            <pc:docMk/>
            <pc:sldMk cId="0" sldId="284"/>
            <ac:picMk id="26" creationId="{0D15504E-C573-7120-57D5-A5AF2B43CFA9}"/>
          </ac:picMkLst>
        </pc:picChg>
        <pc:picChg chg="del">
          <ac:chgData name="Fivestarly Lathong [Chillibreeze]" userId="479dc9aa-69ea-4a23-b6ea-3a9d26ac15ab" providerId="ADAL" clId="{013ED13C-6829-4378-A6EF-2B6A713739E1}" dt="2024-06-12T15:20:06.491" v="2753" actId="21"/>
          <ac:picMkLst>
            <pc:docMk/>
            <pc:sldMk cId="0" sldId="284"/>
            <ac:picMk id="4557" creationId="{00000000-0000-0000-0000-000000000000}"/>
          </ac:picMkLst>
        </pc:picChg>
        <pc:picChg chg="del">
          <ac:chgData name="Fivestarly Lathong [Chillibreeze]" userId="479dc9aa-69ea-4a23-b6ea-3a9d26ac15ab" providerId="ADAL" clId="{013ED13C-6829-4378-A6EF-2B6A713739E1}" dt="2024-06-12T15:20:06.491" v="2753" actId="21"/>
          <ac:picMkLst>
            <pc:docMk/>
            <pc:sldMk cId="0" sldId="284"/>
            <ac:picMk id="4558" creationId="{00000000-0000-0000-0000-000000000000}"/>
          </ac:picMkLst>
        </pc:picChg>
        <pc:picChg chg="del">
          <ac:chgData name="Fivestarly Lathong [Chillibreeze]" userId="479dc9aa-69ea-4a23-b6ea-3a9d26ac15ab" providerId="ADAL" clId="{013ED13C-6829-4378-A6EF-2B6A713739E1}" dt="2024-06-12T15:20:06.491" v="2753" actId="21"/>
          <ac:picMkLst>
            <pc:docMk/>
            <pc:sldMk cId="0" sldId="284"/>
            <ac:picMk id="4563" creationId="{00000000-0000-0000-0000-000000000000}"/>
          </ac:picMkLst>
        </pc:picChg>
        <pc:picChg chg="del">
          <ac:chgData name="Fivestarly Lathong [Chillibreeze]" userId="479dc9aa-69ea-4a23-b6ea-3a9d26ac15ab" providerId="ADAL" clId="{013ED13C-6829-4378-A6EF-2B6A713739E1}" dt="2024-06-12T15:20:06.491" v="2753" actId="21"/>
          <ac:picMkLst>
            <pc:docMk/>
            <pc:sldMk cId="0" sldId="284"/>
            <ac:picMk id="4564" creationId="{00000000-0000-0000-0000-000000000000}"/>
          </ac:picMkLst>
        </pc:picChg>
        <pc:picChg chg="del">
          <ac:chgData name="Fivestarly Lathong [Chillibreeze]" userId="479dc9aa-69ea-4a23-b6ea-3a9d26ac15ab" providerId="ADAL" clId="{013ED13C-6829-4378-A6EF-2B6A713739E1}" dt="2024-06-12T15:20:06.491" v="2753" actId="21"/>
          <ac:picMkLst>
            <pc:docMk/>
            <pc:sldMk cId="0" sldId="284"/>
            <ac:picMk id="4565" creationId="{00000000-0000-0000-0000-000000000000}"/>
          </ac:picMkLst>
        </pc:picChg>
        <pc:picChg chg="del">
          <ac:chgData name="Fivestarly Lathong [Chillibreeze]" userId="479dc9aa-69ea-4a23-b6ea-3a9d26ac15ab" providerId="ADAL" clId="{013ED13C-6829-4378-A6EF-2B6A713739E1}" dt="2024-06-12T15:20:06.491" v="2753" actId="21"/>
          <ac:picMkLst>
            <pc:docMk/>
            <pc:sldMk cId="0" sldId="284"/>
            <ac:picMk id="4566" creationId="{00000000-0000-0000-0000-000000000000}"/>
          </ac:picMkLst>
        </pc:picChg>
      </pc:sldChg>
      <pc:sldChg chg="modSp mod">
        <pc:chgData name="Fivestarly Lathong [Chillibreeze]" userId="479dc9aa-69ea-4a23-b6ea-3a9d26ac15ab" providerId="ADAL" clId="{013ED13C-6829-4378-A6EF-2B6A713739E1}" dt="2024-06-12T13:44:08.595" v="937" actId="1076"/>
        <pc:sldMkLst>
          <pc:docMk/>
          <pc:sldMk cId="0" sldId="285"/>
        </pc:sldMkLst>
        <pc:spChg chg="mod">
          <ac:chgData name="Fivestarly Lathong [Chillibreeze]" userId="479dc9aa-69ea-4a23-b6ea-3a9d26ac15ab" providerId="ADAL" clId="{013ED13C-6829-4378-A6EF-2B6A713739E1}" dt="2024-06-12T13:44:08.595" v="937" actId="1076"/>
          <ac:spMkLst>
            <pc:docMk/>
            <pc:sldMk cId="0" sldId="285"/>
            <ac:spMk id="2" creationId="{4D4AA768-D322-E80D-80A2-B4578EDA74F4}"/>
          </ac:spMkLst>
        </pc:spChg>
      </pc:sldChg>
      <pc:sldChg chg="addSp delSp modSp mod setBg modClrScheme chgLayout">
        <pc:chgData name="Fivestarly Lathong [Chillibreeze]" userId="479dc9aa-69ea-4a23-b6ea-3a9d26ac15ab" providerId="ADAL" clId="{013ED13C-6829-4378-A6EF-2B6A713739E1}" dt="2024-06-12T15:26:47.019" v="2922" actId="732"/>
        <pc:sldMkLst>
          <pc:docMk/>
          <pc:sldMk cId="0" sldId="286"/>
        </pc:sldMkLst>
        <pc:spChg chg="del mod">
          <ac:chgData name="Fivestarly Lathong [Chillibreeze]" userId="479dc9aa-69ea-4a23-b6ea-3a9d26ac15ab" providerId="ADAL" clId="{013ED13C-6829-4378-A6EF-2B6A713739E1}" dt="2024-06-12T15:24:12.020" v="2844" actId="21"/>
          <ac:spMkLst>
            <pc:docMk/>
            <pc:sldMk cId="0" sldId="286"/>
            <ac:spMk id="2" creationId="{AA6B2488-101B-B5F7-B5FA-B8C15E4F4AC9}"/>
          </ac:spMkLst>
        </pc:spChg>
        <pc:spChg chg="add del mod ord">
          <ac:chgData name="Fivestarly Lathong [Chillibreeze]" userId="479dc9aa-69ea-4a23-b6ea-3a9d26ac15ab" providerId="ADAL" clId="{013ED13C-6829-4378-A6EF-2B6A713739E1}" dt="2024-06-12T15:24:34.778" v="2848" actId="21"/>
          <ac:spMkLst>
            <pc:docMk/>
            <pc:sldMk cId="0" sldId="286"/>
            <ac:spMk id="3" creationId="{B0681516-C9BC-7BD5-BDB4-D396E460EA68}"/>
          </ac:spMkLst>
        </pc:spChg>
        <pc:spChg chg="add del mod ord">
          <ac:chgData name="Fivestarly Lathong [Chillibreeze]" userId="479dc9aa-69ea-4a23-b6ea-3a9d26ac15ab" providerId="ADAL" clId="{013ED13C-6829-4378-A6EF-2B6A713739E1}" dt="2024-06-12T15:24:34.778" v="2848" actId="21"/>
          <ac:spMkLst>
            <pc:docMk/>
            <pc:sldMk cId="0" sldId="286"/>
            <ac:spMk id="4" creationId="{619C69B9-03E1-90DB-BA8D-E25AE7EA06FF}"/>
          </ac:spMkLst>
        </pc:spChg>
        <pc:spChg chg="add del mod ord">
          <ac:chgData name="Fivestarly Lathong [Chillibreeze]" userId="479dc9aa-69ea-4a23-b6ea-3a9d26ac15ab" providerId="ADAL" clId="{013ED13C-6829-4378-A6EF-2B6A713739E1}" dt="2024-06-12T15:24:32.231" v="2846" actId="21"/>
          <ac:spMkLst>
            <pc:docMk/>
            <pc:sldMk cId="0" sldId="286"/>
            <ac:spMk id="5" creationId="{B1B37BFD-DEC8-F04E-A3C0-948595462145}"/>
          </ac:spMkLst>
        </pc:spChg>
        <pc:spChg chg="add del mod ord">
          <ac:chgData name="Fivestarly Lathong [Chillibreeze]" userId="479dc9aa-69ea-4a23-b6ea-3a9d26ac15ab" providerId="ADAL" clId="{013ED13C-6829-4378-A6EF-2B6A713739E1}" dt="2024-06-12T15:24:32.231" v="2846" actId="21"/>
          <ac:spMkLst>
            <pc:docMk/>
            <pc:sldMk cId="0" sldId="286"/>
            <ac:spMk id="6" creationId="{9F5926C9-C8D1-E084-4256-08B36DCECF31}"/>
          </ac:spMkLst>
        </pc:spChg>
        <pc:spChg chg="add del mod ord">
          <ac:chgData name="Fivestarly Lathong [Chillibreeze]" userId="479dc9aa-69ea-4a23-b6ea-3a9d26ac15ab" providerId="ADAL" clId="{013ED13C-6829-4378-A6EF-2B6A713739E1}" dt="2024-06-12T15:24:34.778" v="2848" actId="21"/>
          <ac:spMkLst>
            <pc:docMk/>
            <pc:sldMk cId="0" sldId="286"/>
            <ac:spMk id="7" creationId="{C37C3307-AD50-36AB-D045-0E81AD043B7D}"/>
          </ac:spMkLst>
        </pc:spChg>
        <pc:spChg chg="add del mod">
          <ac:chgData name="Fivestarly Lathong [Chillibreeze]" userId="479dc9aa-69ea-4a23-b6ea-3a9d26ac15ab" providerId="ADAL" clId="{013ED13C-6829-4378-A6EF-2B6A713739E1}" dt="2024-06-12T15:24:33.490" v="2847" actId="21"/>
          <ac:spMkLst>
            <pc:docMk/>
            <pc:sldMk cId="0" sldId="286"/>
            <ac:spMk id="9" creationId="{BF4E0155-883F-52BF-BD79-D526D53D1BFE}"/>
          </ac:spMkLst>
        </pc:spChg>
        <pc:spChg chg="add del mod ord">
          <ac:chgData name="Fivestarly Lathong [Chillibreeze]" userId="479dc9aa-69ea-4a23-b6ea-3a9d26ac15ab" providerId="ADAL" clId="{013ED13C-6829-4378-A6EF-2B6A713739E1}" dt="2024-06-12T15:25:14.300" v="2856" actId="21"/>
          <ac:spMkLst>
            <pc:docMk/>
            <pc:sldMk cId="0" sldId="286"/>
            <ac:spMk id="10" creationId="{AFD544F6-C90B-AFA8-C113-A9E2C6DA44D4}"/>
          </ac:spMkLst>
        </pc:spChg>
        <pc:spChg chg="add mod">
          <ac:chgData name="Fivestarly Lathong [Chillibreeze]" userId="479dc9aa-69ea-4a23-b6ea-3a9d26ac15ab" providerId="ADAL" clId="{013ED13C-6829-4378-A6EF-2B6A713739E1}" dt="2024-06-12T15:25:11.233" v="2855" actId="1076"/>
          <ac:spMkLst>
            <pc:docMk/>
            <pc:sldMk cId="0" sldId="286"/>
            <ac:spMk id="12" creationId="{0BBC05DC-6730-BC26-B760-84D96C293147}"/>
          </ac:spMkLst>
        </pc:spChg>
        <pc:spChg chg="add mod">
          <ac:chgData name="Fivestarly Lathong [Chillibreeze]" userId="479dc9aa-69ea-4a23-b6ea-3a9d26ac15ab" providerId="ADAL" clId="{013ED13C-6829-4378-A6EF-2B6A713739E1}" dt="2024-06-12T15:25:11.233" v="2855" actId="1076"/>
          <ac:spMkLst>
            <pc:docMk/>
            <pc:sldMk cId="0" sldId="286"/>
            <ac:spMk id="13" creationId="{311EA480-A1C5-CCD1-91AD-3CF81E23CB7E}"/>
          </ac:spMkLst>
        </pc:spChg>
        <pc:spChg chg="add mod">
          <ac:chgData name="Fivestarly Lathong [Chillibreeze]" userId="479dc9aa-69ea-4a23-b6ea-3a9d26ac15ab" providerId="ADAL" clId="{013ED13C-6829-4378-A6EF-2B6A713739E1}" dt="2024-06-12T15:25:11.233" v="2855" actId="1076"/>
          <ac:spMkLst>
            <pc:docMk/>
            <pc:sldMk cId="0" sldId="286"/>
            <ac:spMk id="14" creationId="{46203514-F2E1-10BF-E476-A832BDD4D48B}"/>
          </ac:spMkLst>
        </pc:spChg>
        <pc:spChg chg="add mod">
          <ac:chgData name="Fivestarly Lathong [Chillibreeze]" userId="479dc9aa-69ea-4a23-b6ea-3a9d26ac15ab" providerId="ADAL" clId="{013ED13C-6829-4378-A6EF-2B6A713739E1}" dt="2024-06-12T15:25:11.233" v="2855" actId="1076"/>
          <ac:spMkLst>
            <pc:docMk/>
            <pc:sldMk cId="0" sldId="286"/>
            <ac:spMk id="15" creationId="{E1002921-2DB9-F83D-37BA-D7FA7F18505A}"/>
          </ac:spMkLst>
        </pc:spChg>
        <pc:spChg chg="add mod">
          <ac:chgData name="Fivestarly Lathong [Chillibreeze]" userId="479dc9aa-69ea-4a23-b6ea-3a9d26ac15ab" providerId="ADAL" clId="{013ED13C-6829-4378-A6EF-2B6A713739E1}" dt="2024-06-12T15:25:25.156" v="2860" actId="14100"/>
          <ac:spMkLst>
            <pc:docMk/>
            <pc:sldMk cId="0" sldId="286"/>
            <ac:spMk id="21" creationId="{0FFD5322-3C05-2779-A9B6-EB384C9FAC6B}"/>
          </ac:spMkLst>
        </pc:spChg>
        <pc:spChg chg="add mod">
          <ac:chgData name="Fivestarly Lathong [Chillibreeze]" userId="479dc9aa-69ea-4a23-b6ea-3a9d26ac15ab" providerId="ADAL" clId="{013ED13C-6829-4378-A6EF-2B6A713739E1}" dt="2024-06-12T15:24:59.140" v="2854"/>
          <ac:spMkLst>
            <pc:docMk/>
            <pc:sldMk cId="0" sldId="286"/>
            <ac:spMk id="22" creationId="{40A958E9-ECE3-E72A-A216-44185B1E2AA1}"/>
          </ac:spMkLst>
        </pc:spChg>
        <pc:spChg chg="add del mod">
          <ac:chgData name="Fivestarly Lathong [Chillibreeze]" userId="479dc9aa-69ea-4a23-b6ea-3a9d26ac15ab" providerId="ADAL" clId="{013ED13C-6829-4378-A6EF-2B6A713739E1}" dt="2024-06-12T15:25:19.898" v="2859" actId="21"/>
          <ac:spMkLst>
            <pc:docMk/>
            <pc:sldMk cId="0" sldId="286"/>
            <ac:spMk id="23" creationId="{892F8AD7-128E-466D-C9AA-DBD510D2CCCD}"/>
          </ac:spMkLst>
        </pc:spChg>
        <pc:spChg chg="add mod">
          <ac:chgData name="Fivestarly Lathong [Chillibreeze]" userId="479dc9aa-69ea-4a23-b6ea-3a9d26ac15ab" providerId="ADAL" clId="{013ED13C-6829-4378-A6EF-2B6A713739E1}" dt="2024-06-12T15:26:39.586" v="2921" actId="1035"/>
          <ac:spMkLst>
            <pc:docMk/>
            <pc:sldMk cId="0" sldId="286"/>
            <ac:spMk id="25" creationId="{3D482530-9F07-D7A1-3399-67E4493ACFA0}"/>
          </ac:spMkLst>
        </pc:spChg>
        <pc:spChg chg="del mod ord">
          <ac:chgData name="Fivestarly Lathong [Chillibreeze]" userId="479dc9aa-69ea-4a23-b6ea-3a9d26ac15ab" providerId="ADAL" clId="{013ED13C-6829-4378-A6EF-2B6A713739E1}" dt="2024-06-12T15:24:32.231" v="2846" actId="21"/>
          <ac:spMkLst>
            <pc:docMk/>
            <pc:sldMk cId="0" sldId="286"/>
            <ac:spMk id="4583" creationId="{00000000-0000-0000-0000-000000000000}"/>
          </ac:spMkLst>
        </pc:spChg>
        <pc:spChg chg="del mod ord">
          <ac:chgData name="Fivestarly Lathong [Chillibreeze]" userId="479dc9aa-69ea-4a23-b6ea-3a9d26ac15ab" providerId="ADAL" clId="{013ED13C-6829-4378-A6EF-2B6A713739E1}" dt="2024-06-12T15:24:34.778" v="2848" actId="21"/>
          <ac:spMkLst>
            <pc:docMk/>
            <pc:sldMk cId="0" sldId="286"/>
            <ac:spMk id="4584" creationId="{00000000-0000-0000-0000-000000000000}"/>
          </ac:spMkLst>
        </pc:spChg>
        <pc:spChg chg="del mod ord">
          <ac:chgData name="Fivestarly Lathong [Chillibreeze]" userId="479dc9aa-69ea-4a23-b6ea-3a9d26ac15ab" providerId="ADAL" clId="{013ED13C-6829-4378-A6EF-2B6A713739E1}" dt="2024-06-12T15:24:34.778" v="2848" actId="21"/>
          <ac:spMkLst>
            <pc:docMk/>
            <pc:sldMk cId="0" sldId="286"/>
            <ac:spMk id="4585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5:24:34.778" v="2848" actId="21"/>
          <ac:spMkLst>
            <pc:docMk/>
            <pc:sldMk cId="0" sldId="286"/>
            <ac:spMk id="4586" creationId="{00000000-0000-0000-0000-000000000000}"/>
          </ac:spMkLst>
        </pc:spChg>
        <pc:grpChg chg="add del mod">
          <ac:chgData name="Fivestarly Lathong [Chillibreeze]" userId="479dc9aa-69ea-4a23-b6ea-3a9d26ac15ab" providerId="ADAL" clId="{013ED13C-6829-4378-A6EF-2B6A713739E1}" dt="2024-06-12T15:25:17.368" v="2858" actId="21"/>
          <ac:grpSpMkLst>
            <pc:docMk/>
            <pc:sldMk cId="0" sldId="286"/>
            <ac:grpSpMk id="11" creationId="{16929EEF-EB45-38DD-B459-54368DB9CE16}"/>
          </ac:grpSpMkLst>
        </pc:grpChg>
        <pc:grpChg chg="add mod topLvl">
          <ac:chgData name="Fivestarly Lathong [Chillibreeze]" userId="479dc9aa-69ea-4a23-b6ea-3a9d26ac15ab" providerId="ADAL" clId="{013ED13C-6829-4378-A6EF-2B6A713739E1}" dt="2024-06-12T15:25:17.368" v="2858" actId="21"/>
          <ac:grpSpMkLst>
            <pc:docMk/>
            <pc:sldMk cId="0" sldId="286"/>
            <ac:grpSpMk id="16" creationId="{E5BD7957-EE50-F7E1-5EC4-A00B8C29F742}"/>
          </ac:grpSpMkLst>
        </pc:grpChg>
        <pc:grpChg chg="add mod">
          <ac:chgData name="Fivestarly Lathong [Chillibreeze]" userId="479dc9aa-69ea-4a23-b6ea-3a9d26ac15ab" providerId="ADAL" clId="{013ED13C-6829-4378-A6EF-2B6A713739E1}" dt="2024-06-12T15:24:59.140" v="2854"/>
          <ac:grpSpMkLst>
            <pc:docMk/>
            <pc:sldMk cId="0" sldId="286"/>
            <ac:grpSpMk id="19" creationId="{6E286D62-03BB-174A-B73A-AEAD28239285}"/>
          </ac:grpSpMkLst>
        </pc:grpChg>
        <pc:grpChg chg="del">
          <ac:chgData name="Fivestarly Lathong [Chillibreeze]" userId="479dc9aa-69ea-4a23-b6ea-3a9d26ac15ab" providerId="ADAL" clId="{013ED13C-6829-4378-A6EF-2B6A713739E1}" dt="2024-06-12T15:24:34.778" v="2848" actId="21"/>
          <ac:grpSpMkLst>
            <pc:docMk/>
            <pc:sldMk cId="0" sldId="286"/>
            <ac:grpSpMk id="4587" creationId="{00000000-0000-0000-0000-000000000000}"/>
          </ac:grpSpMkLst>
        </pc:grpChg>
        <pc:picChg chg="add mod">
          <ac:chgData name="Fivestarly Lathong [Chillibreeze]" userId="479dc9aa-69ea-4a23-b6ea-3a9d26ac15ab" providerId="ADAL" clId="{013ED13C-6829-4378-A6EF-2B6A713739E1}" dt="2024-06-12T15:24:59.140" v="2854"/>
          <ac:picMkLst>
            <pc:docMk/>
            <pc:sldMk cId="0" sldId="286"/>
            <ac:picMk id="18" creationId="{1258BED8-1AF5-BE18-AC8F-02342ABEABF0}"/>
          </ac:picMkLst>
        </pc:picChg>
        <pc:picChg chg="add mod modCrop">
          <ac:chgData name="Fivestarly Lathong [Chillibreeze]" userId="479dc9aa-69ea-4a23-b6ea-3a9d26ac15ab" providerId="ADAL" clId="{013ED13C-6829-4378-A6EF-2B6A713739E1}" dt="2024-06-12T15:26:47.019" v="2922" actId="732"/>
          <ac:picMkLst>
            <pc:docMk/>
            <pc:sldMk cId="0" sldId="286"/>
            <ac:picMk id="20" creationId="{303AB8AE-B18D-3B0F-96DE-E9FAC109C542}"/>
          </ac:picMkLst>
        </pc:picChg>
        <pc:cxnChg chg="add del mod topLvl">
          <ac:chgData name="Fivestarly Lathong [Chillibreeze]" userId="479dc9aa-69ea-4a23-b6ea-3a9d26ac15ab" providerId="ADAL" clId="{013ED13C-6829-4378-A6EF-2B6A713739E1}" dt="2024-06-12T15:25:17.368" v="2858" actId="21"/>
          <ac:cxnSpMkLst>
            <pc:docMk/>
            <pc:sldMk cId="0" sldId="286"/>
            <ac:cxnSpMk id="17" creationId="{966122B9-4C81-FCB2-8D01-78BB78EA6F87}"/>
          </ac:cxnSpMkLst>
        </pc:cxnChg>
      </pc:sldChg>
      <pc:sldChg chg="addSp delSp modSp mod setBg modClrScheme chgLayout">
        <pc:chgData name="Fivestarly Lathong [Chillibreeze]" userId="479dc9aa-69ea-4a23-b6ea-3a9d26ac15ab" providerId="ADAL" clId="{013ED13C-6829-4378-A6EF-2B6A713739E1}" dt="2024-06-12T14:27:22.250" v="1537" actId="21"/>
        <pc:sldMkLst>
          <pc:docMk/>
          <pc:sldMk cId="0" sldId="287"/>
        </pc:sldMkLst>
        <pc:spChg chg="del">
          <ac:chgData name="Fivestarly Lathong [Chillibreeze]" userId="479dc9aa-69ea-4a23-b6ea-3a9d26ac15ab" providerId="ADAL" clId="{013ED13C-6829-4378-A6EF-2B6A713739E1}" dt="2024-06-12T14:26:57.633" v="1526" actId="478"/>
          <ac:spMkLst>
            <pc:docMk/>
            <pc:sldMk cId="0" sldId="287"/>
            <ac:spMk id="2" creationId="{E6C4F9F2-275D-287E-546A-0693182356EF}"/>
          </ac:spMkLst>
        </pc:spChg>
        <pc:spChg chg="del mod">
          <ac:chgData name="Fivestarly Lathong [Chillibreeze]" userId="479dc9aa-69ea-4a23-b6ea-3a9d26ac15ab" providerId="ADAL" clId="{013ED13C-6829-4378-A6EF-2B6A713739E1}" dt="2024-06-12T14:26:51.209" v="1523" actId="478"/>
          <ac:spMkLst>
            <pc:docMk/>
            <pc:sldMk cId="0" sldId="287"/>
            <ac:spMk id="3" creationId="{C2577221-0EC2-C448-E242-F583BED52138}"/>
          </ac:spMkLst>
        </pc:spChg>
        <pc:spChg chg="add mod">
          <ac:chgData name="Fivestarly Lathong [Chillibreeze]" userId="479dc9aa-69ea-4a23-b6ea-3a9d26ac15ab" providerId="ADAL" clId="{013ED13C-6829-4378-A6EF-2B6A713739E1}" dt="2024-06-12T14:27:01.958" v="1529"/>
          <ac:spMkLst>
            <pc:docMk/>
            <pc:sldMk cId="0" sldId="287"/>
            <ac:spMk id="4" creationId="{4FC12E89-15C4-E2AA-46D7-4F4F2279ED75}"/>
          </ac:spMkLst>
        </pc:spChg>
        <pc:spChg chg="add mod">
          <ac:chgData name="Fivestarly Lathong [Chillibreeze]" userId="479dc9aa-69ea-4a23-b6ea-3a9d26ac15ab" providerId="ADAL" clId="{013ED13C-6829-4378-A6EF-2B6A713739E1}" dt="2024-06-12T14:27:01.958" v="1529"/>
          <ac:spMkLst>
            <pc:docMk/>
            <pc:sldMk cId="0" sldId="287"/>
            <ac:spMk id="5" creationId="{87A5758B-2058-F505-F299-8B4AABAB477F}"/>
          </ac:spMkLst>
        </pc:spChg>
        <pc:spChg chg="add mod">
          <ac:chgData name="Fivestarly Lathong [Chillibreeze]" userId="479dc9aa-69ea-4a23-b6ea-3a9d26ac15ab" providerId="ADAL" clId="{013ED13C-6829-4378-A6EF-2B6A713739E1}" dt="2024-06-12T14:27:01.958" v="1529"/>
          <ac:spMkLst>
            <pc:docMk/>
            <pc:sldMk cId="0" sldId="287"/>
            <ac:spMk id="6" creationId="{53E3D1B2-DC96-4625-2C4A-E33022C62745}"/>
          </ac:spMkLst>
        </pc:spChg>
        <pc:spChg chg="mod">
          <ac:chgData name="Fivestarly Lathong [Chillibreeze]" userId="479dc9aa-69ea-4a23-b6ea-3a9d26ac15ab" providerId="ADAL" clId="{013ED13C-6829-4378-A6EF-2B6A713739E1}" dt="2024-06-12T14:27:01.958" v="1529"/>
          <ac:spMkLst>
            <pc:docMk/>
            <pc:sldMk cId="0" sldId="287"/>
            <ac:spMk id="11" creationId="{7240D1C4-40E0-19AD-CD3D-63121C285A6E}"/>
          </ac:spMkLst>
        </pc:spChg>
        <pc:spChg chg="mod">
          <ac:chgData name="Fivestarly Lathong [Chillibreeze]" userId="479dc9aa-69ea-4a23-b6ea-3a9d26ac15ab" providerId="ADAL" clId="{013ED13C-6829-4378-A6EF-2B6A713739E1}" dt="2024-06-12T14:27:01.958" v="1529"/>
          <ac:spMkLst>
            <pc:docMk/>
            <pc:sldMk cId="0" sldId="287"/>
            <ac:spMk id="12" creationId="{4921B149-9DB5-78CA-173B-472E0E209D64}"/>
          </ac:spMkLst>
        </pc:spChg>
        <pc:spChg chg="add mod">
          <ac:chgData name="Fivestarly Lathong [Chillibreeze]" userId="479dc9aa-69ea-4a23-b6ea-3a9d26ac15ab" providerId="ADAL" clId="{013ED13C-6829-4378-A6EF-2B6A713739E1}" dt="2024-06-12T14:27:01.958" v="1529"/>
          <ac:spMkLst>
            <pc:docMk/>
            <pc:sldMk cId="0" sldId="287"/>
            <ac:spMk id="15" creationId="{1E00CE7B-E56A-D440-31C4-29C9EA04E151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27:11.878" v="1531" actId="21"/>
          <ac:spMkLst>
            <pc:docMk/>
            <pc:sldMk cId="0" sldId="287"/>
            <ac:spMk id="17" creationId="{C45975D7-A004-134E-3862-908CABC073F4}"/>
          </ac:spMkLst>
        </pc:spChg>
        <pc:grpChg chg="add mod">
          <ac:chgData name="Fivestarly Lathong [Chillibreeze]" userId="479dc9aa-69ea-4a23-b6ea-3a9d26ac15ab" providerId="ADAL" clId="{013ED13C-6829-4378-A6EF-2B6A713739E1}" dt="2024-06-12T14:27:01.958" v="1529"/>
          <ac:grpSpMkLst>
            <pc:docMk/>
            <pc:sldMk cId="0" sldId="287"/>
            <ac:grpSpMk id="10" creationId="{6D8C0D9F-574B-C213-46D4-105E50DF06B5}"/>
          </ac:grpSpMkLst>
        </pc:grpChg>
        <pc:picChg chg="add mod">
          <ac:chgData name="Fivestarly Lathong [Chillibreeze]" userId="479dc9aa-69ea-4a23-b6ea-3a9d26ac15ab" providerId="ADAL" clId="{013ED13C-6829-4378-A6EF-2B6A713739E1}" dt="2024-06-12T14:27:19.786" v="1536" actId="1076"/>
          <ac:picMkLst>
            <pc:docMk/>
            <pc:sldMk cId="0" sldId="287"/>
            <ac:picMk id="7" creationId="{19C51B7F-87A3-C86B-CC4F-7D83E8211C8A}"/>
          </ac:picMkLst>
        </pc:picChg>
        <pc:picChg chg="add mod">
          <ac:chgData name="Fivestarly Lathong [Chillibreeze]" userId="479dc9aa-69ea-4a23-b6ea-3a9d26ac15ab" providerId="ADAL" clId="{013ED13C-6829-4378-A6EF-2B6A713739E1}" dt="2024-06-12T14:27:01.958" v="1529"/>
          <ac:picMkLst>
            <pc:docMk/>
            <pc:sldMk cId="0" sldId="287"/>
            <ac:picMk id="8" creationId="{7D174BBA-1D90-682D-B21E-BD67AE3A59DF}"/>
          </ac:picMkLst>
        </pc:picChg>
        <pc:picChg chg="add mod">
          <ac:chgData name="Fivestarly Lathong [Chillibreeze]" userId="479dc9aa-69ea-4a23-b6ea-3a9d26ac15ab" providerId="ADAL" clId="{013ED13C-6829-4378-A6EF-2B6A713739E1}" dt="2024-06-12T14:27:01.958" v="1529"/>
          <ac:picMkLst>
            <pc:docMk/>
            <pc:sldMk cId="0" sldId="287"/>
            <ac:picMk id="9" creationId="{B06500F4-10B3-861B-9CD3-50DF2B047B62}"/>
          </ac:picMkLst>
        </pc:picChg>
        <pc:picChg chg="add mod">
          <ac:chgData name="Fivestarly Lathong [Chillibreeze]" userId="479dc9aa-69ea-4a23-b6ea-3a9d26ac15ab" providerId="ADAL" clId="{013ED13C-6829-4378-A6EF-2B6A713739E1}" dt="2024-06-12T14:27:01.958" v="1529"/>
          <ac:picMkLst>
            <pc:docMk/>
            <pc:sldMk cId="0" sldId="287"/>
            <ac:picMk id="13" creationId="{EEEDD14B-11C7-4732-D238-4E80BADE559B}"/>
          </ac:picMkLst>
        </pc:picChg>
        <pc:picChg chg="add mod">
          <ac:chgData name="Fivestarly Lathong [Chillibreeze]" userId="479dc9aa-69ea-4a23-b6ea-3a9d26ac15ab" providerId="ADAL" clId="{013ED13C-6829-4378-A6EF-2B6A713739E1}" dt="2024-06-12T14:27:01.958" v="1529"/>
          <ac:picMkLst>
            <pc:docMk/>
            <pc:sldMk cId="0" sldId="287"/>
            <ac:picMk id="14" creationId="{E4047542-20B3-2DB2-B316-5A1893C208AB}"/>
          </ac:picMkLst>
        </pc:picChg>
        <pc:picChg chg="add mod">
          <ac:chgData name="Fivestarly Lathong [Chillibreeze]" userId="479dc9aa-69ea-4a23-b6ea-3a9d26ac15ab" providerId="ADAL" clId="{013ED13C-6829-4378-A6EF-2B6A713739E1}" dt="2024-06-12T14:27:01.958" v="1529"/>
          <ac:picMkLst>
            <pc:docMk/>
            <pc:sldMk cId="0" sldId="287"/>
            <ac:picMk id="16" creationId="{3B4121EE-4300-F7F3-C2F2-E149FF8D54D5}"/>
          </ac:picMkLst>
        </pc:picChg>
        <pc:picChg chg="del mod">
          <ac:chgData name="Fivestarly Lathong [Chillibreeze]" userId="479dc9aa-69ea-4a23-b6ea-3a9d26ac15ab" providerId="ADAL" clId="{013ED13C-6829-4378-A6EF-2B6A713739E1}" dt="2024-06-12T14:27:22.250" v="1537" actId="21"/>
          <ac:picMkLst>
            <pc:docMk/>
            <pc:sldMk cId="0" sldId="287"/>
            <ac:picMk id="4595" creationId="{00000000-0000-0000-0000-000000000000}"/>
          </ac:picMkLst>
        </pc:picChg>
        <pc:picChg chg="del mod">
          <ac:chgData name="Fivestarly Lathong [Chillibreeze]" userId="479dc9aa-69ea-4a23-b6ea-3a9d26ac15ab" providerId="ADAL" clId="{013ED13C-6829-4378-A6EF-2B6A713739E1}" dt="2024-06-12T14:27:22.250" v="1537" actId="21"/>
          <ac:picMkLst>
            <pc:docMk/>
            <pc:sldMk cId="0" sldId="287"/>
            <ac:picMk id="4596" creationId="{00000000-0000-0000-0000-000000000000}"/>
          </ac:picMkLst>
        </pc:picChg>
        <pc:picChg chg="del mod">
          <ac:chgData name="Fivestarly Lathong [Chillibreeze]" userId="479dc9aa-69ea-4a23-b6ea-3a9d26ac15ab" providerId="ADAL" clId="{013ED13C-6829-4378-A6EF-2B6A713739E1}" dt="2024-06-12T14:27:22.250" v="1537" actId="21"/>
          <ac:picMkLst>
            <pc:docMk/>
            <pc:sldMk cId="0" sldId="287"/>
            <ac:picMk id="4597" creationId="{00000000-0000-0000-0000-000000000000}"/>
          </ac:picMkLst>
        </pc:picChg>
      </pc:sldChg>
      <pc:sldChg chg="addSp delSp modSp mod setBg modClrScheme delAnim modAnim chgLayout">
        <pc:chgData name="Fivestarly Lathong [Chillibreeze]" userId="479dc9aa-69ea-4a23-b6ea-3a9d26ac15ab" providerId="ADAL" clId="{013ED13C-6829-4378-A6EF-2B6A713739E1}" dt="2024-06-12T14:12:00.295" v="1269" actId="167"/>
        <pc:sldMkLst>
          <pc:docMk/>
          <pc:sldMk cId="0" sldId="288"/>
        </pc:sldMkLst>
        <pc:spChg chg="del mod ord">
          <ac:chgData name="Fivestarly Lathong [Chillibreeze]" userId="479dc9aa-69ea-4a23-b6ea-3a9d26ac15ab" providerId="ADAL" clId="{013ED13C-6829-4378-A6EF-2B6A713739E1}" dt="2024-06-12T14:08:49.369" v="1154" actId="700"/>
          <ac:spMkLst>
            <pc:docMk/>
            <pc:sldMk cId="0" sldId="288"/>
            <ac:spMk id="2" creationId="{2743060B-EF46-3781-A789-2ECE39D7804B}"/>
          </ac:spMkLst>
        </pc:spChg>
        <pc:spChg chg="del">
          <ac:chgData name="Fivestarly Lathong [Chillibreeze]" userId="479dc9aa-69ea-4a23-b6ea-3a9d26ac15ab" providerId="ADAL" clId="{013ED13C-6829-4378-A6EF-2B6A713739E1}" dt="2024-06-12T14:08:30.921" v="1146" actId="478"/>
          <ac:spMkLst>
            <pc:docMk/>
            <pc:sldMk cId="0" sldId="288"/>
            <ac:spMk id="3" creationId="{B4A7CBBA-81D0-F383-CF03-89A031DA2FA2}"/>
          </ac:spMkLst>
        </pc:spChg>
        <pc:spChg chg="add mod ord">
          <ac:chgData name="Fivestarly Lathong [Chillibreeze]" userId="479dc9aa-69ea-4a23-b6ea-3a9d26ac15ab" providerId="ADAL" clId="{013ED13C-6829-4378-A6EF-2B6A713739E1}" dt="2024-06-12T14:08:51.295" v="1155" actId="167"/>
          <ac:spMkLst>
            <pc:docMk/>
            <pc:sldMk cId="0" sldId="288"/>
            <ac:spMk id="6" creationId="{1FD36572-911A-E909-BB1C-226A6214C285}"/>
          </ac:spMkLst>
        </pc:spChg>
        <pc:spChg chg="add mod ord">
          <ac:chgData name="Fivestarly Lathong [Chillibreeze]" userId="479dc9aa-69ea-4a23-b6ea-3a9d26ac15ab" providerId="ADAL" clId="{013ED13C-6829-4378-A6EF-2B6A713739E1}" dt="2024-06-12T14:08:51.295" v="1155" actId="167"/>
          <ac:spMkLst>
            <pc:docMk/>
            <pc:sldMk cId="0" sldId="288"/>
            <ac:spMk id="7" creationId="{A0396D0A-87BE-4C8A-9AF3-7D52EF02A0C1}"/>
          </ac:spMkLst>
        </pc:spChg>
        <pc:spChg chg="mod">
          <ac:chgData name="Fivestarly Lathong [Chillibreeze]" userId="479dc9aa-69ea-4a23-b6ea-3a9d26ac15ab" providerId="ADAL" clId="{013ED13C-6829-4378-A6EF-2B6A713739E1}" dt="2024-06-12T14:08:46.477" v="1153"/>
          <ac:spMkLst>
            <pc:docMk/>
            <pc:sldMk cId="0" sldId="288"/>
            <ac:spMk id="10" creationId="{75770F85-963D-A1A0-3444-392599431411}"/>
          </ac:spMkLst>
        </pc:spChg>
        <pc:spChg chg="mod">
          <ac:chgData name="Fivestarly Lathong [Chillibreeze]" userId="479dc9aa-69ea-4a23-b6ea-3a9d26ac15ab" providerId="ADAL" clId="{013ED13C-6829-4378-A6EF-2B6A713739E1}" dt="2024-06-12T14:08:46.477" v="1153"/>
          <ac:spMkLst>
            <pc:docMk/>
            <pc:sldMk cId="0" sldId="288"/>
            <ac:spMk id="11" creationId="{2BEE49E2-87DA-BF24-CE74-503AB14E8481}"/>
          </ac:spMkLst>
        </pc:spChg>
        <pc:spChg chg="mod">
          <ac:chgData name="Fivestarly Lathong [Chillibreeze]" userId="479dc9aa-69ea-4a23-b6ea-3a9d26ac15ab" providerId="ADAL" clId="{013ED13C-6829-4378-A6EF-2B6A713739E1}" dt="2024-06-12T14:08:46.477" v="1153"/>
          <ac:spMkLst>
            <pc:docMk/>
            <pc:sldMk cId="0" sldId="288"/>
            <ac:spMk id="13" creationId="{D0B1D5DB-73DA-9E98-4E66-D39619EF2057}"/>
          </ac:spMkLst>
        </pc:spChg>
        <pc:spChg chg="mod">
          <ac:chgData name="Fivestarly Lathong [Chillibreeze]" userId="479dc9aa-69ea-4a23-b6ea-3a9d26ac15ab" providerId="ADAL" clId="{013ED13C-6829-4378-A6EF-2B6A713739E1}" dt="2024-06-12T14:08:46.477" v="1153"/>
          <ac:spMkLst>
            <pc:docMk/>
            <pc:sldMk cId="0" sldId="288"/>
            <ac:spMk id="14" creationId="{FCECC2E5-053F-028F-8861-86928C5BDB43}"/>
          </ac:spMkLst>
        </pc:spChg>
        <pc:spChg chg="mod">
          <ac:chgData name="Fivestarly Lathong [Chillibreeze]" userId="479dc9aa-69ea-4a23-b6ea-3a9d26ac15ab" providerId="ADAL" clId="{013ED13C-6829-4378-A6EF-2B6A713739E1}" dt="2024-06-12T14:08:46.477" v="1153"/>
          <ac:spMkLst>
            <pc:docMk/>
            <pc:sldMk cId="0" sldId="288"/>
            <ac:spMk id="16" creationId="{CE18A05C-D6D7-28A0-411E-42EE9813F0BD}"/>
          </ac:spMkLst>
        </pc:spChg>
        <pc:spChg chg="mod">
          <ac:chgData name="Fivestarly Lathong [Chillibreeze]" userId="479dc9aa-69ea-4a23-b6ea-3a9d26ac15ab" providerId="ADAL" clId="{013ED13C-6829-4378-A6EF-2B6A713739E1}" dt="2024-06-12T14:08:46.477" v="1153"/>
          <ac:spMkLst>
            <pc:docMk/>
            <pc:sldMk cId="0" sldId="288"/>
            <ac:spMk id="17" creationId="{253913F9-D02B-D069-EEE2-BC4B04CB6BF6}"/>
          </ac:spMkLst>
        </pc:spChg>
        <pc:spChg chg="mod">
          <ac:chgData name="Fivestarly Lathong [Chillibreeze]" userId="479dc9aa-69ea-4a23-b6ea-3a9d26ac15ab" providerId="ADAL" clId="{013ED13C-6829-4378-A6EF-2B6A713739E1}" dt="2024-06-12T14:08:46.477" v="1153"/>
          <ac:spMkLst>
            <pc:docMk/>
            <pc:sldMk cId="0" sldId="288"/>
            <ac:spMk id="19" creationId="{4314A820-2574-149B-7544-D019E3896BD1}"/>
          </ac:spMkLst>
        </pc:spChg>
        <pc:spChg chg="mod">
          <ac:chgData name="Fivestarly Lathong [Chillibreeze]" userId="479dc9aa-69ea-4a23-b6ea-3a9d26ac15ab" providerId="ADAL" clId="{013ED13C-6829-4378-A6EF-2B6A713739E1}" dt="2024-06-12T14:08:46.477" v="1153"/>
          <ac:spMkLst>
            <pc:docMk/>
            <pc:sldMk cId="0" sldId="288"/>
            <ac:spMk id="20" creationId="{718980C4-DB4F-176C-2700-41A6CC9F6BA3}"/>
          </ac:spMkLst>
        </pc:spChg>
        <pc:spChg chg="mod">
          <ac:chgData name="Fivestarly Lathong [Chillibreeze]" userId="479dc9aa-69ea-4a23-b6ea-3a9d26ac15ab" providerId="ADAL" clId="{013ED13C-6829-4378-A6EF-2B6A713739E1}" dt="2024-06-12T14:08:46.477" v="1153"/>
          <ac:spMkLst>
            <pc:docMk/>
            <pc:sldMk cId="0" sldId="288"/>
            <ac:spMk id="22" creationId="{EB530E2A-1450-2035-DC68-11264777E9DE}"/>
          </ac:spMkLst>
        </pc:spChg>
        <pc:spChg chg="mod">
          <ac:chgData name="Fivestarly Lathong [Chillibreeze]" userId="479dc9aa-69ea-4a23-b6ea-3a9d26ac15ab" providerId="ADAL" clId="{013ED13C-6829-4378-A6EF-2B6A713739E1}" dt="2024-06-12T14:08:46.477" v="1153"/>
          <ac:spMkLst>
            <pc:docMk/>
            <pc:sldMk cId="0" sldId="288"/>
            <ac:spMk id="23" creationId="{96027AC0-3FAF-6B5D-D543-543F4EC16A4E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09:06.822" v="1211" actId="21"/>
          <ac:spMkLst>
            <pc:docMk/>
            <pc:sldMk cId="0" sldId="288"/>
            <ac:spMk id="25" creationId="{F5394C45-67A0-C8A5-C035-42BD083B64D7}"/>
          </ac:spMkLst>
        </pc:spChg>
        <pc:spChg chg="add mod ord">
          <ac:chgData name="Fivestarly Lathong [Chillibreeze]" userId="479dc9aa-69ea-4a23-b6ea-3a9d26ac15ab" providerId="ADAL" clId="{013ED13C-6829-4378-A6EF-2B6A713739E1}" dt="2024-06-12T14:08:51.295" v="1155" actId="167"/>
          <ac:spMkLst>
            <pc:docMk/>
            <pc:sldMk cId="0" sldId="288"/>
            <ac:spMk id="26" creationId="{65DFF732-8A54-9354-A6C5-9C2A67442EC2}"/>
          </ac:spMkLst>
        </pc:spChg>
        <pc:spChg chg="add mod ord">
          <ac:chgData name="Fivestarly Lathong [Chillibreeze]" userId="479dc9aa-69ea-4a23-b6ea-3a9d26ac15ab" providerId="ADAL" clId="{013ED13C-6829-4378-A6EF-2B6A713739E1}" dt="2024-06-12T14:09:44.388" v="1219" actId="1076"/>
          <ac:spMkLst>
            <pc:docMk/>
            <pc:sldMk cId="0" sldId="288"/>
            <ac:spMk id="27" creationId="{40B2E28B-39E1-441F-2691-E1F56143D9B8}"/>
          </ac:spMkLst>
        </pc:spChg>
        <pc:spChg chg="add mod ord">
          <ac:chgData name="Fivestarly Lathong [Chillibreeze]" userId="479dc9aa-69ea-4a23-b6ea-3a9d26ac15ab" providerId="ADAL" clId="{013ED13C-6829-4378-A6EF-2B6A713739E1}" dt="2024-06-12T14:08:51.295" v="1155" actId="167"/>
          <ac:spMkLst>
            <pc:docMk/>
            <pc:sldMk cId="0" sldId="288"/>
            <ac:spMk id="28" creationId="{E1B96DB2-85D7-C644-F4EB-985A92D7CD1B}"/>
          </ac:spMkLst>
        </pc:spChg>
        <pc:spChg chg="add mod ord">
          <ac:chgData name="Fivestarly Lathong [Chillibreeze]" userId="479dc9aa-69ea-4a23-b6ea-3a9d26ac15ab" providerId="ADAL" clId="{013ED13C-6829-4378-A6EF-2B6A713739E1}" dt="2024-06-12T14:10:56.954" v="1253" actId="20577"/>
          <ac:spMkLst>
            <pc:docMk/>
            <pc:sldMk cId="0" sldId="288"/>
            <ac:spMk id="29" creationId="{5C830D7B-01B7-0652-4F55-DA6F87136950}"/>
          </ac:spMkLst>
        </pc:spChg>
        <pc:spChg chg="add mod ord">
          <ac:chgData name="Fivestarly Lathong [Chillibreeze]" userId="479dc9aa-69ea-4a23-b6ea-3a9d26ac15ab" providerId="ADAL" clId="{013ED13C-6829-4378-A6EF-2B6A713739E1}" dt="2024-06-12T14:08:51.295" v="1155" actId="167"/>
          <ac:spMkLst>
            <pc:docMk/>
            <pc:sldMk cId="0" sldId="288"/>
            <ac:spMk id="30" creationId="{69A83144-40F8-5007-2995-459F08ACEDDA}"/>
          </ac:spMkLst>
        </pc:spChg>
        <pc:spChg chg="add mod ord">
          <ac:chgData name="Fivestarly Lathong [Chillibreeze]" userId="479dc9aa-69ea-4a23-b6ea-3a9d26ac15ab" providerId="ADAL" clId="{013ED13C-6829-4378-A6EF-2B6A713739E1}" dt="2024-06-12T14:10:54.820" v="1250" actId="20577"/>
          <ac:spMkLst>
            <pc:docMk/>
            <pc:sldMk cId="0" sldId="288"/>
            <ac:spMk id="31" creationId="{CDCC631F-CE79-3F77-240D-AFEE8CA77074}"/>
          </ac:spMkLst>
        </pc:spChg>
        <pc:spChg chg="add mod ord">
          <ac:chgData name="Fivestarly Lathong [Chillibreeze]" userId="479dc9aa-69ea-4a23-b6ea-3a9d26ac15ab" providerId="ADAL" clId="{013ED13C-6829-4378-A6EF-2B6A713739E1}" dt="2024-06-12T14:08:51.295" v="1155" actId="167"/>
          <ac:spMkLst>
            <pc:docMk/>
            <pc:sldMk cId="0" sldId="288"/>
            <ac:spMk id="32" creationId="{9CD1D7D7-FA1F-D298-736F-00325519C1C9}"/>
          </ac:spMkLst>
        </pc:spChg>
        <pc:spChg chg="add mod ord">
          <ac:chgData name="Fivestarly Lathong [Chillibreeze]" userId="479dc9aa-69ea-4a23-b6ea-3a9d26ac15ab" providerId="ADAL" clId="{013ED13C-6829-4378-A6EF-2B6A713739E1}" dt="2024-06-12T14:10:50.803" v="1245" actId="20577"/>
          <ac:spMkLst>
            <pc:docMk/>
            <pc:sldMk cId="0" sldId="288"/>
            <ac:spMk id="33" creationId="{2741F384-8780-B191-6849-A6D7DCAAC24A}"/>
          </ac:spMkLst>
        </pc:spChg>
        <pc:spChg chg="add mod ord">
          <ac:chgData name="Fivestarly Lathong [Chillibreeze]" userId="479dc9aa-69ea-4a23-b6ea-3a9d26ac15ab" providerId="ADAL" clId="{013ED13C-6829-4378-A6EF-2B6A713739E1}" dt="2024-06-12T14:08:51.295" v="1155" actId="167"/>
          <ac:spMkLst>
            <pc:docMk/>
            <pc:sldMk cId="0" sldId="288"/>
            <ac:spMk id="34" creationId="{2D38AB22-EA0E-D88F-CCF0-1B086C838CA2}"/>
          </ac:spMkLst>
        </pc:spChg>
        <pc:spChg chg="add mod ord">
          <ac:chgData name="Fivestarly Lathong [Chillibreeze]" userId="479dc9aa-69ea-4a23-b6ea-3a9d26ac15ab" providerId="ADAL" clId="{013ED13C-6829-4378-A6EF-2B6A713739E1}" dt="2024-06-12T14:11:09.379" v="1260" actId="20577"/>
          <ac:spMkLst>
            <pc:docMk/>
            <pc:sldMk cId="0" sldId="288"/>
            <ac:spMk id="35" creationId="{7A4ECD8A-F8F4-7DED-D961-30F5B102E3AB}"/>
          </ac:spMkLst>
        </pc:spChg>
        <pc:spChg chg="add mod ord">
          <ac:chgData name="Fivestarly Lathong [Chillibreeze]" userId="479dc9aa-69ea-4a23-b6ea-3a9d26ac15ab" providerId="ADAL" clId="{013ED13C-6829-4378-A6EF-2B6A713739E1}" dt="2024-06-12T14:09:02.358" v="1210" actId="122"/>
          <ac:spMkLst>
            <pc:docMk/>
            <pc:sldMk cId="0" sldId="288"/>
            <ac:spMk id="36" creationId="{743A3E12-64D0-9751-D89E-AFC5DB23CA36}"/>
          </ac:spMkLst>
        </pc:spChg>
        <pc:spChg chg="del mod">
          <ac:chgData name="Fivestarly Lathong [Chillibreeze]" userId="479dc9aa-69ea-4a23-b6ea-3a9d26ac15ab" providerId="ADAL" clId="{013ED13C-6829-4378-A6EF-2B6A713739E1}" dt="2024-06-12T14:11:47.975" v="1261" actId="21"/>
          <ac:spMkLst>
            <pc:docMk/>
            <pc:sldMk cId="0" sldId="288"/>
            <ac:spMk id="4602" creationId="{00000000-0000-0000-0000-000000000000}"/>
          </ac:spMkLst>
        </pc:spChg>
        <pc:grpChg chg="add mod ord">
          <ac:chgData name="Fivestarly Lathong [Chillibreeze]" userId="479dc9aa-69ea-4a23-b6ea-3a9d26ac15ab" providerId="ADAL" clId="{013ED13C-6829-4378-A6EF-2B6A713739E1}" dt="2024-06-12T14:08:51.295" v="1155" actId="167"/>
          <ac:grpSpMkLst>
            <pc:docMk/>
            <pc:sldMk cId="0" sldId="288"/>
            <ac:grpSpMk id="9" creationId="{F9175562-0A4E-1D79-89C6-B5D6761C2F9F}"/>
          </ac:grpSpMkLst>
        </pc:grpChg>
        <pc:grpChg chg="add mod ord">
          <ac:chgData name="Fivestarly Lathong [Chillibreeze]" userId="479dc9aa-69ea-4a23-b6ea-3a9d26ac15ab" providerId="ADAL" clId="{013ED13C-6829-4378-A6EF-2B6A713739E1}" dt="2024-06-12T14:08:51.295" v="1155" actId="167"/>
          <ac:grpSpMkLst>
            <pc:docMk/>
            <pc:sldMk cId="0" sldId="288"/>
            <ac:grpSpMk id="12" creationId="{2E43EEA4-E510-6685-EA6D-3A3C48CDEB11}"/>
          </ac:grpSpMkLst>
        </pc:grpChg>
        <pc:grpChg chg="add mod ord">
          <ac:chgData name="Fivestarly Lathong [Chillibreeze]" userId="479dc9aa-69ea-4a23-b6ea-3a9d26ac15ab" providerId="ADAL" clId="{013ED13C-6829-4378-A6EF-2B6A713739E1}" dt="2024-06-12T14:08:51.295" v="1155" actId="167"/>
          <ac:grpSpMkLst>
            <pc:docMk/>
            <pc:sldMk cId="0" sldId="288"/>
            <ac:grpSpMk id="15" creationId="{8889A4DB-254D-C798-DB41-11F6B659A180}"/>
          </ac:grpSpMkLst>
        </pc:grpChg>
        <pc:grpChg chg="add mod ord">
          <ac:chgData name="Fivestarly Lathong [Chillibreeze]" userId="479dc9aa-69ea-4a23-b6ea-3a9d26ac15ab" providerId="ADAL" clId="{013ED13C-6829-4378-A6EF-2B6A713739E1}" dt="2024-06-12T14:08:51.295" v="1155" actId="167"/>
          <ac:grpSpMkLst>
            <pc:docMk/>
            <pc:sldMk cId="0" sldId="288"/>
            <ac:grpSpMk id="18" creationId="{5CBE831D-DAD1-D203-D829-B3C996B587E0}"/>
          </ac:grpSpMkLst>
        </pc:grpChg>
        <pc:grpChg chg="add mod ord">
          <ac:chgData name="Fivestarly Lathong [Chillibreeze]" userId="479dc9aa-69ea-4a23-b6ea-3a9d26ac15ab" providerId="ADAL" clId="{013ED13C-6829-4378-A6EF-2B6A713739E1}" dt="2024-06-12T14:08:51.295" v="1155" actId="167"/>
          <ac:grpSpMkLst>
            <pc:docMk/>
            <pc:sldMk cId="0" sldId="288"/>
            <ac:grpSpMk id="21" creationId="{D41BDCB2-C8A7-D5D1-530C-3D2222118810}"/>
          </ac:grpSpMkLst>
        </pc:grpChg>
        <pc:grpChg chg="del mod">
          <ac:chgData name="Fivestarly Lathong [Chillibreeze]" userId="479dc9aa-69ea-4a23-b6ea-3a9d26ac15ab" providerId="ADAL" clId="{013ED13C-6829-4378-A6EF-2B6A713739E1}" dt="2024-06-12T14:11:52.537" v="1262" actId="21"/>
          <ac:grpSpMkLst>
            <pc:docMk/>
            <pc:sldMk cId="0" sldId="288"/>
            <ac:grpSpMk id="4603" creationId="{00000000-0000-0000-0000-000000000000}"/>
          </ac:grpSpMkLst>
        </pc:grpChg>
        <pc:grpChg chg="del mod">
          <ac:chgData name="Fivestarly Lathong [Chillibreeze]" userId="479dc9aa-69ea-4a23-b6ea-3a9d26ac15ab" providerId="ADAL" clId="{013ED13C-6829-4378-A6EF-2B6A713739E1}" dt="2024-06-12T14:11:52.537" v="1262" actId="21"/>
          <ac:grpSpMkLst>
            <pc:docMk/>
            <pc:sldMk cId="0" sldId="288"/>
            <ac:grpSpMk id="4610" creationId="{00000000-0000-0000-0000-000000000000}"/>
          </ac:grpSpMkLst>
        </pc:grpChg>
        <pc:grpChg chg="del mod">
          <ac:chgData name="Fivestarly Lathong [Chillibreeze]" userId="479dc9aa-69ea-4a23-b6ea-3a9d26ac15ab" providerId="ADAL" clId="{013ED13C-6829-4378-A6EF-2B6A713739E1}" dt="2024-06-12T14:11:52.537" v="1262" actId="21"/>
          <ac:grpSpMkLst>
            <pc:docMk/>
            <pc:sldMk cId="0" sldId="288"/>
            <ac:grpSpMk id="4615" creationId="{00000000-0000-0000-0000-000000000000}"/>
          </ac:grpSpMkLst>
        </pc:grpChg>
        <pc:grpChg chg="del mod">
          <ac:chgData name="Fivestarly Lathong [Chillibreeze]" userId="479dc9aa-69ea-4a23-b6ea-3a9d26ac15ab" providerId="ADAL" clId="{013ED13C-6829-4378-A6EF-2B6A713739E1}" dt="2024-06-12T14:11:52.537" v="1262" actId="21"/>
          <ac:grpSpMkLst>
            <pc:docMk/>
            <pc:sldMk cId="0" sldId="288"/>
            <ac:grpSpMk id="4620" creationId="{00000000-0000-0000-0000-000000000000}"/>
          </ac:grpSpMkLst>
        </pc:grpChg>
        <pc:grpChg chg="del mod">
          <ac:chgData name="Fivestarly Lathong [Chillibreeze]" userId="479dc9aa-69ea-4a23-b6ea-3a9d26ac15ab" providerId="ADAL" clId="{013ED13C-6829-4378-A6EF-2B6A713739E1}" dt="2024-06-12T14:11:52.537" v="1262" actId="21"/>
          <ac:grpSpMkLst>
            <pc:docMk/>
            <pc:sldMk cId="0" sldId="288"/>
            <ac:grpSpMk id="4629" creationId="{00000000-0000-0000-0000-000000000000}"/>
          </ac:grpSpMkLst>
        </pc:grpChg>
        <pc:picChg chg="add mod ord">
          <ac:chgData name="Fivestarly Lathong [Chillibreeze]" userId="479dc9aa-69ea-4a23-b6ea-3a9d26ac15ab" providerId="ADAL" clId="{013ED13C-6829-4378-A6EF-2B6A713739E1}" dt="2024-06-12T14:09:59.588" v="1224" actId="1076"/>
          <ac:picMkLst>
            <pc:docMk/>
            <pc:sldMk cId="0" sldId="288"/>
            <ac:picMk id="4" creationId="{375DF74D-279C-8D4E-1CDA-00ED8113EC94}"/>
          </ac:picMkLst>
        </pc:picChg>
        <pc:picChg chg="add mod ord">
          <ac:chgData name="Fivestarly Lathong [Chillibreeze]" userId="479dc9aa-69ea-4a23-b6ea-3a9d26ac15ab" providerId="ADAL" clId="{013ED13C-6829-4378-A6EF-2B6A713739E1}" dt="2024-06-12T14:12:00.295" v="1269" actId="167"/>
          <ac:picMkLst>
            <pc:docMk/>
            <pc:sldMk cId="0" sldId="288"/>
            <ac:picMk id="5" creationId="{DEA69878-F4FC-1B36-5F9D-119E84078EA8}"/>
          </ac:picMkLst>
        </pc:picChg>
        <pc:picChg chg="add del mod ord">
          <ac:chgData name="Fivestarly Lathong [Chillibreeze]" userId="479dc9aa-69ea-4a23-b6ea-3a9d26ac15ab" providerId="ADAL" clId="{013ED13C-6829-4378-A6EF-2B6A713739E1}" dt="2024-06-12T14:11:57.654" v="1264" actId="21"/>
          <ac:picMkLst>
            <pc:docMk/>
            <pc:sldMk cId="0" sldId="288"/>
            <ac:picMk id="24" creationId="{9F33FBB6-04B2-299B-E0AA-975F0072AA6A}"/>
          </ac:picMkLst>
        </pc:picChg>
        <pc:cxnChg chg="add mod ord">
          <ac:chgData name="Fivestarly Lathong [Chillibreeze]" userId="479dc9aa-69ea-4a23-b6ea-3a9d26ac15ab" providerId="ADAL" clId="{013ED13C-6829-4378-A6EF-2B6A713739E1}" dt="2024-06-12T14:08:51.295" v="1155" actId="167"/>
          <ac:cxnSpMkLst>
            <pc:docMk/>
            <pc:sldMk cId="0" sldId="288"/>
            <ac:cxnSpMk id="8" creationId="{EB539545-CE89-794B-B104-D8307D8AA0A6}"/>
          </ac:cxnSpMkLst>
        </pc:cxnChg>
      </pc:sldChg>
      <pc:sldChg chg="addSp delSp modSp mod setBg modClrScheme chgLayout">
        <pc:chgData name="Fivestarly Lathong [Chillibreeze]" userId="479dc9aa-69ea-4a23-b6ea-3a9d26ac15ab" providerId="ADAL" clId="{013ED13C-6829-4378-A6EF-2B6A713739E1}" dt="2024-06-12T14:14:31.447" v="1296" actId="478"/>
        <pc:sldMkLst>
          <pc:docMk/>
          <pc:sldMk cId="0" sldId="289"/>
        </pc:sldMkLst>
        <pc:spChg chg="del mod ord">
          <ac:chgData name="Fivestarly Lathong [Chillibreeze]" userId="479dc9aa-69ea-4a23-b6ea-3a9d26ac15ab" providerId="ADAL" clId="{013ED13C-6829-4378-A6EF-2B6A713739E1}" dt="2024-06-12T14:12:26.886" v="1273" actId="700"/>
          <ac:spMkLst>
            <pc:docMk/>
            <pc:sldMk cId="0" sldId="289"/>
            <ac:spMk id="2" creationId="{CEF5B3F4-EE41-9683-1F91-3896AE945D27}"/>
          </ac:spMkLst>
        </pc:spChg>
        <pc:spChg chg="del mod">
          <ac:chgData name="Fivestarly Lathong [Chillibreeze]" userId="479dc9aa-69ea-4a23-b6ea-3a9d26ac15ab" providerId="ADAL" clId="{013ED13C-6829-4378-A6EF-2B6A713739E1}" dt="2024-06-12T14:12:12.029" v="1272" actId="478"/>
          <ac:spMkLst>
            <pc:docMk/>
            <pc:sldMk cId="0" sldId="289"/>
            <ac:spMk id="3" creationId="{5B2BB983-B26E-A04A-C631-6D9B7D488D4A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14:29.294" v="1295" actId="700"/>
          <ac:spMkLst>
            <pc:docMk/>
            <pc:sldMk cId="0" sldId="289"/>
            <ac:spMk id="4" creationId="{D6917D38-923F-DE94-4946-6FE4C8531D31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12:45.261" v="1283" actId="6264"/>
          <ac:spMkLst>
            <pc:docMk/>
            <pc:sldMk cId="0" sldId="289"/>
            <ac:spMk id="5" creationId="{4973B37D-FC24-B8AC-F5CB-D1A818E54FD2}"/>
          </ac:spMkLst>
        </pc:spChg>
        <pc:spChg chg="add del mod">
          <ac:chgData name="Fivestarly Lathong [Chillibreeze]" userId="479dc9aa-69ea-4a23-b6ea-3a9d26ac15ab" providerId="ADAL" clId="{013ED13C-6829-4378-A6EF-2B6A713739E1}" dt="2024-06-12T14:12:45.261" v="1283" actId="6264"/>
          <ac:spMkLst>
            <pc:docMk/>
            <pc:sldMk cId="0" sldId="289"/>
            <ac:spMk id="6" creationId="{6F82E428-53FA-22EF-69C6-D82065802814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12:45.449" v="1284" actId="6264"/>
          <ac:spMkLst>
            <pc:docMk/>
            <pc:sldMk cId="0" sldId="289"/>
            <ac:spMk id="7" creationId="{95A7C59B-CEAC-FFF4-8C2B-26F2280A3FE6}"/>
          </ac:spMkLst>
        </pc:spChg>
        <pc:spChg chg="add del mod">
          <ac:chgData name="Fivestarly Lathong [Chillibreeze]" userId="479dc9aa-69ea-4a23-b6ea-3a9d26ac15ab" providerId="ADAL" clId="{013ED13C-6829-4378-A6EF-2B6A713739E1}" dt="2024-06-12T14:12:45.449" v="1284" actId="6264"/>
          <ac:spMkLst>
            <pc:docMk/>
            <pc:sldMk cId="0" sldId="289"/>
            <ac:spMk id="8" creationId="{945D27A9-0582-5037-8893-E381AF9B8616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12:47.924" v="1285" actId="21"/>
          <ac:spMkLst>
            <pc:docMk/>
            <pc:sldMk cId="0" sldId="289"/>
            <ac:spMk id="9" creationId="{BF18BC83-DD13-2A98-ABE9-B0B6FADA911E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14:31.447" v="1296" actId="478"/>
          <ac:spMkLst>
            <pc:docMk/>
            <pc:sldMk cId="0" sldId="289"/>
            <ac:spMk id="10" creationId="{B2FBDE1E-4DDD-ED87-7C8A-B5BE23D60396}"/>
          </ac:spMkLst>
        </pc:spChg>
        <pc:spChg chg="del mod">
          <ac:chgData name="Fivestarly Lathong [Chillibreeze]" userId="479dc9aa-69ea-4a23-b6ea-3a9d26ac15ab" providerId="ADAL" clId="{013ED13C-6829-4378-A6EF-2B6A713739E1}" dt="2024-06-12T14:12:44.130" v="1282" actId="478"/>
          <ac:spMkLst>
            <pc:docMk/>
            <pc:sldMk cId="0" sldId="289"/>
            <ac:spMk id="4641" creationId="{00000000-0000-0000-0000-000000000000}"/>
          </ac:spMkLst>
        </pc:spChg>
      </pc:sldChg>
      <pc:sldChg chg="addSp delSp modSp mod modClrScheme chgLayout">
        <pc:chgData name="Fivestarly Lathong [Chillibreeze]" userId="479dc9aa-69ea-4a23-b6ea-3a9d26ac15ab" providerId="ADAL" clId="{013ED13C-6829-4378-A6EF-2B6A713739E1}" dt="2024-06-12T14:15:22.703" v="1324" actId="5793"/>
        <pc:sldMkLst>
          <pc:docMk/>
          <pc:sldMk cId="0" sldId="290"/>
        </pc:sldMkLst>
        <pc:spChg chg="del mod">
          <ac:chgData name="Fivestarly Lathong [Chillibreeze]" userId="479dc9aa-69ea-4a23-b6ea-3a9d26ac15ab" providerId="ADAL" clId="{013ED13C-6829-4378-A6EF-2B6A713739E1}" dt="2024-06-12T14:14:42.314" v="1298" actId="21"/>
          <ac:spMkLst>
            <pc:docMk/>
            <pc:sldMk cId="0" sldId="290"/>
            <ac:spMk id="2" creationId="{CEE1E452-0C89-AED2-6898-47672C42A9ED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15:06.546" v="1307" actId="6264"/>
          <ac:spMkLst>
            <pc:docMk/>
            <pc:sldMk cId="0" sldId="290"/>
            <ac:spMk id="3" creationId="{004C249C-FBE0-839A-E27E-31C0F67AE5FD}"/>
          </ac:spMkLst>
        </pc:spChg>
        <pc:spChg chg="add del mod">
          <ac:chgData name="Fivestarly Lathong [Chillibreeze]" userId="479dc9aa-69ea-4a23-b6ea-3a9d26ac15ab" providerId="ADAL" clId="{013ED13C-6829-4378-A6EF-2B6A713739E1}" dt="2024-06-12T14:15:02.422" v="1303" actId="6264"/>
          <ac:spMkLst>
            <pc:docMk/>
            <pc:sldMk cId="0" sldId="290"/>
            <ac:spMk id="4" creationId="{F13868D6-DCEA-3015-CF9B-D04E2314A69D}"/>
          </ac:spMkLst>
        </pc:spChg>
        <pc:spChg chg="add del mod">
          <ac:chgData name="Fivestarly Lathong [Chillibreeze]" userId="479dc9aa-69ea-4a23-b6ea-3a9d26ac15ab" providerId="ADAL" clId="{013ED13C-6829-4378-A6EF-2B6A713739E1}" dt="2024-06-12T14:15:02.422" v="1303" actId="6264"/>
          <ac:spMkLst>
            <pc:docMk/>
            <pc:sldMk cId="0" sldId="290"/>
            <ac:spMk id="5" creationId="{681EC3C6-8A22-C214-C24E-ACECE560FB61}"/>
          </ac:spMkLst>
        </pc:spChg>
        <pc:spChg chg="add del mod">
          <ac:chgData name="Fivestarly Lathong [Chillibreeze]" userId="479dc9aa-69ea-4a23-b6ea-3a9d26ac15ab" providerId="ADAL" clId="{013ED13C-6829-4378-A6EF-2B6A713739E1}" dt="2024-06-12T14:15:02.600" v="1304" actId="6264"/>
          <ac:spMkLst>
            <pc:docMk/>
            <pc:sldMk cId="0" sldId="290"/>
            <ac:spMk id="6" creationId="{8CA71C94-02A9-80D7-8094-8523E7A089BD}"/>
          </ac:spMkLst>
        </pc:spChg>
        <pc:spChg chg="add del mod">
          <ac:chgData name="Fivestarly Lathong [Chillibreeze]" userId="479dc9aa-69ea-4a23-b6ea-3a9d26ac15ab" providerId="ADAL" clId="{013ED13C-6829-4378-A6EF-2B6A713739E1}" dt="2024-06-12T14:15:02.600" v="1304" actId="6264"/>
          <ac:spMkLst>
            <pc:docMk/>
            <pc:sldMk cId="0" sldId="290"/>
            <ac:spMk id="7" creationId="{E7A6B969-F900-DA15-067A-B3730AFF74C1}"/>
          </ac:spMkLst>
        </pc:spChg>
        <pc:spChg chg="add del mod">
          <ac:chgData name="Fivestarly Lathong [Chillibreeze]" userId="479dc9aa-69ea-4a23-b6ea-3a9d26ac15ab" providerId="ADAL" clId="{013ED13C-6829-4378-A6EF-2B6A713739E1}" dt="2024-06-12T14:15:02.768" v="1305" actId="6264"/>
          <ac:spMkLst>
            <pc:docMk/>
            <pc:sldMk cId="0" sldId="290"/>
            <ac:spMk id="8" creationId="{AF63698B-83FB-2F5E-B464-6474AAA03B2D}"/>
          </ac:spMkLst>
        </pc:spChg>
        <pc:spChg chg="add del mod">
          <ac:chgData name="Fivestarly Lathong [Chillibreeze]" userId="479dc9aa-69ea-4a23-b6ea-3a9d26ac15ab" providerId="ADAL" clId="{013ED13C-6829-4378-A6EF-2B6A713739E1}" dt="2024-06-12T14:15:02.768" v="1305" actId="6264"/>
          <ac:spMkLst>
            <pc:docMk/>
            <pc:sldMk cId="0" sldId="290"/>
            <ac:spMk id="9" creationId="{C574AB4A-C9F5-6BDD-EC65-71CE20443DD4}"/>
          </ac:spMkLst>
        </pc:spChg>
        <pc:spChg chg="add del mod">
          <ac:chgData name="Fivestarly Lathong [Chillibreeze]" userId="479dc9aa-69ea-4a23-b6ea-3a9d26ac15ab" providerId="ADAL" clId="{013ED13C-6829-4378-A6EF-2B6A713739E1}" dt="2024-06-12T14:15:06.546" v="1307" actId="6264"/>
          <ac:spMkLst>
            <pc:docMk/>
            <pc:sldMk cId="0" sldId="290"/>
            <ac:spMk id="10" creationId="{833F06C5-4200-A57E-F3CF-98FA8226E8F9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15:07.027" v="1308" actId="6264"/>
          <ac:spMkLst>
            <pc:docMk/>
            <pc:sldMk cId="0" sldId="290"/>
            <ac:spMk id="11" creationId="{62EAAA4B-D8E4-3068-6AE1-D6C43A8249E0}"/>
          </ac:spMkLst>
        </pc:spChg>
        <pc:spChg chg="add del mod">
          <ac:chgData name="Fivestarly Lathong [Chillibreeze]" userId="479dc9aa-69ea-4a23-b6ea-3a9d26ac15ab" providerId="ADAL" clId="{013ED13C-6829-4378-A6EF-2B6A713739E1}" dt="2024-06-12T14:15:07.027" v="1308" actId="6264"/>
          <ac:spMkLst>
            <pc:docMk/>
            <pc:sldMk cId="0" sldId="290"/>
            <ac:spMk id="12" creationId="{40119B1B-4F54-B588-7FA1-01CC40CA7394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15:07.038" v="1309" actId="6264"/>
          <ac:spMkLst>
            <pc:docMk/>
            <pc:sldMk cId="0" sldId="290"/>
            <ac:spMk id="13" creationId="{8F10C8A8-C7E0-DCD3-E63E-AE6FFA4828BE}"/>
          </ac:spMkLst>
        </pc:spChg>
        <pc:spChg chg="add del mod">
          <ac:chgData name="Fivestarly Lathong [Chillibreeze]" userId="479dc9aa-69ea-4a23-b6ea-3a9d26ac15ab" providerId="ADAL" clId="{013ED13C-6829-4378-A6EF-2B6A713739E1}" dt="2024-06-12T14:15:07.038" v="1309" actId="6264"/>
          <ac:spMkLst>
            <pc:docMk/>
            <pc:sldMk cId="0" sldId="290"/>
            <ac:spMk id="14" creationId="{446E6639-12E2-D1BE-D565-9960B0C3094E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15:07.077" v="1310" actId="6264"/>
          <ac:spMkLst>
            <pc:docMk/>
            <pc:sldMk cId="0" sldId="290"/>
            <ac:spMk id="15" creationId="{00F6F20B-1A1B-1EAC-F3A3-034E278E657E}"/>
          </ac:spMkLst>
        </pc:spChg>
        <pc:spChg chg="add del mod">
          <ac:chgData name="Fivestarly Lathong [Chillibreeze]" userId="479dc9aa-69ea-4a23-b6ea-3a9d26ac15ab" providerId="ADAL" clId="{013ED13C-6829-4378-A6EF-2B6A713739E1}" dt="2024-06-12T14:15:07.077" v="1310" actId="6264"/>
          <ac:spMkLst>
            <pc:docMk/>
            <pc:sldMk cId="0" sldId="290"/>
            <ac:spMk id="16" creationId="{AC06186A-80AC-2EA7-C13F-FAE63E18F87C}"/>
          </ac:spMkLst>
        </pc:spChg>
        <pc:spChg chg="add mod ord">
          <ac:chgData name="Fivestarly Lathong [Chillibreeze]" userId="479dc9aa-69ea-4a23-b6ea-3a9d26ac15ab" providerId="ADAL" clId="{013ED13C-6829-4378-A6EF-2B6A713739E1}" dt="2024-06-12T14:15:22.703" v="1324" actId="5793"/>
          <ac:spMkLst>
            <pc:docMk/>
            <pc:sldMk cId="0" sldId="290"/>
            <ac:spMk id="17" creationId="{C27F1EBC-9152-8FBE-14FC-09C1ED8ADC09}"/>
          </ac:spMkLst>
        </pc:spChg>
        <pc:spChg chg="add del mod">
          <ac:chgData name="Fivestarly Lathong [Chillibreeze]" userId="479dc9aa-69ea-4a23-b6ea-3a9d26ac15ab" providerId="ADAL" clId="{013ED13C-6829-4378-A6EF-2B6A713739E1}" dt="2024-06-12T14:15:13.619" v="1315" actId="6264"/>
          <ac:spMkLst>
            <pc:docMk/>
            <pc:sldMk cId="0" sldId="290"/>
            <ac:spMk id="18" creationId="{B3E9E9A0-AB0C-4EC3-9BA1-CCE9BB6A1035}"/>
          </ac:spMkLst>
        </pc:spChg>
        <pc:spChg chg="add del mod">
          <ac:chgData name="Fivestarly Lathong [Chillibreeze]" userId="479dc9aa-69ea-4a23-b6ea-3a9d26ac15ab" providerId="ADAL" clId="{013ED13C-6829-4378-A6EF-2B6A713739E1}" dt="2024-06-12T14:15:13.619" v="1315" actId="6264"/>
          <ac:spMkLst>
            <pc:docMk/>
            <pc:sldMk cId="0" sldId="290"/>
            <ac:spMk id="19" creationId="{BF3B9FC9-9377-681F-C7B5-756BE6340710}"/>
          </ac:spMkLst>
        </pc:spChg>
        <pc:spChg chg="add del mod">
          <ac:chgData name="Fivestarly Lathong [Chillibreeze]" userId="479dc9aa-69ea-4a23-b6ea-3a9d26ac15ab" providerId="ADAL" clId="{013ED13C-6829-4378-A6EF-2B6A713739E1}" dt="2024-06-12T14:15:13.822" v="1316" actId="6264"/>
          <ac:spMkLst>
            <pc:docMk/>
            <pc:sldMk cId="0" sldId="290"/>
            <ac:spMk id="20" creationId="{BC164B0D-2D58-CEA7-2466-F351DF01DF0A}"/>
          </ac:spMkLst>
        </pc:spChg>
        <pc:spChg chg="add del mod">
          <ac:chgData name="Fivestarly Lathong [Chillibreeze]" userId="479dc9aa-69ea-4a23-b6ea-3a9d26ac15ab" providerId="ADAL" clId="{013ED13C-6829-4378-A6EF-2B6A713739E1}" dt="2024-06-12T14:15:13.822" v="1316" actId="6264"/>
          <ac:spMkLst>
            <pc:docMk/>
            <pc:sldMk cId="0" sldId="290"/>
            <ac:spMk id="21" creationId="{19684E1D-3D3D-96B2-5B45-5CB554CD85EA}"/>
          </ac:spMkLst>
        </pc:spChg>
        <pc:spChg chg="add del mod">
          <ac:chgData name="Fivestarly Lathong [Chillibreeze]" userId="479dc9aa-69ea-4a23-b6ea-3a9d26ac15ab" providerId="ADAL" clId="{013ED13C-6829-4378-A6EF-2B6A713739E1}" dt="2024-06-12T14:15:17.437" v="1318" actId="6264"/>
          <ac:spMkLst>
            <pc:docMk/>
            <pc:sldMk cId="0" sldId="290"/>
            <ac:spMk id="22" creationId="{5646541F-0FDB-EDBB-0DF5-137742E67783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15:17.537" v="1319" actId="6264"/>
          <ac:spMkLst>
            <pc:docMk/>
            <pc:sldMk cId="0" sldId="290"/>
            <ac:spMk id="23" creationId="{D87D98BB-3A08-C3A9-394C-7B9D22C5F932}"/>
          </ac:spMkLst>
        </pc:spChg>
        <pc:spChg chg="add del mod">
          <ac:chgData name="Fivestarly Lathong [Chillibreeze]" userId="479dc9aa-69ea-4a23-b6ea-3a9d26ac15ab" providerId="ADAL" clId="{013ED13C-6829-4378-A6EF-2B6A713739E1}" dt="2024-06-12T14:15:17.537" v="1319" actId="6264"/>
          <ac:spMkLst>
            <pc:docMk/>
            <pc:sldMk cId="0" sldId="290"/>
            <ac:spMk id="24" creationId="{B8DCDCC0-DEE6-BEB2-C665-C103AF43533B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15:17.547" v="1320" actId="6264"/>
          <ac:spMkLst>
            <pc:docMk/>
            <pc:sldMk cId="0" sldId="290"/>
            <ac:spMk id="25" creationId="{6F363CD6-73E1-110C-287F-6DDEDACBB3CB}"/>
          </ac:spMkLst>
        </pc:spChg>
        <pc:spChg chg="add del mod">
          <ac:chgData name="Fivestarly Lathong [Chillibreeze]" userId="479dc9aa-69ea-4a23-b6ea-3a9d26ac15ab" providerId="ADAL" clId="{013ED13C-6829-4378-A6EF-2B6A713739E1}" dt="2024-06-12T14:15:17.547" v="1320" actId="6264"/>
          <ac:spMkLst>
            <pc:docMk/>
            <pc:sldMk cId="0" sldId="290"/>
            <ac:spMk id="26" creationId="{D1AC886F-EE4E-9879-0F1E-3E8176C7DEE7}"/>
          </ac:spMkLst>
        </pc:spChg>
        <pc:spChg chg="add mod ord">
          <ac:chgData name="Fivestarly Lathong [Chillibreeze]" userId="479dc9aa-69ea-4a23-b6ea-3a9d26ac15ab" providerId="ADAL" clId="{013ED13C-6829-4378-A6EF-2B6A713739E1}" dt="2024-06-12T14:15:21.619" v="1323"/>
          <ac:spMkLst>
            <pc:docMk/>
            <pc:sldMk cId="0" sldId="290"/>
            <ac:spMk id="27" creationId="{540A778E-19CE-2F40-1DEE-752D5A2070D0}"/>
          </ac:spMkLst>
        </pc:spChg>
        <pc:spChg chg="del mod ord">
          <ac:chgData name="Fivestarly Lathong [Chillibreeze]" userId="479dc9aa-69ea-4a23-b6ea-3a9d26ac15ab" providerId="ADAL" clId="{013ED13C-6829-4378-A6EF-2B6A713739E1}" dt="2024-06-12T14:15:17.437" v="1318" actId="6264"/>
          <ac:spMkLst>
            <pc:docMk/>
            <pc:sldMk cId="0" sldId="290"/>
            <ac:spMk id="4646" creationId="{00000000-0000-0000-0000-000000000000}"/>
          </ac:spMkLst>
        </pc:spChg>
      </pc:sldChg>
      <pc:sldChg chg="addSp modSp del mod modClrScheme chgLayout">
        <pc:chgData name="Fivestarly Lathong [Chillibreeze]" userId="479dc9aa-69ea-4a23-b6ea-3a9d26ac15ab" providerId="ADAL" clId="{013ED13C-6829-4378-A6EF-2B6A713739E1}" dt="2024-06-12T14:19:44.194" v="1362" actId="2696"/>
        <pc:sldMkLst>
          <pc:docMk/>
          <pc:sldMk cId="0" sldId="291"/>
        </pc:sldMkLst>
        <pc:spChg chg="add mod ord">
          <ac:chgData name="Fivestarly Lathong [Chillibreeze]" userId="479dc9aa-69ea-4a23-b6ea-3a9d26ac15ab" providerId="ADAL" clId="{013ED13C-6829-4378-A6EF-2B6A713739E1}" dt="2024-06-12T14:18:38.921" v="1345" actId="700"/>
          <ac:spMkLst>
            <pc:docMk/>
            <pc:sldMk cId="0" sldId="291"/>
            <ac:spMk id="3" creationId="{A7C823FC-D578-1A12-63FA-DB0A8131B041}"/>
          </ac:spMkLst>
        </pc:spChg>
        <pc:spChg chg="mod ord">
          <ac:chgData name="Fivestarly Lathong [Chillibreeze]" userId="479dc9aa-69ea-4a23-b6ea-3a9d26ac15ab" providerId="ADAL" clId="{013ED13C-6829-4378-A6EF-2B6A713739E1}" dt="2024-06-12T14:18:38.921" v="1345" actId="700"/>
          <ac:spMkLst>
            <pc:docMk/>
            <pc:sldMk cId="0" sldId="291"/>
            <ac:spMk id="4651" creationId="{00000000-0000-0000-0000-000000000000}"/>
          </ac:spMkLst>
        </pc:spChg>
        <pc:spChg chg="mod ord">
          <ac:chgData name="Fivestarly Lathong [Chillibreeze]" userId="479dc9aa-69ea-4a23-b6ea-3a9d26ac15ab" providerId="ADAL" clId="{013ED13C-6829-4378-A6EF-2B6A713739E1}" dt="2024-06-12T14:18:38.921" v="1345" actId="700"/>
          <ac:spMkLst>
            <pc:docMk/>
            <pc:sldMk cId="0" sldId="291"/>
            <ac:spMk id="4652" creationId="{00000000-0000-0000-0000-000000000000}"/>
          </ac:spMkLst>
        </pc:spChg>
        <pc:spChg chg="mod ord">
          <ac:chgData name="Fivestarly Lathong [Chillibreeze]" userId="479dc9aa-69ea-4a23-b6ea-3a9d26ac15ab" providerId="ADAL" clId="{013ED13C-6829-4378-A6EF-2B6A713739E1}" dt="2024-06-12T14:18:38.921" v="1345" actId="700"/>
          <ac:spMkLst>
            <pc:docMk/>
            <pc:sldMk cId="0" sldId="291"/>
            <ac:spMk id="4653" creationId="{00000000-0000-0000-0000-000000000000}"/>
          </ac:spMkLst>
        </pc:spChg>
      </pc:sldChg>
      <pc:sldChg chg="addSp delSp modSp mod modClrScheme chgLayout">
        <pc:chgData name="Fivestarly Lathong [Chillibreeze]" userId="479dc9aa-69ea-4a23-b6ea-3a9d26ac15ab" providerId="ADAL" clId="{013ED13C-6829-4378-A6EF-2B6A713739E1}" dt="2024-06-12T14:20:27.436" v="1382" actId="207"/>
        <pc:sldMkLst>
          <pc:docMk/>
          <pc:sldMk cId="0" sldId="292"/>
        </pc:sldMkLst>
        <pc:spChg chg="add del mod ord">
          <ac:chgData name="Fivestarly Lathong [Chillibreeze]" userId="479dc9aa-69ea-4a23-b6ea-3a9d26ac15ab" providerId="ADAL" clId="{013ED13C-6829-4378-A6EF-2B6A713739E1}" dt="2024-06-12T14:20:02.841" v="1364" actId="21"/>
          <ac:spMkLst>
            <pc:docMk/>
            <pc:sldMk cId="0" sldId="292"/>
            <ac:spMk id="2" creationId="{5973DEDE-8948-1CF9-E935-CB269A7DE946}"/>
          </ac:spMkLst>
        </pc:spChg>
        <pc:spChg chg="add del mod">
          <ac:chgData name="Fivestarly Lathong [Chillibreeze]" userId="479dc9aa-69ea-4a23-b6ea-3a9d26ac15ab" providerId="ADAL" clId="{013ED13C-6829-4378-A6EF-2B6A713739E1}" dt="2024-06-12T14:20:04.928" v="1365" actId="6264"/>
          <ac:spMkLst>
            <pc:docMk/>
            <pc:sldMk cId="0" sldId="292"/>
            <ac:spMk id="4" creationId="{4F2B49F5-F8B3-2DC9-BD64-A90DC14887D7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20:05.133" v="1366" actId="6264"/>
          <ac:spMkLst>
            <pc:docMk/>
            <pc:sldMk cId="0" sldId="292"/>
            <ac:spMk id="5" creationId="{F990730F-1B92-13DE-2D5D-69B8C7CA0AC4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20:05.133" v="1366" actId="6264"/>
          <ac:spMkLst>
            <pc:docMk/>
            <pc:sldMk cId="0" sldId="292"/>
            <ac:spMk id="6" creationId="{F00A93E3-0F7C-D863-38D4-EED2263D7F3C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20:05.328" v="1367" actId="6264"/>
          <ac:spMkLst>
            <pc:docMk/>
            <pc:sldMk cId="0" sldId="292"/>
            <ac:spMk id="7" creationId="{786145C1-E531-7DC5-D29A-48BD277AC764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20:05.328" v="1367" actId="6264"/>
          <ac:spMkLst>
            <pc:docMk/>
            <pc:sldMk cId="0" sldId="292"/>
            <ac:spMk id="8" creationId="{9B1C9AF6-C15E-65DD-8CBE-C1F0D8CF0A0F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20:18.511" v="1375" actId="6264"/>
          <ac:spMkLst>
            <pc:docMk/>
            <pc:sldMk cId="0" sldId="292"/>
            <ac:spMk id="9" creationId="{5B01AA4D-0B9C-61AE-CE86-193C9CB56E12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20:10.850" v="1369" actId="6264"/>
          <ac:spMkLst>
            <pc:docMk/>
            <pc:sldMk cId="0" sldId="292"/>
            <ac:spMk id="10" creationId="{A27A91E0-A720-173C-6806-F7C0529CC35B}"/>
          </ac:spMkLst>
        </pc:spChg>
        <pc:spChg chg="add del mod">
          <ac:chgData name="Fivestarly Lathong [Chillibreeze]" userId="479dc9aa-69ea-4a23-b6ea-3a9d26ac15ab" providerId="ADAL" clId="{013ED13C-6829-4378-A6EF-2B6A713739E1}" dt="2024-06-12T14:20:10.850" v="1369" actId="6264"/>
          <ac:spMkLst>
            <pc:docMk/>
            <pc:sldMk cId="0" sldId="292"/>
            <ac:spMk id="11" creationId="{B55720D7-B1C3-C400-6681-36CB258FAED2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20:11.031" v="1370" actId="6264"/>
          <ac:spMkLst>
            <pc:docMk/>
            <pc:sldMk cId="0" sldId="292"/>
            <ac:spMk id="12" creationId="{D6F9C364-84DA-5769-AEE4-BDDE520475F9}"/>
          </ac:spMkLst>
        </pc:spChg>
        <pc:spChg chg="add del mod">
          <ac:chgData name="Fivestarly Lathong [Chillibreeze]" userId="479dc9aa-69ea-4a23-b6ea-3a9d26ac15ab" providerId="ADAL" clId="{013ED13C-6829-4378-A6EF-2B6A713739E1}" dt="2024-06-12T14:20:11.031" v="1370" actId="6264"/>
          <ac:spMkLst>
            <pc:docMk/>
            <pc:sldMk cId="0" sldId="292"/>
            <ac:spMk id="13" creationId="{F9FB36CF-1339-09D7-8371-2ADA316A27B2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20:11.202" v="1371" actId="6264"/>
          <ac:spMkLst>
            <pc:docMk/>
            <pc:sldMk cId="0" sldId="292"/>
            <ac:spMk id="14" creationId="{02A21D6C-000C-D1D9-C070-FE7473C868BF}"/>
          </ac:spMkLst>
        </pc:spChg>
        <pc:spChg chg="add del mod">
          <ac:chgData name="Fivestarly Lathong [Chillibreeze]" userId="479dc9aa-69ea-4a23-b6ea-3a9d26ac15ab" providerId="ADAL" clId="{013ED13C-6829-4378-A6EF-2B6A713739E1}" dt="2024-06-12T14:20:11.202" v="1371" actId="6264"/>
          <ac:spMkLst>
            <pc:docMk/>
            <pc:sldMk cId="0" sldId="292"/>
            <ac:spMk id="15" creationId="{7A706C5B-A3A9-5A58-CD51-63710DE8BCF6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20:18.511" v="1375" actId="6264"/>
          <ac:spMkLst>
            <pc:docMk/>
            <pc:sldMk cId="0" sldId="292"/>
            <ac:spMk id="16" creationId="{DF29B2DB-CEEA-4171-0400-53218E4EB246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20:18.888" v="1376" actId="6264"/>
          <ac:spMkLst>
            <pc:docMk/>
            <pc:sldMk cId="0" sldId="292"/>
            <ac:spMk id="17" creationId="{AB3B8EC6-3218-8EAB-3354-B83E4D9E63A0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20:18.888" v="1376" actId="6264"/>
          <ac:spMkLst>
            <pc:docMk/>
            <pc:sldMk cId="0" sldId="292"/>
            <ac:spMk id="18" creationId="{F1F22FFF-7857-9915-4006-D1059E43BFB8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20:18.888" v="1377" actId="6264"/>
          <ac:spMkLst>
            <pc:docMk/>
            <pc:sldMk cId="0" sldId="292"/>
            <ac:spMk id="19" creationId="{9D66CAC2-CBD0-C3CC-B610-ECBB88AAB9D1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20:18.888" v="1377" actId="6264"/>
          <ac:spMkLst>
            <pc:docMk/>
            <pc:sldMk cId="0" sldId="292"/>
            <ac:spMk id="20" creationId="{3B235648-6899-F878-19D5-08CA71F94ECB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20:20.553" v="1378" actId="6264"/>
          <ac:spMkLst>
            <pc:docMk/>
            <pc:sldMk cId="0" sldId="292"/>
            <ac:spMk id="21" creationId="{661C0AC8-2623-628C-CAE8-4ECBD41552FC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20:20.553" v="1378" actId="6264"/>
          <ac:spMkLst>
            <pc:docMk/>
            <pc:sldMk cId="0" sldId="292"/>
            <ac:spMk id="22" creationId="{A1E70027-3E70-1620-B23C-89A2ABB0793D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20:20.966" v="1379" actId="6264"/>
          <ac:spMkLst>
            <pc:docMk/>
            <pc:sldMk cId="0" sldId="292"/>
            <ac:spMk id="23" creationId="{5A6829A0-14EF-A30E-626C-7E1855ED5395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20:20.966" v="1379" actId="6264"/>
          <ac:spMkLst>
            <pc:docMk/>
            <pc:sldMk cId="0" sldId="292"/>
            <ac:spMk id="24" creationId="{0DF74CB7-227B-EA14-BA52-9008B16D41B8}"/>
          </ac:spMkLst>
        </pc:spChg>
        <pc:spChg chg="add mod ord">
          <ac:chgData name="Fivestarly Lathong [Chillibreeze]" userId="479dc9aa-69ea-4a23-b6ea-3a9d26ac15ab" providerId="ADAL" clId="{013ED13C-6829-4378-A6EF-2B6A713739E1}" dt="2024-06-12T14:20:27.436" v="1382" actId="207"/>
          <ac:spMkLst>
            <pc:docMk/>
            <pc:sldMk cId="0" sldId="292"/>
            <ac:spMk id="25" creationId="{C6252E15-203B-1E46-5AFA-62F70CC270EA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20:22.471" v="1380" actId="478"/>
          <ac:spMkLst>
            <pc:docMk/>
            <pc:sldMk cId="0" sldId="292"/>
            <ac:spMk id="26" creationId="{9743C88C-132D-500C-3549-726A0B9A5B2E}"/>
          </ac:spMkLst>
        </pc:spChg>
        <pc:spChg chg="del mod ord">
          <ac:chgData name="Fivestarly Lathong [Chillibreeze]" userId="479dc9aa-69ea-4a23-b6ea-3a9d26ac15ab" providerId="ADAL" clId="{013ED13C-6829-4378-A6EF-2B6A713739E1}" dt="2024-06-12T14:20:02.841" v="1364" actId="21"/>
          <ac:spMkLst>
            <pc:docMk/>
            <pc:sldMk cId="0" sldId="292"/>
            <ac:spMk id="4658" creationId="{00000000-0000-0000-0000-000000000000}"/>
          </ac:spMkLst>
        </pc:spChg>
        <pc:spChg chg="del mod ord">
          <ac:chgData name="Fivestarly Lathong [Chillibreeze]" userId="479dc9aa-69ea-4a23-b6ea-3a9d26ac15ab" providerId="ADAL" clId="{013ED13C-6829-4378-A6EF-2B6A713739E1}" dt="2024-06-12T14:20:02.841" v="1364" actId="21"/>
          <ac:spMkLst>
            <pc:docMk/>
            <pc:sldMk cId="0" sldId="292"/>
            <ac:spMk id="4659" creationId="{00000000-0000-0000-0000-000000000000}"/>
          </ac:spMkLst>
        </pc:spChg>
        <pc:spChg chg="del mod ord">
          <ac:chgData name="Fivestarly Lathong [Chillibreeze]" userId="479dc9aa-69ea-4a23-b6ea-3a9d26ac15ab" providerId="ADAL" clId="{013ED13C-6829-4378-A6EF-2B6A713739E1}" dt="2024-06-12T14:20:02.841" v="1364" actId="21"/>
          <ac:spMkLst>
            <pc:docMk/>
            <pc:sldMk cId="0" sldId="292"/>
            <ac:spMk id="4660" creationId="{00000000-0000-0000-0000-000000000000}"/>
          </ac:spMkLst>
        </pc:spChg>
        <pc:spChg chg="del mod ord">
          <ac:chgData name="Fivestarly Lathong [Chillibreeze]" userId="479dc9aa-69ea-4a23-b6ea-3a9d26ac15ab" providerId="ADAL" clId="{013ED13C-6829-4378-A6EF-2B6A713739E1}" dt="2024-06-12T14:20:02.841" v="1364" actId="21"/>
          <ac:spMkLst>
            <pc:docMk/>
            <pc:sldMk cId="0" sldId="292"/>
            <ac:spMk id="4661" creationId="{00000000-0000-0000-0000-000000000000}"/>
          </ac:spMkLst>
        </pc:spChg>
      </pc:sldChg>
      <pc:sldChg chg="delSp del mod">
        <pc:chgData name="Fivestarly Lathong [Chillibreeze]" userId="479dc9aa-69ea-4a23-b6ea-3a9d26ac15ab" providerId="ADAL" clId="{013ED13C-6829-4378-A6EF-2B6A713739E1}" dt="2024-06-12T14:20:56.708" v="1386" actId="2696"/>
        <pc:sldMkLst>
          <pc:docMk/>
          <pc:sldMk cId="0" sldId="293"/>
        </pc:sldMkLst>
        <pc:spChg chg="del">
          <ac:chgData name="Fivestarly Lathong [Chillibreeze]" userId="479dc9aa-69ea-4a23-b6ea-3a9d26ac15ab" providerId="ADAL" clId="{013ED13C-6829-4378-A6EF-2B6A713739E1}" dt="2024-06-12T14:20:55.687" v="1385" actId="21"/>
          <ac:spMkLst>
            <pc:docMk/>
            <pc:sldMk cId="0" sldId="293"/>
            <ac:spMk id="3" creationId="{4C9B7A31-DF95-E4F1-7CA4-A4657F2BDEB7}"/>
          </ac:spMkLst>
        </pc:spChg>
      </pc:sldChg>
      <pc:sldChg chg="addSp delSp modSp mod setBg modClrScheme chgLayout">
        <pc:chgData name="Fivestarly Lathong [Chillibreeze]" userId="479dc9aa-69ea-4a23-b6ea-3a9d26ac15ab" providerId="ADAL" clId="{013ED13C-6829-4378-A6EF-2B6A713739E1}" dt="2024-06-12T14:24:42.739" v="1460"/>
        <pc:sldMkLst>
          <pc:docMk/>
          <pc:sldMk cId="0" sldId="294"/>
        </pc:sldMkLst>
        <pc:spChg chg="del">
          <ac:chgData name="Fivestarly Lathong [Chillibreeze]" userId="479dc9aa-69ea-4a23-b6ea-3a9d26ac15ab" providerId="ADAL" clId="{013ED13C-6829-4378-A6EF-2B6A713739E1}" dt="2024-06-12T14:23:48.802" v="1434" actId="21"/>
          <ac:spMkLst>
            <pc:docMk/>
            <pc:sldMk cId="0" sldId="294"/>
            <ac:spMk id="2" creationId="{6643A552-6C99-D8F2-9C16-115E11D0D21F}"/>
          </ac:spMkLst>
        </pc:spChg>
        <pc:spChg chg="del mod">
          <ac:chgData name="Fivestarly Lathong [Chillibreeze]" userId="479dc9aa-69ea-4a23-b6ea-3a9d26ac15ab" providerId="ADAL" clId="{013ED13C-6829-4378-A6EF-2B6A713739E1}" dt="2024-06-12T14:23:48.802" v="1434" actId="21"/>
          <ac:spMkLst>
            <pc:docMk/>
            <pc:sldMk cId="0" sldId="294"/>
            <ac:spMk id="3" creationId="{E6E06E48-57E6-62A8-018A-758BF997953E}"/>
          </ac:spMkLst>
        </pc:spChg>
        <pc:spChg chg="add mod ord">
          <ac:chgData name="Fivestarly Lathong [Chillibreeze]" userId="479dc9aa-69ea-4a23-b6ea-3a9d26ac15ab" providerId="ADAL" clId="{013ED13C-6829-4378-A6EF-2B6A713739E1}" dt="2024-06-12T14:24:02.789" v="1439" actId="6264"/>
          <ac:spMkLst>
            <pc:docMk/>
            <pc:sldMk cId="0" sldId="294"/>
            <ac:spMk id="4" creationId="{50B8DDC3-C242-9518-6D6E-BF973CC7EACB}"/>
          </ac:spMkLst>
        </pc:spChg>
        <pc:spChg chg="add del mod">
          <ac:chgData name="Fivestarly Lathong [Chillibreeze]" userId="479dc9aa-69ea-4a23-b6ea-3a9d26ac15ab" providerId="ADAL" clId="{013ED13C-6829-4378-A6EF-2B6A713739E1}" dt="2024-06-12T14:24:02.461" v="1437" actId="6264"/>
          <ac:spMkLst>
            <pc:docMk/>
            <pc:sldMk cId="0" sldId="294"/>
            <ac:spMk id="5" creationId="{11DD44B7-445C-4F44-EB68-AE9D2B97814D}"/>
          </ac:spMkLst>
        </pc:spChg>
        <pc:spChg chg="add del mod">
          <ac:chgData name="Fivestarly Lathong [Chillibreeze]" userId="479dc9aa-69ea-4a23-b6ea-3a9d26ac15ab" providerId="ADAL" clId="{013ED13C-6829-4378-A6EF-2B6A713739E1}" dt="2024-06-12T14:24:02.606" v="1438" actId="6264"/>
          <ac:spMkLst>
            <pc:docMk/>
            <pc:sldMk cId="0" sldId="294"/>
            <ac:spMk id="6" creationId="{88B4B279-9AD0-E81D-AE45-8F28A516C6DE}"/>
          </ac:spMkLst>
        </pc:spChg>
        <pc:spChg chg="add del mod">
          <ac:chgData name="Fivestarly Lathong [Chillibreeze]" userId="479dc9aa-69ea-4a23-b6ea-3a9d26ac15ab" providerId="ADAL" clId="{013ED13C-6829-4378-A6EF-2B6A713739E1}" dt="2024-06-12T14:24:02.789" v="1439" actId="6264"/>
          <ac:spMkLst>
            <pc:docMk/>
            <pc:sldMk cId="0" sldId="294"/>
            <ac:spMk id="7" creationId="{091DAD90-A33B-3F5D-428B-9099FB118653}"/>
          </ac:spMkLst>
        </pc:spChg>
        <pc:spChg chg="mod">
          <ac:chgData name="Fivestarly Lathong [Chillibreeze]" userId="479dc9aa-69ea-4a23-b6ea-3a9d26ac15ab" providerId="ADAL" clId="{013ED13C-6829-4378-A6EF-2B6A713739E1}" dt="2024-06-12T14:24:14.719" v="1442"/>
          <ac:spMkLst>
            <pc:docMk/>
            <pc:sldMk cId="0" sldId="294"/>
            <ac:spMk id="9" creationId="{C7D791B6-05B4-74AD-E14F-2B23E49F9666}"/>
          </ac:spMkLst>
        </pc:spChg>
        <pc:spChg chg="mod">
          <ac:chgData name="Fivestarly Lathong [Chillibreeze]" userId="479dc9aa-69ea-4a23-b6ea-3a9d26ac15ab" providerId="ADAL" clId="{013ED13C-6829-4378-A6EF-2B6A713739E1}" dt="2024-06-12T14:24:14.719" v="1442"/>
          <ac:spMkLst>
            <pc:docMk/>
            <pc:sldMk cId="0" sldId="294"/>
            <ac:spMk id="10" creationId="{A3DD0976-1D70-B1E0-8817-C623EE1B4056}"/>
          </ac:spMkLst>
        </pc:spChg>
        <pc:spChg chg="add del mod">
          <ac:chgData name="Fivestarly Lathong [Chillibreeze]" userId="479dc9aa-69ea-4a23-b6ea-3a9d26ac15ab" providerId="ADAL" clId="{013ED13C-6829-4378-A6EF-2B6A713739E1}" dt="2024-06-12T14:24:17.534" v="1443" actId="21"/>
          <ac:spMkLst>
            <pc:docMk/>
            <pc:sldMk cId="0" sldId="294"/>
            <ac:spMk id="12" creationId="{E818C795-8703-AFE5-FF3D-72BD08C7D05A}"/>
          </ac:spMkLst>
        </pc:spChg>
        <pc:spChg chg="mod">
          <ac:chgData name="Fivestarly Lathong [Chillibreeze]" userId="479dc9aa-69ea-4a23-b6ea-3a9d26ac15ab" providerId="ADAL" clId="{013ED13C-6829-4378-A6EF-2B6A713739E1}" dt="2024-06-12T14:24:39.765" v="1456"/>
          <ac:spMkLst>
            <pc:docMk/>
            <pc:sldMk cId="0" sldId="294"/>
            <ac:spMk id="14" creationId="{284C4541-C9E1-36CD-5F7B-371DE1114C37}"/>
          </ac:spMkLst>
        </pc:spChg>
        <pc:spChg chg="mod">
          <ac:chgData name="Fivestarly Lathong [Chillibreeze]" userId="479dc9aa-69ea-4a23-b6ea-3a9d26ac15ab" providerId="ADAL" clId="{013ED13C-6829-4378-A6EF-2B6A713739E1}" dt="2024-06-12T14:24:39.765" v="1456"/>
          <ac:spMkLst>
            <pc:docMk/>
            <pc:sldMk cId="0" sldId="294"/>
            <ac:spMk id="20" creationId="{A73C07F2-E0ED-42A3-85AE-C6596DC64531}"/>
          </ac:spMkLst>
        </pc:spChg>
        <pc:spChg chg="mod">
          <ac:chgData name="Fivestarly Lathong [Chillibreeze]" userId="479dc9aa-69ea-4a23-b6ea-3a9d26ac15ab" providerId="ADAL" clId="{013ED13C-6829-4378-A6EF-2B6A713739E1}" dt="2024-06-12T14:24:39.765" v="1456"/>
          <ac:spMkLst>
            <pc:docMk/>
            <pc:sldMk cId="0" sldId="294"/>
            <ac:spMk id="21" creationId="{D1243F3C-51BF-B411-C7E4-36CC60AF24D2}"/>
          </ac:spMkLst>
        </pc:spChg>
        <pc:spChg chg="mod">
          <ac:chgData name="Fivestarly Lathong [Chillibreeze]" userId="479dc9aa-69ea-4a23-b6ea-3a9d26ac15ab" providerId="ADAL" clId="{013ED13C-6829-4378-A6EF-2B6A713739E1}" dt="2024-06-12T14:24:42.739" v="1460"/>
          <ac:spMkLst>
            <pc:docMk/>
            <pc:sldMk cId="0" sldId="294"/>
            <ac:spMk id="22" creationId="{0794591B-DF02-A4D0-5169-624B6E798185}"/>
          </ac:spMkLst>
        </pc:spChg>
        <pc:spChg chg="mod">
          <ac:chgData name="Fivestarly Lathong [Chillibreeze]" userId="479dc9aa-69ea-4a23-b6ea-3a9d26ac15ab" providerId="ADAL" clId="{013ED13C-6829-4378-A6EF-2B6A713739E1}" dt="2024-06-12T14:24:39.765" v="1456"/>
          <ac:spMkLst>
            <pc:docMk/>
            <pc:sldMk cId="0" sldId="294"/>
            <ac:spMk id="23" creationId="{C2B98B01-5B86-59E1-4B94-BB6D3A4DD0BC}"/>
          </ac:spMkLst>
        </pc:spChg>
        <pc:spChg chg="mod">
          <ac:chgData name="Fivestarly Lathong [Chillibreeze]" userId="479dc9aa-69ea-4a23-b6ea-3a9d26ac15ab" providerId="ADAL" clId="{013ED13C-6829-4378-A6EF-2B6A713739E1}" dt="2024-06-12T14:24:39.765" v="1456"/>
          <ac:spMkLst>
            <pc:docMk/>
            <pc:sldMk cId="0" sldId="294"/>
            <ac:spMk id="26" creationId="{D52A5DF0-5FA4-F175-D7C8-5B24AFF1F8D8}"/>
          </ac:spMkLst>
        </pc:spChg>
        <pc:spChg chg="mod">
          <ac:chgData name="Fivestarly Lathong [Chillibreeze]" userId="479dc9aa-69ea-4a23-b6ea-3a9d26ac15ab" providerId="ADAL" clId="{013ED13C-6829-4378-A6EF-2B6A713739E1}" dt="2024-06-12T14:24:39.765" v="1456"/>
          <ac:spMkLst>
            <pc:docMk/>
            <pc:sldMk cId="0" sldId="294"/>
            <ac:spMk id="27" creationId="{F4C633EE-FC3B-ED86-AE22-D0EFBAAA6DD6}"/>
          </ac:spMkLst>
        </pc:spChg>
        <pc:spChg chg="mod">
          <ac:chgData name="Fivestarly Lathong [Chillibreeze]" userId="479dc9aa-69ea-4a23-b6ea-3a9d26ac15ab" providerId="ADAL" clId="{013ED13C-6829-4378-A6EF-2B6A713739E1}" dt="2024-06-12T14:24:39.765" v="1456"/>
          <ac:spMkLst>
            <pc:docMk/>
            <pc:sldMk cId="0" sldId="294"/>
            <ac:spMk id="28" creationId="{3077C840-76D0-01D7-60B1-EC00031C53FD}"/>
          </ac:spMkLst>
        </pc:spChg>
        <pc:spChg chg="mod">
          <ac:chgData name="Fivestarly Lathong [Chillibreeze]" userId="479dc9aa-69ea-4a23-b6ea-3a9d26ac15ab" providerId="ADAL" clId="{013ED13C-6829-4378-A6EF-2B6A713739E1}" dt="2024-06-12T14:24:39.765" v="1456"/>
          <ac:spMkLst>
            <pc:docMk/>
            <pc:sldMk cId="0" sldId="294"/>
            <ac:spMk id="29" creationId="{B646911E-DF4C-36BF-E234-33C58053C7AC}"/>
          </ac:spMkLst>
        </pc:spChg>
        <pc:spChg chg="mod">
          <ac:chgData name="Fivestarly Lathong [Chillibreeze]" userId="479dc9aa-69ea-4a23-b6ea-3a9d26ac15ab" providerId="ADAL" clId="{013ED13C-6829-4378-A6EF-2B6A713739E1}" dt="2024-06-12T14:24:39.765" v="1456"/>
          <ac:spMkLst>
            <pc:docMk/>
            <pc:sldMk cId="0" sldId="294"/>
            <ac:spMk id="30" creationId="{FD0B3FA0-8D51-6E05-E968-B4BDEF4E5DEB}"/>
          </ac:spMkLst>
        </pc:spChg>
        <pc:spChg chg="mod">
          <ac:chgData name="Fivestarly Lathong [Chillibreeze]" userId="479dc9aa-69ea-4a23-b6ea-3a9d26ac15ab" providerId="ADAL" clId="{013ED13C-6829-4378-A6EF-2B6A713739E1}" dt="2024-06-12T14:24:39.765" v="1456"/>
          <ac:spMkLst>
            <pc:docMk/>
            <pc:sldMk cId="0" sldId="294"/>
            <ac:spMk id="31" creationId="{619ED9DC-4E94-89D3-0B63-9CC71E330C24}"/>
          </ac:spMkLst>
        </pc:spChg>
        <pc:spChg chg="mod">
          <ac:chgData name="Fivestarly Lathong [Chillibreeze]" userId="479dc9aa-69ea-4a23-b6ea-3a9d26ac15ab" providerId="ADAL" clId="{013ED13C-6829-4378-A6EF-2B6A713739E1}" dt="2024-06-12T14:24:39.765" v="1456"/>
          <ac:spMkLst>
            <pc:docMk/>
            <pc:sldMk cId="0" sldId="294"/>
            <ac:spMk id="32" creationId="{CFF8133F-DF2B-808F-A928-E100E68E6CA3}"/>
          </ac:spMkLst>
        </pc:spChg>
        <pc:spChg chg="mod">
          <ac:chgData name="Fivestarly Lathong [Chillibreeze]" userId="479dc9aa-69ea-4a23-b6ea-3a9d26ac15ab" providerId="ADAL" clId="{013ED13C-6829-4378-A6EF-2B6A713739E1}" dt="2024-06-12T14:24:39.765" v="1456"/>
          <ac:spMkLst>
            <pc:docMk/>
            <pc:sldMk cId="0" sldId="294"/>
            <ac:spMk id="35" creationId="{DEB3338E-E174-3441-1E2C-5AE420F57543}"/>
          </ac:spMkLst>
        </pc:spChg>
        <pc:spChg chg="mod">
          <ac:chgData name="Fivestarly Lathong [Chillibreeze]" userId="479dc9aa-69ea-4a23-b6ea-3a9d26ac15ab" providerId="ADAL" clId="{013ED13C-6829-4378-A6EF-2B6A713739E1}" dt="2024-06-12T14:24:39.765" v="1456"/>
          <ac:spMkLst>
            <pc:docMk/>
            <pc:sldMk cId="0" sldId="294"/>
            <ac:spMk id="36" creationId="{3B5A938C-58BC-7D48-12D7-10A8D8217545}"/>
          </ac:spMkLst>
        </pc:spChg>
        <pc:spChg chg="mod">
          <ac:chgData name="Fivestarly Lathong [Chillibreeze]" userId="479dc9aa-69ea-4a23-b6ea-3a9d26ac15ab" providerId="ADAL" clId="{013ED13C-6829-4378-A6EF-2B6A713739E1}" dt="2024-06-12T14:24:39.765" v="1456"/>
          <ac:spMkLst>
            <pc:docMk/>
            <pc:sldMk cId="0" sldId="294"/>
            <ac:spMk id="37" creationId="{C5F19D35-A46F-5C61-FCB0-A3824D6DAF1D}"/>
          </ac:spMkLst>
        </pc:spChg>
        <pc:spChg chg="mod">
          <ac:chgData name="Fivestarly Lathong [Chillibreeze]" userId="479dc9aa-69ea-4a23-b6ea-3a9d26ac15ab" providerId="ADAL" clId="{013ED13C-6829-4378-A6EF-2B6A713739E1}" dt="2024-06-12T14:24:39.765" v="1456"/>
          <ac:spMkLst>
            <pc:docMk/>
            <pc:sldMk cId="0" sldId="294"/>
            <ac:spMk id="38" creationId="{22C579F2-0C7F-DA17-65DE-9DCEACC4C047}"/>
          </ac:spMkLst>
        </pc:spChg>
        <pc:spChg chg="mod">
          <ac:chgData name="Fivestarly Lathong [Chillibreeze]" userId="479dc9aa-69ea-4a23-b6ea-3a9d26ac15ab" providerId="ADAL" clId="{013ED13C-6829-4378-A6EF-2B6A713739E1}" dt="2024-06-12T14:24:39.765" v="1456"/>
          <ac:spMkLst>
            <pc:docMk/>
            <pc:sldMk cId="0" sldId="294"/>
            <ac:spMk id="39" creationId="{FBE42E45-802B-EBA9-5F4C-DC0992EC2CDA}"/>
          </ac:spMkLst>
        </pc:spChg>
        <pc:spChg chg="mod">
          <ac:chgData name="Fivestarly Lathong [Chillibreeze]" userId="479dc9aa-69ea-4a23-b6ea-3a9d26ac15ab" providerId="ADAL" clId="{013ED13C-6829-4378-A6EF-2B6A713739E1}" dt="2024-06-12T14:24:39.765" v="1456"/>
          <ac:spMkLst>
            <pc:docMk/>
            <pc:sldMk cId="0" sldId="294"/>
            <ac:spMk id="40" creationId="{806F5BB4-EF38-DB82-BD06-C607D2921F65}"/>
          </ac:spMkLst>
        </pc:spChg>
        <pc:spChg chg="mod">
          <ac:chgData name="Fivestarly Lathong [Chillibreeze]" userId="479dc9aa-69ea-4a23-b6ea-3a9d26ac15ab" providerId="ADAL" clId="{013ED13C-6829-4378-A6EF-2B6A713739E1}" dt="2024-06-12T14:24:39.765" v="1456"/>
          <ac:spMkLst>
            <pc:docMk/>
            <pc:sldMk cId="0" sldId="294"/>
            <ac:spMk id="41" creationId="{E3DA81A3-3319-79DC-6B22-4F41E1151948}"/>
          </ac:spMkLst>
        </pc:spChg>
        <pc:spChg chg="mod">
          <ac:chgData name="Fivestarly Lathong [Chillibreeze]" userId="479dc9aa-69ea-4a23-b6ea-3a9d26ac15ab" providerId="ADAL" clId="{013ED13C-6829-4378-A6EF-2B6A713739E1}" dt="2024-06-12T14:24:39.765" v="1456"/>
          <ac:spMkLst>
            <pc:docMk/>
            <pc:sldMk cId="0" sldId="294"/>
            <ac:spMk id="42" creationId="{6883D272-FB14-AC0E-CC17-ABD1C713DB0A}"/>
          </ac:spMkLst>
        </pc:spChg>
        <pc:spChg chg="mod">
          <ac:chgData name="Fivestarly Lathong [Chillibreeze]" userId="479dc9aa-69ea-4a23-b6ea-3a9d26ac15ab" providerId="ADAL" clId="{013ED13C-6829-4378-A6EF-2B6A713739E1}" dt="2024-06-12T14:24:39.765" v="1456"/>
          <ac:spMkLst>
            <pc:docMk/>
            <pc:sldMk cId="0" sldId="294"/>
            <ac:spMk id="44" creationId="{643238EF-C3A4-6BC2-59FB-455A253BD906}"/>
          </ac:spMkLst>
        </pc:spChg>
        <pc:spChg chg="mod">
          <ac:chgData name="Fivestarly Lathong [Chillibreeze]" userId="479dc9aa-69ea-4a23-b6ea-3a9d26ac15ab" providerId="ADAL" clId="{013ED13C-6829-4378-A6EF-2B6A713739E1}" dt="2024-06-12T14:24:39.765" v="1456"/>
          <ac:spMkLst>
            <pc:docMk/>
            <pc:sldMk cId="0" sldId="294"/>
            <ac:spMk id="45" creationId="{DD7415F2-6337-52AC-AFCF-CA7E46CCE77C}"/>
          </ac:spMkLst>
        </pc:spChg>
        <pc:spChg chg="mod">
          <ac:chgData name="Fivestarly Lathong [Chillibreeze]" userId="479dc9aa-69ea-4a23-b6ea-3a9d26ac15ab" providerId="ADAL" clId="{013ED13C-6829-4378-A6EF-2B6A713739E1}" dt="2024-06-12T14:24:39.765" v="1456"/>
          <ac:spMkLst>
            <pc:docMk/>
            <pc:sldMk cId="0" sldId="294"/>
            <ac:spMk id="46" creationId="{7271912B-C4CE-486C-E70C-1FB07084E4B5}"/>
          </ac:spMkLst>
        </pc:spChg>
        <pc:spChg chg="mod">
          <ac:chgData name="Fivestarly Lathong [Chillibreeze]" userId="479dc9aa-69ea-4a23-b6ea-3a9d26ac15ab" providerId="ADAL" clId="{013ED13C-6829-4378-A6EF-2B6A713739E1}" dt="2024-06-12T14:24:39.765" v="1456"/>
          <ac:spMkLst>
            <pc:docMk/>
            <pc:sldMk cId="0" sldId="294"/>
            <ac:spMk id="47" creationId="{FCF794FF-CB28-148D-CE1D-9DAF76F71413}"/>
          </ac:spMkLst>
        </pc:spChg>
        <pc:spChg chg="mod">
          <ac:chgData name="Fivestarly Lathong [Chillibreeze]" userId="479dc9aa-69ea-4a23-b6ea-3a9d26ac15ab" providerId="ADAL" clId="{013ED13C-6829-4378-A6EF-2B6A713739E1}" dt="2024-06-12T14:24:39.765" v="1456"/>
          <ac:spMkLst>
            <pc:docMk/>
            <pc:sldMk cId="0" sldId="294"/>
            <ac:spMk id="48" creationId="{066F443E-BE24-9B04-EC78-BAD1395C3745}"/>
          </ac:spMkLst>
        </pc:spChg>
        <pc:spChg chg="mod">
          <ac:chgData name="Fivestarly Lathong [Chillibreeze]" userId="479dc9aa-69ea-4a23-b6ea-3a9d26ac15ab" providerId="ADAL" clId="{013ED13C-6829-4378-A6EF-2B6A713739E1}" dt="2024-06-12T14:24:39.765" v="1456"/>
          <ac:spMkLst>
            <pc:docMk/>
            <pc:sldMk cId="0" sldId="294"/>
            <ac:spMk id="49" creationId="{D20BEA47-1410-BB5A-4A4D-49E41CDC2E51}"/>
          </ac:spMkLst>
        </pc:spChg>
        <pc:spChg chg="mod">
          <ac:chgData name="Fivestarly Lathong [Chillibreeze]" userId="479dc9aa-69ea-4a23-b6ea-3a9d26ac15ab" providerId="ADAL" clId="{013ED13C-6829-4378-A6EF-2B6A713739E1}" dt="2024-06-12T14:24:39.765" v="1456"/>
          <ac:spMkLst>
            <pc:docMk/>
            <pc:sldMk cId="0" sldId="294"/>
            <ac:spMk id="50" creationId="{64ABA9DC-7E09-EE22-40FE-F757F2132208}"/>
          </ac:spMkLst>
        </pc:spChg>
        <pc:spChg chg="del">
          <ac:chgData name="Fivestarly Lathong [Chillibreeze]" userId="479dc9aa-69ea-4a23-b6ea-3a9d26ac15ab" providerId="ADAL" clId="{013ED13C-6829-4378-A6EF-2B6A713739E1}" dt="2024-06-12T14:23:48.802" v="1434" actId="21"/>
          <ac:spMkLst>
            <pc:docMk/>
            <pc:sldMk cId="0" sldId="294"/>
            <ac:spMk id="4685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3:48.802" v="1434" actId="21"/>
          <ac:spMkLst>
            <pc:docMk/>
            <pc:sldMk cId="0" sldId="294"/>
            <ac:spMk id="4686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3:48.802" v="1434" actId="21"/>
          <ac:spMkLst>
            <pc:docMk/>
            <pc:sldMk cId="0" sldId="294"/>
            <ac:spMk id="4687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3:48.802" v="1434" actId="21"/>
          <ac:spMkLst>
            <pc:docMk/>
            <pc:sldMk cId="0" sldId="294"/>
            <ac:spMk id="4688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3:48.802" v="1434" actId="21"/>
          <ac:spMkLst>
            <pc:docMk/>
            <pc:sldMk cId="0" sldId="294"/>
            <ac:spMk id="4689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3:48.802" v="1434" actId="21"/>
          <ac:spMkLst>
            <pc:docMk/>
            <pc:sldMk cId="0" sldId="294"/>
            <ac:spMk id="4690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3:48.802" v="1434" actId="21"/>
          <ac:spMkLst>
            <pc:docMk/>
            <pc:sldMk cId="0" sldId="294"/>
            <ac:spMk id="4701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3:48.802" v="1434" actId="21"/>
          <ac:spMkLst>
            <pc:docMk/>
            <pc:sldMk cId="0" sldId="294"/>
            <ac:spMk id="4706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3:48.802" v="1434" actId="21"/>
          <ac:spMkLst>
            <pc:docMk/>
            <pc:sldMk cId="0" sldId="294"/>
            <ac:spMk id="4707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3:48.802" v="1434" actId="21"/>
          <ac:spMkLst>
            <pc:docMk/>
            <pc:sldMk cId="0" sldId="294"/>
            <ac:spMk id="4708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3:48.802" v="1434" actId="21"/>
          <ac:spMkLst>
            <pc:docMk/>
            <pc:sldMk cId="0" sldId="294"/>
            <ac:spMk id="4709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3:48.802" v="1434" actId="21"/>
          <ac:spMkLst>
            <pc:docMk/>
            <pc:sldMk cId="0" sldId="294"/>
            <ac:spMk id="4711" creationId="{00000000-0000-0000-0000-000000000000}"/>
          </ac:spMkLst>
        </pc:spChg>
        <pc:grpChg chg="add mod ord">
          <ac:chgData name="Fivestarly Lathong [Chillibreeze]" userId="479dc9aa-69ea-4a23-b6ea-3a9d26ac15ab" providerId="ADAL" clId="{013ED13C-6829-4378-A6EF-2B6A713739E1}" dt="2024-06-12T14:24:19.810" v="1444" actId="167"/>
          <ac:grpSpMkLst>
            <pc:docMk/>
            <pc:sldMk cId="0" sldId="294"/>
            <ac:grpSpMk id="8" creationId="{5D741955-6C2F-9A74-1416-81F5890E55B0}"/>
          </ac:grpSpMkLst>
        </pc:grpChg>
        <pc:grpChg chg="add mod">
          <ac:chgData name="Fivestarly Lathong [Chillibreeze]" userId="479dc9aa-69ea-4a23-b6ea-3a9d26ac15ab" providerId="ADAL" clId="{013ED13C-6829-4378-A6EF-2B6A713739E1}" dt="2024-06-12T14:24:39.765" v="1456"/>
          <ac:grpSpMkLst>
            <pc:docMk/>
            <pc:sldMk cId="0" sldId="294"/>
            <ac:grpSpMk id="13" creationId="{A6FB9FEF-BEFA-B5E5-7DE6-A652B692AF5B}"/>
          </ac:grpSpMkLst>
        </pc:grpChg>
        <pc:grpChg chg="mod">
          <ac:chgData name="Fivestarly Lathong [Chillibreeze]" userId="479dc9aa-69ea-4a23-b6ea-3a9d26ac15ab" providerId="ADAL" clId="{013ED13C-6829-4378-A6EF-2B6A713739E1}" dt="2024-06-12T14:24:39.765" v="1456"/>
          <ac:grpSpMkLst>
            <pc:docMk/>
            <pc:sldMk cId="0" sldId="294"/>
            <ac:grpSpMk id="15" creationId="{828E18B1-4778-5D6F-DEB0-93C1E0ED93BE}"/>
          </ac:grpSpMkLst>
        </pc:grpChg>
        <pc:grpChg chg="mod">
          <ac:chgData name="Fivestarly Lathong [Chillibreeze]" userId="479dc9aa-69ea-4a23-b6ea-3a9d26ac15ab" providerId="ADAL" clId="{013ED13C-6829-4378-A6EF-2B6A713739E1}" dt="2024-06-12T14:24:39.765" v="1456"/>
          <ac:grpSpMkLst>
            <pc:docMk/>
            <pc:sldMk cId="0" sldId="294"/>
            <ac:grpSpMk id="16" creationId="{D3C078DE-CE50-E14B-D971-C28EB423791C}"/>
          </ac:grpSpMkLst>
        </pc:grpChg>
        <pc:grpChg chg="mod">
          <ac:chgData name="Fivestarly Lathong [Chillibreeze]" userId="479dc9aa-69ea-4a23-b6ea-3a9d26ac15ab" providerId="ADAL" clId="{013ED13C-6829-4378-A6EF-2B6A713739E1}" dt="2024-06-12T14:24:39.765" v="1456"/>
          <ac:grpSpMkLst>
            <pc:docMk/>
            <pc:sldMk cId="0" sldId="294"/>
            <ac:grpSpMk id="18" creationId="{DEF56822-A1C9-C1FC-FF42-472B6F8F684B}"/>
          </ac:grpSpMkLst>
        </pc:grpChg>
        <pc:grpChg chg="mod">
          <ac:chgData name="Fivestarly Lathong [Chillibreeze]" userId="479dc9aa-69ea-4a23-b6ea-3a9d26ac15ab" providerId="ADAL" clId="{013ED13C-6829-4378-A6EF-2B6A713739E1}" dt="2024-06-12T14:24:39.765" v="1456"/>
          <ac:grpSpMkLst>
            <pc:docMk/>
            <pc:sldMk cId="0" sldId="294"/>
            <ac:grpSpMk id="19" creationId="{37E8B503-A215-891D-9E67-E58E6428447E}"/>
          </ac:grpSpMkLst>
        </pc:grpChg>
        <pc:grpChg chg="mod">
          <ac:chgData name="Fivestarly Lathong [Chillibreeze]" userId="479dc9aa-69ea-4a23-b6ea-3a9d26ac15ab" providerId="ADAL" clId="{013ED13C-6829-4378-A6EF-2B6A713739E1}" dt="2024-06-12T14:24:39.765" v="1456"/>
          <ac:grpSpMkLst>
            <pc:docMk/>
            <pc:sldMk cId="0" sldId="294"/>
            <ac:grpSpMk id="24" creationId="{0DF30206-293C-4F02-A91D-4BC72F17CA0D}"/>
          </ac:grpSpMkLst>
        </pc:grpChg>
        <pc:grpChg chg="mod">
          <ac:chgData name="Fivestarly Lathong [Chillibreeze]" userId="479dc9aa-69ea-4a23-b6ea-3a9d26ac15ab" providerId="ADAL" clId="{013ED13C-6829-4378-A6EF-2B6A713739E1}" dt="2024-06-12T14:24:39.765" v="1456"/>
          <ac:grpSpMkLst>
            <pc:docMk/>
            <pc:sldMk cId="0" sldId="294"/>
            <ac:grpSpMk id="25" creationId="{F75AB402-F9B2-9D00-C76F-9C15B2D3C556}"/>
          </ac:grpSpMkLst>
        </pc:grpChg>
        <pc:grpChg chg="mod">
          <ac:chgData name="Fivestarly Lathong [Chillibreeze]" userId="479dc9aa-69ea-4a23-b6ea-3a9d26ac15ab" providerId="ADAL" clId="{013ED13C-6829-4378-A6EF-2B6A713739E1}" dt="2024-06-12T14:24:39.765" v="1456"/>
          <ac:grpSpMkLst>
            <pc:docMk/>
            <pc:sldMk cId="0" sldId="294"/>
            <ac:grpSpMk id="33" creationId="{7115C37F-3E70-B254-6C94-E73176E5E80C}"/>
          </ac:grpSpMkLst>
        </pc:grpChg>
        <pc:grpChg chg="mod">
          <ac:chgData name="Fivestarly Lathong [Chillibreeze]" userId="479dc9aa-69ea-4a23-b6ea-3a9d26ac15ab" providerId="ADAL" clId="{013ED13C-6829-4378-A6EF-2B6A713739E1}" dt="2024-06-12T14:24:39.765" v="1456"/>
          <ac:grpSpMkLst>
            <pc:docMk/>
            <pc:sldMk cId="0" sldId="294"/>
            <ac:grpSpMk id="34" creationId="{08BCEED8-35A6-57A1-9335-CCDFCFE6362D}"/>
          </ac:grpSpMkLst>
        </pc:grpChg>
        <pc:grpChg chg="mod">
          <ac:chgData name="Fivestarly Lathong [Chillibreeze]" userId="479dc9aa-69ea-4a23-b6ea-3a9d26ac15ab" providerId="ADAL" clId="{013ED13C-6829-4378-A6EF-2B6A713739E1}" dt="2024-06-12T14:24:39.765" v="1456"/>
          <ac:grpSpMkLst>
            <pc:docMk/>
            <pc:sldMk cId="0" sldId="294"/>
            <ac:grpSpMk id="43" creationId="{338E97DD-5DE8-38DE-43F2-C6D60EEAEC4F}"/>
          </ac:grpSpMkLst>
        </pc:grpChg>
        <pc:grpChg chg="del">
          <ac:chgData name="Fivestarly Lathong [Chillibreeze]" userId="479dc9aa-69ea-4a23-b6ea-3a9d26ac15ab" providerId="ADAL" clId="{013ED13C-6829-4378-A6EF-2B6A713739E1}" dt="2024-06-12T14:23:48.802" v="1434" actId="21"/>
          <ac:grpSpMkLst>
            <pc:docMk/>
            <pc:sldMk cId="0" sldId="294"/>
            <ac:grpSpMk id="4691" creationId="{00000000-0000-0000-0000-000000000000}"/>
          </ac:grpSpMkLst>
        </pc:grpChg>
        <pc:grpChg chg="del">
          <ac:chgData name="Fivestarly Lathong [Chillibreeze]" userId="479dc9aa-69ea-4a23-b6ea-3a9d26ac15ab" providerId="ADAL" clId="{013ED13C-6829-4378-A6EF-2B6A713739E1}" dt="2024-06-12T14:23:48.802" v="1434" actId="21"/>
          <ac:grpSpMkLst>
            <pc:docMk/>
            <pc:sldMk cId="0" sldId="294"/>
            <ac:grpSpMk id="4698" creationId="{00000000-0000-0000-0000-000000000000}"/>
          </ac:grpSpMkLst>
        </pc:grpChg>
        <pc:grpChg chg="del">
          <ac:chgData name="Fivestarly Lathong [Chillibreeze]" userId="479dc9aa-69ea-4a23-b6ea-3a9d26ac15ab" providerId="ADAL" clId="{013ED13C-6829-4378-A6EF-2B6A713739E1}" dt="2024-06-12T14:23:48.802" v="1434" actId="21"/>
          <ac:grpSpMkLst>
            <pc:docMk/>
            <pc:sldMk cId="0" sldId="294"/>
            <ac:grpSpMk id="4702" creationId="{00000000-0000-0000-0000-000000000000}"/>
          </ac:grpSpMkLst>
        </pc:grpChg>
        <pc:picChg chg="add mod">
          <ac:chgData name="Fivestarly Lathong [Chillibreeze]" userId="479dc9aa-69ea-4a23-b6ea-3a9d26ac15ab" providerId="ADAL" clId="{013ED13C-6829-4378-A6EF-2B6A713739E1}" dt="2024-06-12T14:24:14.719" v="1442"/>
          <ac:picMkLst>
            <pc:docMk/>
            <pc:sldMk cId="0" sldId="294"/>
            <ac:picMk id="11" creationId="{171D69FA-C80E-6E31-CB68-3D5901FE41F5}"/>
          </ac:picMkLst>
        </pc:picChg>
        <pc:picChg chg="mod">
          <ac:chgData name="Fivestarly Lathong [Chillibreeze]" userId="479dc9aa-69ea-4a23-b6ea-3a9d26ac15ab" providerId="ADAL" clId="{013ED13C-6829-4378-A6EF-2B6A713739E1}" dt="2024-06-12T14:24:39.765" v="1456"/>
          <ac:picMkLst>
            <pc:docMk/>
            <pc:sldMk cId="0" sldId="294"/>
            <ac:picMk id="17" creationId="{10479A28-A7BD-1BFA-9728-C0BF5322451A}"/>
          </ac:picMkLst>
        </pc:picChg>
        <pc:picChg chg="del">
          <ac:chgData name="Fivestarly Lathong [Chillibreeze]" userId="479dc9aa-69ea-4a23-b6ea-3a9d26ac15ab" providerId="ADAL" clId="{013ED13C-6829-4378-A6EF-2B6A713739E1}" dt="2024-06-12T14:23:48.802" v="1434" actId="21"/>
          <ac:picMkLst>
            <pc:docMk/>
            <pc:sldMk cId="0" sldId="294"/>
            <ac:picMk id="4683" creationId="{00000000-0000-0000-0000-000000000000}"/>
          </ac:picMkLst>
        </pc:picChg>
        <pc:picChg chg="del">
          <ac:chgData name="Fivestarly Lathong [Chillibreeze]" userId="479dc9aa-69ea-4a23-b6ea-3a9d26ac15ab" providerId="ADAL" clId="{013ED13C-6829-4378-A6EF-2B6A713739E1}" dt="2024-06-12T14:23:48.802" v="1434" actId="21"/>
          <ac:picMkLst>
            <pc:docMk/>
            <pc:sldMk cId="0" sldId="294"/>
            <ac:picMk id="4684" creationId="{00000000-0000-0000-0000-000000000000}"/>
          </ac:picMkLst>
        </pc:picChg>
        <pc:picChg chg="del">
          <ac:chgData name="Fivestarly Lathong [Chillibreeze]" userId="479dc9aa-69ea-4a23-b6ea-3a9d26ac15ab" providerId="ADAL" clId="{013ED13C-6829-4378-A6EF-2B6A713739E1}" dt="2024-06-12T14:23:48.802" v="1434" actId="21"/>
          <ac:picMkLst>
            <pc:docMk/>
            <pc:sldMk cId="0" sldId="294"/>
            <ac:picMk id="4710" creationId="{00000000-0000-0000-0000-000000000000}"/>
          </ac:picMkLst>
        </pc:picChg>
        <pc:cxnChg chg="del">
          <ac:chgData name="Fivestarly Lathong [Chillibreeze]" userId="479dc9aa-69ea-4a23-b6ea-3a9d26ac15ab" providerId="ADAL" clId="{013ED13C-6829-4378-A6EF-2B6A713739E1}" dt="2024-06-12T14:23:48.802" v="1434" actId="21"/>
          <ac:cxnSpMkLst>
            <pc:docMk/>
            <pc:sldMk cId="0" sldId="294"/>
            <ac:cxnSpMk id="4694" creationId="{00000000-0000-0000-0000-000000000000}"/>
          </ac:cxnSpMkLst>
        </pc:cxnChg>
        <pc:cxnChg chg="del">
          <ac:chgData name="Fivestarly Lathong [Chillibreeze]" userId="479dc9aa-69ea-4a23-b6ea-3a9d26ac15ab" providerId="ADAL" clId="{013ED13C-6829-4378-A6EF-2B6A713739E1}" dt="2024-06-12T14:23:48.802" v="1434" actId="21"/>
          <ac:cxnSpMkLst>
            <pc:docMk/>
            <pc:sldMk cId="0" sldId="294"/>
            <ac:cxnSpMk id="4695" creationId="{00000000-0000-0000-0000-000000000000}"/>
          </ac:cxnSpMkLst>
        </pc:cxnChg>
        <pc:cxnChg chg="del">
          <ac:chgData name="Fivestarly Lathong [Chillibreeze]" userId="479dc9aa-69ea-4a23-b6ea-3a9d26ac15ab" providerId="ADAL" clId="{013ED13C-6829-4378-A6EF-2B6A713739E1}" dt="2024-06-12T14:23:48.802" v="1434" actId="21"/>
          <ac:cxnSpMkLst>
            <pc:docMk/>
            <pc:sldMk cId="0" sldId="294"/>
            <ac:cxnSpMk id="4696" creationId="{00000000-0000-0000-0000-000000000000}"/>
          </ac:cxnSpMkLst>
        </pc:cxnChg>
        <pc:cxnChg chg="del">
          <ac:chgData name="Fivestarly Lathong [Chillibreeze]" userId="479dc9aa-69ea-4a23-b6ea-3a9d26ac15ab" providerId="ADAL" clId="{013ED13C-6829-4378-A6EF-2B6A713739E1}" dt="2024-06-12T14:23:48.802" v="1434" actId="21"/>
          <ac:cxnSpMkLst>
            <pc:docMk/>
            <pc:sldMk cId="0" sldId="294"/>
            <ac:cxnSpMk id="4697" creationId="{00000000-0000-0000-0000-000000000000}"/>
          </ac:cxnSpMkLst>
        </pc:cxnChg>
      </pc:sldChg>
      <pc:sldChg chg="addSp delSp modSp mod modClrScheme chgLayout">
        <pc:chgData name="Fivestarly Lathong [Chillibreeze]" userId="479dc9aa-69ea-4a23-b6ea-3a9d26ac15ab" providerId="ADAL" clId="{013ED13C-6829-4378-A6EF-2B6A713739E1}" dt="2024-06-12T14:26:06.171" v="1519"/>
        <pc:sldMkLst>
          <pc:docMk/>
          <pc:sldMk cId="0" sldId="295"/>
        </pc:sldMkLst>
        <pc:spChg chg="del">
          <ac:chgData name="Fivestarly Lathong [Chillibreeze]" userId="479dc9aa-69ea-4a23-b6ea-3a9d26ac15ab" providerId="ADAL" clId="{013ED13C-6829-4378-A6EF-2B6A713739E1}" dt="2024-06-12T14:25:08.269" v="1462" actId="21"/>
          <ac:spMkLst>
            <pc:docMk/>
            <pc:sldMk cId="0" sldId="295"/>
            <ac:spMk id="2" creationId="{1AFB21E9-5AE4-537C-0BA6-D1977B03328E}"/>
          </ac:spMkLst>
        </pc:spChg>
        <pc:spChg chg="del">
          <ac:chgData name="Fivestarly Lathong [Chillibreeze]" userId="479dc9aa-69ea-4a23-b6ea-3a9d26ac15ab" providerId="ADAL" clId="{013ED13C-6829-4378-A6EF-2B6A713739E1}" dt="2024-06-12T14:25:06.735" v="1461" actId="21"/>
          <ac:spMkLst>
            <pc:docMk/>
            <pc:sldMk cId="0" sldId="295"/>
            <ac:spMk id="3" creationId="{1A72CDE5-13EF-7A1E-28FC-E3440F6D670F}"/>
          </ac:spMkLst>
        </pc:spChg>
        <pc:spChg chg="add mod">
          <ac:chgData name="Fivestarly Lathong [Chillibreeze]" userId="479dc9aa-69ea-4a23-b6ea-3a9d26ac15ab" providerId="ADAL" clId="{013ED13C-6829-4378-A6EF-2B6A713739E1}" dt="2024-06-12T14:25:12.963" v="1463"/>
          <ac:spMkLst>
            <pc:docMk/>
            <pc:sldMk cId="0" sldId="295"/>
            <ac:spMk id="5" creationId="{7F7D1EA0-5F6D-7B93-DE69-9DD22A21C418}"/>
          </ac:spMkLst>
        </pc:spChg>
        <pc:spChg chg="add mod">
          <ac:chgData name="Fivestarly Lathong [Chillibreeze]" userId="479dc9aa-69ea-4a23-b6ea-3a9d26ac15ab" providerId="ADAL" clId="{013ED13C-6829-4378-A6EF-2B6A713739E1}" dt="2024-06-12T14:25:12.963" v="1463"/>
          <ac:spMkLst>
            <pc:docMk/>
            <pc:sldMk cId="0" sldId="295"/>
            <ac:spMk id="6" creationId="{AB9FDB0F-BF5A-D693-D9EE-5F3257C2B69B}"/>
          </ac:spMkLst>
        </pc:spChg>
        <pc:spChg chg="add mod">
          <ac:chgData name="Fivestarly Lathong [Chillibreeze]" userId="479dc9aa-69ea-4a23-b6ea-3a9d26ac15ab" providerId="ADAL" clId="{013ED13C-6829-4378-A6EF-2B6A713739E1}" dt="2024-06-12T14:25:12.963" v="1463"/>
          <ac:spMkLst>
            <pc:docMk/>
            <pc:sldMk cId="0" sldId="295"/>
            <ac:spMk id="7" creationId="{69E2E808-C1B3-69BD-A3DD-70FAFE9F1E55}"/>
          </ac:spMkLst>
        </pc:spChg>
        <pc:spChg chg="add mod">
          <ac:chgData name="Fivestarly Lathong [Chillibreeze]" userId="479dc9aa-69ea-4a23-b6ea-3a9d26ac15ab" providerId="ADAL" clId="{013ED13C-6829-4378-A6EF-2B6A713739E1}" dt="2024-06-12T14:25:12.963" v="1463"/>
          <ac:spMkLst>
            <pc:docMk/>
            <pc:sldMk cId="0" sldId="295"/>
            <ac:spMk id="8" creationId="{B215213A-C209-9347-BB32-638AADBEADB0}"/>
          </ac:spMkLst>
        </pc:spChg>
        <pc:spChg chg="add mod">
          <ac:chgData name="Fivestarly Lathong [Chillibreeze]" userId="479dc9aa-69ea-4a23-b6ea-3a9d26ac15ab" providerId="ADAL" clId="{013ED13C-6829-4378-A6EF-2B6A713739E1}" dt="2024-06-12T14:25:12.963" v="1463"/>
          <ac:spMkLst>
            <pc:docMk/>
            <pc:sldMk cId="0" sldId="295"/>
            <ac:spMk id="9" creationId="{A5BCA4F9-AA55-FAA1-7905-66FBB42E56F5}"/>
          </ac:spMkLst>
        </pc:spChg>
        <pc:spChg chg="add mod">
          <ac:chgData name="Fivestarly Lathong [Chillibreeze]" userId="479dc9aa-69ea-4a23-b6ea-3a9d26ac15ab" providerId="ADAL" clId="{013ED13C-6829-4378-A6EF-2B6A713739E1}" dt="2024-06-12T14:25:12.963" v="1463"/>
          <ac:spMkLst>
            <pc:docMk/>
            <pc:sldMk cId="0" sldId="295"/>
            <ac:spMk id="10" creationId="{EE114CB0-1B35-24E2-238E-A318C030457D}"/>
          </ac:spMkLst>
        </pc:spChg>
        <pc:spChg chg="add mod">
          <ac:chgData name="Fivestarly Lathong [Chillibreeze]" userId="479dc9aa-69ea-4a23-b6ea-3a9d26ac15ab" providerId="ADAL" clId="{013ED13C-6829-4378-A6EF-2B6A713739E1}" dt="2024-06-12T14:25:12.963" v="1463"/>
          <ac:spMkLst>
            <pc:docMk/>
            <pc:sldMk cId="0" sldId="295"/>
            <ac:spMk id="11" creationId="{8BA8672C-51C5-61E4-E7C8-304AD151C97D}"/>
          </ac:spMkLst>
        </pc:spChg>
        <pc:spChg chg="add mod">
          <ac:chgData name="Fivestarly Lathong [Chillibreeze]" userId="479dc9aa-69ea-4a23-b6ea-3a9d26ac15ab" providerId="ADAL" clId="{013ED13C-6829-4378-A6EF-2B6A713739E1}" dt="2024-06-12T14:25:12.963" v="1463"/>
          <ac:spMkLst>
            <pc:docMk/>
            <pc:sldMk cId="0" sldId="295"/>
            <ac:spMk id="12" creationId="{1EBCE613-6FF7-FACF-82AF-760FF3BA363C}"/>
          </ac:spMkLst>
        </pc:spChg>
        <pc:spChg chg="mod">
          <ac:chgData name="Fivestarly Lathong [Chillibreeze]" userId="479dc9aa-69ea-4a23-b6ea-3a9d26ac15ab" providerId="ADAL" clId="{013ED13C-6829-4378-A6EF-2B6A713739E1}" dt="2024-06-12T14:25:12.963" v="1463"/>
          <ac:spMkLst>
            <pc:docMk/>
            <pc:sldMk cId="0" sldId="295"/>
            <ac:spMk id="14" creationId="{67C69261-2AB8-673B-3563-B2EDB57F0383}"/>
          </ac:spMkLst>
        </pc:spChg>
        <pc:spChg chg="mod">
          <ac:chgData name="Fivestarly Lathong [Chillibreeze]" userId="479dc9aa-69ea-4a23-b6ea-3a9d26ac15ab" providerId="ADAL" clId="{013ED13C-6829-4378-A6EF-2B6A713739E1}" dt="2024-06-12T14:25:12.963" v="1463"/>
          <ac:spMkLst>
            <pc:docMk/>
            <pc:sldMk cId="0" sldId="295"/>
            <ac:spMk id="15" creationId="{532BA527-FA46-9014-3074-058E63CA9FDF}"/>
          </ac:spMkLst>
        </pc:spChg>
        <pc:spChg chg="mod">
          <ac:chgData name="Fivestarly Lathong [Chillibreeze]" userId="479dc9aa-69ea-4a23-b6ea-3a9d26ac15ab" providerId="ADAL" clId="{013ED13C-6829-4378-A6EF-2B6A713739E1}" dt="2024-06-12T14:25:12.963" v="1463"/>
          <ac:spMkLst>
            <pc:docMk/>
            <pc:sldMk cId="0" sldId="295"/>
            <ac:spMk id="17" creationId="{2973B408-941D-0E0C-ED7C-30A35C3DC627}"/>
          </ac:spMkLst>
        </pc:spChg>
        <pc:spChg chg="mod">
          <ac:chgData name="Fivestarly Lathong [Chillibreeze]" userId="479dc9aa-69ea-4a23-b6ea-3a9d26ac15ab" providerId="ADAL" clId="{013ED13C-6829-4378-A6EF-2B6A713739E1}" dt="2024-06-12T14:25:12.963" v="1463"/>
          <ac:spMkLst>
            <pc:docMk/>
            <pc:sldMk cId="0" sldId="295"/>
            <ac:spMk id="18" creationId="{0227123F-E4CC-560A-1BFB-62680CED2F83}"/>
          </ac:spMkLst>
        </pc:spChg>
        <pc:spChg chg="mod">
          <ac:chgData name="Fivestarly Lathong [Chillibreeze]" userId="479dc9aa-69ea-4a23-b6ea-3a9d26ac15ab" providerId="ADAL" clId="{013ED13C-6829-4378-A6EF-2B6A713739E1}" dt="2024-06-12T14:25:12.963" v="1463"/>
          <ac:spMkLst>
            <pc:docMk/>
            <pc:sldMk cId="0" sldId="295"/>
            <ac:spMk id="20" creationId="{0C7EDFDE-C36A-39D4-6B49-33839B498D89}"/>
          </ac:spMkLst>
        </pc:spChg>
        <pc:spChg chg="mod">
          <ac:chgData name="Fivestarly Lathong [Chillibreeze]" userId="479dc9aa-69ea-4a23-b6ea-3a9d26ac15ab" providerId="ADAL" clId="{013ED13C-6829-4378-A6EF-2B6A713739E1}" dt="2024-06-12T14:25:12.963" v="1463"/>
          <ac:spMkLst>
            <pc:docMk/>
            <pc:sldMk cId="0" sldId="295"/>
            <ac:spMk id="21" creationId="{D4575621-91AE-E18A-A025-F187704C60DC}"/>
          </ac:spMkLst>
        </pc:spChg>
        <pc:spChg chg="add del mod">
          <ac:chgData name="Fivestarly Lathong [Chillibreeze]" userId="479dc9aa-69ea-4a23-b6ea-3a9d26ac15ab" providerId="ADAL" clId="{013ED13C-6829-4378-A6EF-2B6A713739E1}" dt="2024-06-12T14:25:21.211" v="1466" actId="21"/>
          <ac:spMkLst>
            <pc:docMk/>
            <pc:sldMk cId="0" sldId="295"/>
            <ac:spMk id="22" creationId="{6696ED91-A39E-DCF0-C020-F3E50FA813F2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25:38.797" v="1506" actId="21"/>
          <ac:spMkLst>
            <pc:docMk/>
            <pc:sldMk cId="0" sldId="295"/>
            <ac:spMk id="23" creationId="{CFD4666D-C939-FF75-7F4E-B8DA30688C90}"/>
          </ac:spMkLst>
        </pc:spChg>
        <pc:spChg chg="add mod">
          <ac:chgData name="Fivestarly Lathong [Chillibreeze]" userId="479dc9aa-69ea-4a23-b6ea-3a9d26ac15ab" providerId="ADAL" clId="{013ED13C-6829-4378-A6EF-2B6A713739E1}" dt="2024-06-12T14:25:50.833" v="1510"/>
          <ac:spMkLst>
            <pc:docMk/>
            <pc:sldMk cId="0" sldId="295"/>
            <ac:spMk id="25" creationId="{E36BF757-359F-135B-EF4B-E73916935D6A}"/>
          </ac:spMkLst>
        </pc:spChg>
        <pc:spChg chg="add mod">
          <ac:chgData name="Fivestarly Lathong [Chillibreeze]" userId="479dc9aa-69ea-4a23-b6ea-3a9d26ac15ab" providerId="ADAL" clId="{013ED13C-6829-4378-A6EF-2B6A713739E1}" dt="2024-06-12T14:25:12.963" v="1463"/>
          <ac:spMkLst>
            <pc:docMk/>
            <pc:sldMk cId="0" sldId="295"/>
            <ac:spMk id="26" creationId="{8E952A24-FB56-AD19-5676-4BCE8D03835E}"/>
          </ac:spMkLst>
        </pc:spChg>
        <pc:spChg chg="add mod">
          <ac:chgData name="Fivestarly Lathong [Chillibreeze]" userId="479dc9aa-69ea-4a23-b6ea-3a9d26ac15ab" providerId="ADAL" clId="{013ED13C-6829-4378-A6EF-2B6A713739E1}" dt="2024-06-12T14:25:55.493" v="1513"/>
          <ac:spMkLst>
            <pc:docMk/>
            <pc:sldMk cId="0" sldId="295"/>
            <ac:spMk id="27" creationId="{EEC6C9E9-C263-E16F-0DD0-B1CD2453D4F3}"/>
          </ac:spMkLst>
        </pc:spChg>
        <pc:spChg chg="add mod">
          <ac:chgData name="Fivestarly Lathong [Chillibreeze]" userId="479dc9aa-69ea-4a23-b6ea-3a9d26ac15ab" providerId="ADAL" clId="{013ED13C-6829-4378-A6EF-2B6A713739E1}" dt="2024-06-12T14:25:12.963" v="1463"/>
          <ac:spMkLst>
            <pc:docMk/>
            <pc:sldMk cId="0" sldId="295"/>
            <ac:spMk id="28" creationId="{BD9992DB-712F-4294-D792-8F04AFD24A36}"/>
          </ac:spMkLst>
        </pc:spChg>
        <pc:spChg chg="add mod">
          <ac:chgData name="Fivestarly Lathong [Chillibreeze]" userId="479dc9aa-69ea-4a23-b6ea-3a9d26ac15ab" providerId="ADAL" clId="{013ED13C-6829-4378-A6EF-2B6A713739E1}" dt="2024-06-12T14:26:00.995" v="1516"/>
          <ac:spMkLst>
            <pc:docMk/>
            <pc:sldMk cId="0" sldId="295"/>
            <ac:spMk id="29" creationId="{085698D8-BE58-E53F-BD92-97CD5A7F3AEA}"/>
          </ac:spMkLst>
        </pc:spChg>
        <pc:spChg chg="add mod">
          <ac:chgData name="Fivestarly Lathong [Chillibreeze]" userId="479dc9aa-69ea-4a23-b6ea-3a9d26ac15ab" providerId="ADAL" clId="{013ED13C-6829-4378-A6EF-2B6A713739E1}" dt="2024-06-12T14:25:12.963" v="1463"/>
          <ac:spMkLst>
            <pc:docMk/>
            <pc:sldMk cId="0" sldId="295"/>
            <ac:spMk id="30" creationId="{70490A4E-A8A5-7384-9AFC-E3A566726F3A}"/>
          </ac:spMkLst>
        </pc:spChg>
        <pc:spChg chg="add mod">
          <ac:chgData name="Fivestarly Lathong [Chillibreeze]" userId="479dc9aa-69ea-4a23-b6ea-3a9d26ac15ab" providerId="ADAL" clId="{013ED13C-6829-4378-A6EF-2B6A713739E1}" dt="2024-06-12T14:26:06.171" v="1519"/>
          <ac:spMkLst>
            <pc:docMk/>
            <pc:sldMk cId="0" sldId="295"/>
            <ac:spMk id="31" creationId="{EE7A3487-1F1F-358D-3F51-6309A994AEC6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25:19.357" v="1465" actId="6264"/>
          <ac:spMkLst>
            <pc:docMk/>
            <pc:sldMk cId="0" sldId="295"/>
            <ac:spMk id="32" creationId="{9987E379-6CF1-3622-653A-DFE3B0697F93}"/>
          </ac:spMkLst>
        </pc:spChg>
        <pc:spChg chg="add mod ord">
          <ac:chgData name="Fivestarly Lathong [Chillibreeze]" userId="479dc9aa-69ea-4a23-b6ea-3a9d26ac15ab" providerId="ADAL" clId="{013ED13C-6829-4378-A6EF-2B6A713739E1}" dt="2024-06-12T14:25:39.969" v="1507" actId="20577"/>
          <ac:spMkLst>
            <pc:docMk/>
            <pc:sldMk cId="0" sldId="295"/>
            <ac:spMk id="33" creationId="{76C933BC-0B6D-7670-2F32-A6B0D5F2F8F0}"/>
          </ac:spMkLst>
        </pc:spChg>
        <pc:spChg chg="add del mod">
          <ac:chgData name="Fivestarly Lathong [Chillibreeze]" userId="479dc9aa-69ea-4a23-b6ea-3a9d26ac15ab" providerId="ADAL" clId="{013ED13C-6829-4378-A6EF-2B6A713739E1}" dt="2024-06-12T14:25:28.196" v="1468" actId="6264"/>
          <ac:spMkLst>
            <pc:docMk/>
            <pc:sldMk cId="0" sldId="295"/>
            <ac:spMk id="34" creationId="{278448E8-CCB0-25E4-3D2D-05099C1418CB}"/>
          </ac:spMkLst>
        </pc:spChg>
        <pc:spChg chg="add del mod">
          <ac:chgData name="Fivestarly Lathong [Chillibreeze]" userId="479dc9aa-69ea-4a23-b6ea-3a9d26ac15ab" providerId="ADAL" clId="{013ED13C-6829-4378-A6EF-2B6A713739E1}" dt="2024-06-12T14:25:28.383" v="1469" actId="6264"/>
          <ac:spMkLst>
            <pc:docMk/>
            <pc:sldMk cId="0" sldId="295"/>
            <ac:spMk id="35" creationId="{6E77AE6B-6056-8288-242D-15D660F05447}"/>
          </ac:spMkLst>
        </pc:spChg>
        <pc:spChg chg="add del mod">
          <ac:chgData name="Fivestarly Lathong [Chillibreeze]" userId="479dc9aa-69ea-4a23-b6ea-3a9d26ac15ab" providerId="ADAL" clId="{013ED13C-6829-4378-A6EF-2B6A713739E1}" dt="2024-06-12T14:25:28.540" v="1470" actId="6264"/>
          <ac:spMkLst>
            <pc:docMk/>
            <pc:sldMk cId="0" sldId="295"/>
            <ac:spMk id="36" creationId="{AFC9C45E-1190-7AD6-530B-58185C35D628}"/>
          </ac:spMkLst>
        </pc:spChg>
        <pc:spChg chg="del">
          <ac:chgData name="Fivestarly Lathong [Chillibreeze]" userId="479dc9aa-69ea-4a23-b6ea-3a9d26ac15ab" providerId="ADAL" clId="{013ED13C-6829-4378-A6EF-2B6A713739E1}" dt="2024-06-12T14:25:08.269" v="1462" actId="21"/>
          <ac:spMkLst>
            <pc:docMk/>
            <pc:sldMk cId="0" sldId="295"/>
            <ac:spMk id="4716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5:08.269" v="1462" actId="21"/>
          <ac:spMkLst>
            <pc:docMk/>
            <pc:sldMk cId="0" sldId="295"/>
            <ac:spMk id="4723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5:08.269" v="1462" actId="21"/>
          <ac:spMkLst>
            <pc:docMk/>
            <pc:sldMk cId="0" sldId="295"/>
            <ac:spMk id="4724" creationId="{00000000-0000-0000-0000-000000000000}"/>
          </ac:spMkLst>
        </pc:spChg>
        <pc:grpChg chg="add mod">
          <ac:chgData name="Fivestarly Lathong [Chillibreeze]" userId="479dc9aa-69ea-4a23-b6ea-3a9d26ac15ab" providerId="ADAL" clId="{013ED13C-6829-4378-A6EF-2B6A713739E1}" dt="2024-06-12T14:25:12.963" v="1463"/>
          <ac:grpSpMkLst>
            <pc:docMk/>
            <pc:sldMk cId="0" sldId="295"/>
            <ac:grpSpMk id="13" creationId="{AAB0E92E-884B-C60D-A423-FC08F69DB521}"/>
          </ac:grpSpMkLst>
        </pc:grpChg>
        <pc:grpChg chg="add mod">
          <ac:chgData name="Fivestarly Lathong [Chillibreeze]" userId="479dc9aa-69ea-4a23-b6ea-3a9d26ac15ab" providerId="ADAL" clId="{013ED13C-6829-4378-A6EF-2B6A713739E1}" dt="2024-06-12T14:25:12.963" v="1463"/>
          <ac:grpSpMkLst>
            <pc:docMk/>
            <pc:sldMk cId="0" sldId="295"/>
            <ac:grpSpMk id="16" creationId="{74CED025-5562-BAC8-9671-0825EE13ECC1}"/>
          </ac:grpSpMkLst>
        </pc:grpChg>
        <pc:grpChg chg="add mod">
          <ac:chgData name="Fivestarly Lathong [Chillibreeze]" userId="479dc9aa-69ea-4a23-b6ea-3a9d26ac15ab" providerId="ADAL" clId="{013ED13C-6829-4378-A6EF-2B6A713739E1}" dt="2024-06-12T14:25:12.963" v="1463"/>
          <ac:grpSpMkLst>
            <pc:docMk/>
            <pc:sldMk cId="0" sldId="295"/>
            <ac:grpSpMk id="19" creationId="{9B2177C2-CF90-C9CA-EDD7-3398A2EB1DB5}"/>
          </ac:grpSpMkLst>
        </pc:grpChg>
        <pc:grpChg chg="del">
          <ac:chgData name="Fivestarly Lathong [Chillibreeze]" userId="479dc9aa-69ea-4a23-b6ea-3a9d26ac15ab" providerId="ADAL" clId="{013ED13C-6829-4378-A6EF-2B6A713739E1}" dt="2024-06-12T14:25:08.269" v="1462" actId="21"/>
          <ac:grpSpMkLst>
            <pc:docMk/>
            <pc:sldMk cId="0" sldId="295"/>
            <ac:grpSpMk id="4717" creationId="{00000000-0000-0000-0000-000000000000}"/>
          </ac:grpSpMkLst>
        </pc:grpChg>
        <pc:grpChg chg="del">
          <ac:chgData name="Fivestarly Lathong [Chillibreeze]" userId="479dc9aa-69ea-4a23-b6ea-3a9d26ac15ab" providerId="ADAL" clId="{013ED13C-6829-4378-A6EF-2B6A713739E1}" dt="2024-06-12T14:25:08.269" v="1462" actId="21"/>
          <ac:grpSpMkLst>
            <pc:docMk/>
            <pc:sldMk cId="0" sldId="295"/>
            <ac:grpSpMk id="4720" creationId="{00000000-0000-0000-0000-000000000000}"/>
          </ac:grpSpMkLst>
        </pc:grpChg>
        <pc:grpChg chg="del">
          <ac:chgData name="Fivestarly Lathong [Chillibreeze]" userId="479dc9aa-69ea-4a23-b6ea-3a9d26ac15ab" providerId="ADAL" clId="{013ED13C-6829-4378-A6EF-2B6A713739E1}" dt="2024-06-12T14:25:08.269" v="1462" actId="21"/>
          <ac:grpSpMkLst>
            <pc:docMk/>
            <pc:sldMk cId="0" sldId="295"/>
            <ac:grpSpMk id="4726" creationId="{00000000-0000-0000-0000-000000000000}"/>
          </ac:grpSpMkLst>
        </pc:grpChg>
        <pc:picChg chg="add mod">
          <ac:chgData name="Fivestarly Lathong [Chillibreeze]" userId="479dc9aa-69ea-4a23-b6ea-3a9d26ac15ab" providerId="ADAL" clId="{013ED13C-6829-4378-A6EF-2B6A713739E1}" dt="2024-06-12T14:25:12.963" v="1463"/>
          <ac:picMkLst>
            <pc:docMk/>
            <pc:sldMk cId="0" sldId="295"/>
            <ac:picMk id="4" creationId="{8090A14D-85E3-E4C5-0EBE-8044E245078E}"/>
          </ac:picMkLst>
        </pc:picChg>
        <pc:picChg chg="add mod">
          <ac:chgData name="Fivestarly Lathong [Chillibreeze]" userId="479dc9aa-69ea-4a23-b6ea-3a9d26ac15ab" providerId="ADAL" clId="{013ED13C-6829-4378-A6EF-2B6A713739E1}" dt="2024-06-12T14:25:12.963" v="1463"/>
          <ac:picMkLst>
            <pc:docMk/>
            <pc:sldMk cId="0" sldId="295"/>
            <ac:picMk id="24" creationId="{64D261A3-D5A4-B039-A383-E3539D4ABAC8}"/>
          </ac:picMkLst>
        </pc:picChg>
        <pc:picChg chg="del">
          <ac:chgData name="Fivestarly Lathong [Chillibreeze]" userId="479dc9aa-69ea-4a23-b6ea-3a9d26ac15ab" providerId="ADAL" clId="{013ED13C-6829-4378-A6EF-2B6A713739E1}" dt="2024-06-12T14:25:08.269" v="1462" actId="21"/>
          <ac:picMkLst>
            <pc:docMk/>
            <pc:sldMk cId="0" sldId="295"/>
            <ac:picMk id="4725" creationId="{00000000-0000-0000-0000-000000000000}"/>
          </ac:picMkLst>
        </pc:picChg>
      </pc:sldChg>
      <pc:sldChg chg="addSp delSp modSp mod setBg modClrScheme chgLayout">
        <pc:chgData name="Fivestarly Lathong [Chillibreeze]" userId="479dc9aa-69ea-4a23-b6ea-3a9d26ac15ab" providerId="ADAL" clId="{013ED13C-6829-4378-A6EF-2B6A713739E1}" dt="2024-06-12T14:39:26.663" v="1851" actId="21"/>
        <pc:sldMkLst>
          <pc:docMk/>
          <pc:sldMk cId="0" sldId="296"/>
        </pc:sldMkLst>
        <pc:spChg chg="del mod ord">
          <ac:chgData name="Fivestarly Lathong [Chillibreeze]" userId="479dc9aa-69ea-4a23-b6ea-3a9d26ac15ab" providerId="ADAL" clId="{013ED13C-6829-4378-A6EF-2B6A713739E1}" dt="2024-06-12T14:38:22.168" v="1769" actId="700"/>
          <ac:spMkLst>
            <pc:docMk/>
            <pc:sldMk cId="0" sldId="296"/>
            <ac:spMk id="2" creationId="{41F76B55-7D18-AB8B-DC90-4EBDBA1BDCDE}"/>
          </ac:spMkLst>
        </pc:spChg>
        <pc:spChg chg="del">
          <ac:chgData name="Fivestarly Lathong [Chillibreeze]" userId="479dc9aa-69ea-4a23-b6ea-3a9d26ac15ab" providerId="ADAL" clId="{013ED13C-6829-4378-A6EF-2B6A713739E1}" dt="2024-06-12T14:26:17.535" v="1520" actId="21"/>
          <ac:spMkLst>
            <pc:docMk/>
            <pc:sldMk cId="0" sldId="296"/>
            <ac:spMk id="3" creationId="{D9B7C059-BF87-AB0F-1935-B6E2631C5FAB}"/>
          </ac:spMkLst>
        </pc:spChg>
        <pc:spChg chg="add mod">
          <ac:chgData name="Fivestarly Lathong [Chillibreeze]" userId="479dc9aa-69ea-4a23-b6ea-3a9d26ac15ab" providerId="ADAL" clId="{013ED13C-6829-4378-A6EF-2B6A713739E1}" dt="2024-06-12T14:38:12.491" v="1768"/>
          <ac:spMkLst>
            <pc:docMk/>
            <pc:sldMk cId="0" sldId="296"/>
            <ac:spMk id="5" creationId="{A9DBE6B2-2872-DBB3-15C2-226E1CDC3E24}"/>
          </ac:spMkLst>
        </pc:spChg>
        <pc:spChg chg="add mod">
          <ac:chgData name="Fivestarly Lathong [Chillibreeze]" userId="479dc9aa-69ea-4a23-b6ea-3a9d26ac15ab" providerId="ADAL" clId="{013ED13C-6829-4378-A6EF-2B6A713739E1}" dt="2024-06-12T14:38:12.491" v="1768"/>
          <ac:spMkLst>
            <pc:docMk/>
            <pc:sldMk cId="0" sldId="296"/>
            <ac:spMk id="6" creationId="{95092DC1-8DA7-A826-3339-F4DC7EFD9E83}"/>
          </ac:spMkLst>
        </pc:spChg>
        <pc:spChg chg="add mod">
          <ac:chgData name="Fivestarly Lathong [Chillibreeze]" userId="479dc9aa-69ea-4a23-b6ea-3a9d26ac15ab" providerId="ADAL" clId="{013ED13C-6829-4378-A6EF-2B6A713739E1}" dt="2024-06-12T14:38:12.491" v="1768"/>
          <ac:spMkLst>
            <pc:docMk/>
            <pc:sldMk cId="0" sldId="296"/>
            <ac:spMk id="7" creationId="{1E913161-BEB2-9686-2E81-E8DB12D7B435}"/>
          </ac:spMkLst>
        </pc:spChg>
        <pc:spChg chg="add mod">
          <ac:chgData name="Fivestarly Lathong [Chillibreeze]" userId="479dc9aa-69ea-4a23-b6ea-3a9d26ac15ab" providerId="ADAL" clId="{013ED13C-6829-4378-A6EF-2B6A713739E1}" dt="2024-06-12T14:38:12.491" v="1768"/>
          <ac:spMkLst>
            <pc:docMk/>
            <pc:sldMk cId="0" sldId="296"/>
            <ac:spMk id="8" creationId="{0C225531-6F14-AEE0-CF45-0619613CE758}"/>
          </ac:spMkLst>
        </pc:spChg>
        <pc:spChg chg="mod">
          <ac:chgData name="Fivestarly Lathong [Chillibreeze]" userId="479dc9aa-69ea-4a23-b6ea-3a9d26ac15ab" providerId="ADAL" clId="{013ED13C-6829-4378-A6EF-2B6A713739E1}" dt="2024-06-12T14:39:06.439" v="1845" actId="207"/>
          <ac:spMkLst>
            <pc:docMk/>
            <pc:sldMk cId="0" sldId="296"/>
            <ac:spMk id="11" creationId="{5BFFDE3E-BF9B-7A40-6E9D-EEAE7730E48C}"/>
          </ac:spMkLst>
        </pc:spChg>
        <pc:spChg chg="mod">
          <ac:chgData name="Fivestarly Lathong [Chillibreeze]" userId="479dc9aa-69ea-4a23-b6ea-3a9d26ac15ab" providerId="ADAL" clId="{013ED13C-6829-4378-A6EF-2B6A713739E1}" dt="2024-06-12T14:39:15.326" v="1850"/>
          <ac:spMkLst>
            <pc:docMk/>
            <pc:sldMk cId="0" sldId="296"/>
            <ac:spMk id="15" creationId="{E163ABDD-78F8-5DA1-083D-F72CB2C22B55}"/>
          </ac:spMkLst>
        </pc:spChg>
        <pc:spChg chg="mod">
          <ac:chgData name="Fivestarly Lathong [Chillibreeze]" userId="479dc9aa-69ea-4a23-b6ea-3a9d26ac15ab" providerId="ADAL" clId="{013ED13C-6829-4378-A6EF-2B6A713739E1}" dt="2024-06-12T14:38:12.491" v="1768"/>
          <ac:spMkLst>
            <pc:docMk/>
            <pc:sldMk cId="0" sldId="296"/>
            <ac:spMk id="23" creationId="{9190F841-1105-CD19-B00C-8B01D34E08B1}"/>
          </ac:spMkLst>
        </pc:spChg>
        <pc:spChg chg="mod">
          <ac:chgData name="Fivestarly Lathong [Chillibreeze]" userId="479dc9aa-69ea-4a23-b6ea-3a9d26ac15ab" providerId="ADAL" clId="{013ED13C-6829-4378-A6EF-2B6A713739E1}" dt="2024-06-12T14:38:12.491" v="1768"/>
          <ac:spMkLst>
            <pc:docMk/>
            <pc:sldMk cId="0" sldId="296"/>
            <ac:spMk id="24" creationId="{8AE41551-C3F9-CFD5-D58E-2E0EF45878C9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38:47.178" v="1834" actId="21"/>
          <ac:spMkLst>
            <pc:docMk/>
            <pc:sldMk cId="0" sldId="296"/>
            <ac:spMk id="25" creationId="{A6AB9073-1C2C-E84E-ABA6-402BEE315D6B}"/>
          </ac:spMkLst>
        </pc:spChg>
        <pc:spChg chg="add mod">
          <ac:chgData name="Fivestarly Lathong [Chillibreeze]" userId="479dc9aa-69ea-4a23-b6ea-3a9d26ac15ab" providerId="ADAL" clId="{013ED13C-6829-4378-A6EF-2B6A713739E1}" dt="2024-06-12T14:38:12.491" v="1768"/>
          <ac:spMkLst>
            <pc:docMk/>
            <pc:sldMk cId="0" sldId="296"/>
            <ac:spMk id="26" creationId="{F62167EF-E0A2-FD95-13A9-9439EC3FF8F5}"/>
          </ac:spMkLst>
        </pc:spChg>
        <pc:spChg chg="add mod">
          <ac:chgData name="Fivestarly Lathong [Chillibreeze]" userId="479dc9aa-69ea-4a23-b6ea-3a9d26ac15ab" providerId="ADAL" clId="{013ED13C-6829-4378-A6EF-2B6A713739E1}" dt="2024-06-12T14:38:12.491" v="1768"/>
          <ac:spMkLst>
            <pc:docMk/>
            <pc:sldMk cId="0" sldId="296"/>
            <ac:spMk id="27" creationId="{F0A17C63-4AA1-2836-C19E-F0EDA24B44DB}"/>
          </ac:spMkLst>
        </pc:spChg>
        <pc:spChg chg="add mod ord">
          <ac:chgData name="Fivestarly Lathong [Chillibreeze]" userId="479dc9aa-69ea-4a23-b6ea-3a9d26ac15ab" providerId="ADAL" clId="{013ED13C-6829-4378-A6EF-2B6A713739E1}" dt="2024-06-12T14:38:49.915" v="1835" actId="14100"/>
          <ac:spMkLst>
            <pc:docMk/>
            <pc:sldMk cId="0" sldId="296"/>
            <ac:spMk id="28" creationId="{B1958CF1-0CBF-10FE-E13D-71F94F46A260}"/>
          </ac:spMkLst>
        </pc:spChg>
        <pc:spChg chg="del mod">
          <ac:chgData name="Fivestarly Lathong [Chillibreeze]" userId="479dc9aa-69ea-4a23-b6ea-3a9d26ac15ab" providerId="ADAL" clId="{013ED13C-6829-4378-A6EF-2B6A713739E1}" dt="2024-06-12T14:39:26.663" v="1851" actId="21"/>
          <ac:spMkLst>
            <pc:docMk/>
            <pc:sldMk cId="0" sldId="296"/>
            <ac:spMk id="4733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4:39:26.663" v="1851" actId="21"/>
          <ac:spMkLst>
            <pc:docMk/>
            <pc:sldMk cId="0" sldId="296"/>
            <ac:spMk id="4741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4:39:26.663" v="1851" actId="21"/>
          <ac:spMkLst>
            <pc:docMk/>
            <pc:sldMk cId="0" sldId="296"/>
            <ac:spMk id="4742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4:39:26.663" v="1851" actId="21"/>
          <ac:spMkLst>
            <pc:docMk/>
            <pc:sldMk cId="0" sldId="296"/>
            <ac:spMk id="4746" creationId="{00000000-0000-0000-0000-000000000000}"/>
          </ac:spMkLst>
        </pc:spChg>
        <pc:grpChg chg="add mod">
          <ac:chgData name="Fivestarly Lathong [Chillibreeze]" userId="479dc9aa-69ea-4a23-b6ea-3a9d26ac15ab" providerId="ADAL" clId="{013ED13C-6829-4378-A6EF-2B6A713739E1}" dt="2024-06-12T14:38:12.491" v="1768"/>
          <ac:grpSpMkLst>
            <pc:docMk/>
            <pc:sldMk cId="0" sldId="296"/>
            <ac:grpSpMk id="9" creationId="{6A15D7A9-5C9E-0626-86E2-18EACD60BD4F}"/>
          </ac:grpSpMkLst>
        </pc:grpChg>
        <pc:grpChg chg="add mod">
          <ac:chgData name="Fivestarly Lathong [Chillibreeze]" userId="479dc9aa-69ea-4a23-b6ea-3a9d26ac15ab" providerId="ADAL" clId="{013ED13C-6829-4378-A6EF-2B6A713739E1}" dt="2024-06-12T14:38:12.491" v="1768"/>
          <ac:grpSpMkLst>
            <pc:docMk/>
            <pc:sldMk cId="0" sldId="296"/>
            <ac:grpSpMk id="13" creationId="{DEECF892-9193-03EC-72E1-398A6751B716}"/>
          </ac:grpSpMkLst>
        </pc:grpChg>
        <pc:grpChg chg="add mod">
          <ac:chgData name="Fivestarly Lathong [Chillibreeze]" userId="479dc9aa-69ea-4a23-b6ea-3a9d26ac15ab" providerId="ADAL" clId="{013ED13C-6829-4378-A6EF-2B6A713739E1}" dt="2024-06-12T14:38:12.491" v="1768"/>
          <ac:grpSpMkLst>
            <pc:docMk/>
            <pc:sldMk cId="0" sldId="296"/>
            <ac:grpSpMk id="22" creationId="{80DE4A99-2ED5-0F38-4979-3A233E2BA60B}"/>
          </ac:grpSpMkLst>
        </pc:grpChg>
        <pc:grpChg chg="del mod">
          <ac:chgData name="Fivestarly Lathong [Chillibreeze]" userId="479dc9aa-69ea-4a23-b6ea-3a9d26ac15ab" providerId="ADAL" clId="{013ED13C-6829-4378-A6EF-2B6A713739E1}" dt="2024-06-12T14:39:26.663" v="1851" actId="21"/>
          <ac:grpSpMkLst>
            <pc:docMk/>
            <pc:sldMk cId="0" sldId="296"/>
            <ac:grpSpMk id="4743" creationId="{00000000-0000-0000-0000-000000000000}"/>
          </ac:grpSpMkLst>
        </pc:grpChg>
        <pc:picChg chg="add mod">
          <ac:chgData name="Fivestarly Lathong [Chillibreeze]" userId="479dc9aa-69ea-4a23-b6ea-3a9d26ac15ab" providerId="ADAL" clId="{013ED13C-6829-4378-A6EF-2B6A713739E1}" dt="2024-06-12T14:38:12.491" v="1768"/>
          <ac:picMkLst>
            <pc:docMk/>
            <pc:sldMk cId="0" sldId="296"/>
            <ac:picMk id="4" creationId="{03368440-1F2A-5569-94C1-9B07BB3064FD}"/>
          </ac:picMkLst>
        </pc:picChg>
        <pc:picChg chg="mod">
          <ac:chgData name="Fivestarly Lathong [Chillibreeze]" userId="479dc9aa-69ea-4a23-b6ea-3a9d26ac15ab" providerId="ADAL" clId="{013ED13C-6829-4378-A6EF-2B6A713739E1}" dt="2024-06-12T14:38:12.491" v="1768"/>
          <ac:picMkLst>
            <pc:docMk/>
            <pc:sldMk cId="0" sldId="296"/>
            <ac:picMk id="10" creationId="{F2D7302A-D760-50C4-28AF-CB4B752C8FB3}"/>
          </ac:picMkLst>
        </pc:picChg>
        <pc:picChg chg="add mod">
          <ac:chgData name="Fivestarly Lathong [Chillibreeze]" userId="479dc9aa-69ea-4a23-b6ea-3a9d26ac15ab" providerId="ADAL" clId="{013ED13C-6829-4378-A6EF-2B6A713739E1}" dt="2024-06-12T14:38:12.491" v="1768"/>
          <ac:picMkLst>
            <pc:docMk/>
            <pc:sldMk cId="0" sldId="296"/>
            <ac:picMk id="12" creationId="{9B0A4A5C-4FE3-AF8B-38CF-99D257B11637}"/>
          </ac:picMkLst>
        </pc:picChg>
        <pc:picChg chg="mod">
          <ac:chgData name="Fivestarly Lathong [Chillibreeze]" userId="479dc9aa-69ea-4a23-b6ea-3a9d26ac15ab" providerId="ADAL" clId="{013ED13C-6829-4378-A6EF-2B6A713739E1}" dt="2024-06-12T14:38:12.491" v="1768"/>
          <ac:picMkLst>
            <pc:docMk/>
            <pc:sldMk cId="0" sldId="296"/>
            <ac:picMk id="14" creationId="{72837C49-1E0D-196B-D995-1C421B0B8508}"/>
          </ac:picMkLst>
        </pc:picChg>
        <pc:picChg chg="add mod">
          <ac:chgData name="Fivestarly Lathong [Chillibreeze]" userId="479dc9aa-69ea-4a23-b6ea-3a9d26ac15ab" providerId="ADAL" clId="{013ED13C-6829-4378-A6EF-2B6A713739E1}" dt="2024-06-12T14:38:12.491" v="1768"/>
          <ac:picMkLst>
            <pc:docMk/>
            <pc:sldMk cId="0" sldId="296"/>
            <ac:picMk id="16" creationId="{1E7C2453-3235-520B-56BB-782DA772115E}"/>
          </ac:picMkLst>
        </pc:picChg>
        <pc:picChg chg="add mod">
          <ac:chgData name="Fivestarly Lathong [Chillibreeze]" userId="479dc9aa-69ea-4a23-b6ea-3a9d26ac15ab" providerId="ADAL" clId="{013ED13C-6829-4378-A6EF-2B6A713739E1}" dt="2024-06-12T14:38:12.491" v="1768"/>
          <ac:picMkLst>
            <pc:docMk/>
            <pc:sldMk cId="0" sldId="296"/>
            <ac:picMk id="17" creationId="{B53C53A8-9AE1-6A44-F457-356CB99EC02A}"/>
          </ac:picMkLst>
        </pc:picChg>
        <pc:picChg chg="add mod">
          <ac:chgData name="Fivestarly Lathong [Chillibreeze]" userId="479dc9aa-69ea-4a23-b6ea-3a9d26ac15ab" providerId="ADAL" clId="{013ED13C-6829-4378-A6EF-2B6A713739E1}" dt="2024-06-12T14:38:12.491" v="1768"/>
          <ac:picMkLst>
            <pc:docMk/>
            <pc:sldMk cId="0" sldId="296"/>
            <ac:picMk id="18" creationId="{A9F9DA4D-90EB-83FD-72E6-455C223CFED3}"/>
          </ac:picMkLst>
        </pc:picChg>
        <pc:picChg chg="add mod">
          <ac:chgData name="Fivestarly Lathong [Chillibreeze]" userId="479dc9aa-69ea-4a23-b6ea-3a9d26ac15ab" providerId="ADAL" clId="{013ED13C-6829-4378-A6EF-2B6A713739E1}" dt="2024-06-12T14:38:12.491" v="1768"/>
          <ac:picMkLst>
            <pc:docMk/>
            <pc:sldMk cId="0" sldId="296"/>
            <ac:picMk id="19" creationId="{A91DFC6E-96D1-1F47-8289-AD0ADF2D24CF}"/>
          </ac:picMkLst>
        </pc:picChg>
        <pc:picChg chg="add mod">
          <ac:chgData name="Fivestarly Lathong [Chillibreeze]" userId="479dc9aa-69ea-4a23-b6ea-3a9d26ac15ab" providerId="ADAL" clId="{013ED13C-6829-4378-A6EF-2B6A713739E1}" dt="2024-06-12T14:38:12.491" v="1768"/>
          <ac:picMkLst>
            <pc:docMk/>
            <pc:sldMk cId="0" sldId="296"/>
            <ac:picMk id="20" creationId="{10ECCA16-8AFD-EEA8-06A2-C56F2D103A2E}"/>
          </ac:picMkLst>
        </pc:picChg>
        <pc:picChg chg="add mod">
          <ac:chgData name="Fivestarly Lathong [Chillibreeze]" userId="479dc9aa-69ea-4a23-b6ea-3a9d26ac15ab" providerId="ADAL" clId="{013ED13C-6829-4378-A6EF-2B6A713739E1}" dt="2024-06-12T14:38:12.491" v="1768"/>
          <ac:picMkLst>
            <pc:docMk/>
            <pc:sldMk cId="0" sldId="296"/>
            <ac:picMk id="21" creationId="{04DCC2BE-F71A-0399-1645-4DEC753C15AE}"/>
          </ac:picMkLst>
        </pc:picChg>
        <pc:picChg chg="del mod">
          <ac:chgData name="Fivestarly Lathong [Chillibreeze]" userId="479dc9aa-69ea-4a23-b6ea-3a9d26ac15ab" providerId="ADAL" clId="{013ED13C-6829-4378-A6EF-2B6A713739E1}" dt="2024-06-12T14:39:26.663" v="1851" actId="21"/>
          <ac:picMkLst>
            <pc:docMk/>
            <pc:sldMk cId="0" sldId="296"/>
            <ac:picMk id="4734" creationId="{00000000-0000-0000-0000-000000000000}"/>
          </ac:picMkLst>
        </pc:picChg>
        <pc:picChg chg="del mod">
          <ac:chgData name="Fivestarly Lathong [Chillibreeze]" userId="479dc9aa-69ea-4a23-b6ea-3a9d26ac15ab" providerId="ADAL" clId="{013ED13C-6829-4378-A6EF-2B6A713739E1}" dt="2024-06-12T14:39:26.663" v="1851" actId="21"/>
          <ac:picMkLst>
            <pc:docMk/>
            <pc:sldMk cId="0" sldId="296"/>
            <ac:picMk id="4735" creationId="{00000000-0000-0000-0000-000000000000}"/>
          </ac:picMkLst>
        </pc:picChg>
        <pc:picChg chg="del mod">
          <ac:chgData name="Fivestarly Lathong [Chillibreeze]" userId="479dc9aa-69ea-4a23-b6ea-3a9d26ac15ab" providerId="ADAL" clId="{013ED13C-6829-4378-A6EF-2B6A713739E1}" dt="2024-06-12T14:39:26.663" v="1851" actId="21"/>
          <ac:picMkLst>
            <pc:docMk/>
            <pc:sldMk cId="0" sldId="296"/>
            <ac:picMk id="4736" creationId="{00000000-0000-0000-0000-000000000000}"/>
          </ac:picMkLst>
        </pc:picChg>
        <pc:picChg chg="del mod">
          <ac:chgData name="Fivestarly Lathong [Chillibreeze]" userId="479dc9aa-69ea-4a23-b6ea-3a9d26ac15ab" providerId="ADAL" clId="{013ED13C-6829-4378-A6EF-2B6A713739E1}" dt="2024-06-12T14:39:26.663" v="1851" actId="21"/>
          <ac:picMkLst>
            <pc:docMk/>
            <pc:sldMk cId="0" sldId="296"/>
            <ac:picMk id="4737" creationId="{00000000-0000-0000-0000-000000000000}"/>
          </ac:picMkLst>
        </pc:picChg>
        <pc:picChg chg="del mod">
          <ac:chgData name="Fivestarly Lathong [Chillibreeze]" userId="479dc9aa-69ea-4a23-b6ea-3a9d26ac15ab" providerId="ADAL" clId="{013ED13C-6829-4378-A6EF-2B6A713739E1}" dt="2024-06-12T14:39:26.663" v="1851" actId="21"/>
          <ac:picMkLst>
            <pc:docMk/>
            <pc:sldMk cId="0" sldId="296"/>
            <ac:picMk id="4738" creationId="{00000000-0000-0000-0000-000000000000}"/>
          </ac:picMkLst>
        </pc:picChg>
        <pc:picChg chg="del mod">
          <ac:chgData name="Fivestarly Lathong [Chillibreeze]" userId="479dc9aa-69ea-4a23-b6ea-3a9d26ac15ab" providerId="ADAL" clId="{013ED13C-6829-4378-A6EF-2B6A713739E1}" dt="2024-06-12T14:39:26.663" v="1851" actId="21"/>
          <ac:picMkLst>
            <pc:docMk/>
            <pc:sldMk cId="0" sldId="296"/>
            <ac:picMk id="4739" creationId="{00000000-0000-0000-0000-000000000000}"/>
          </ac:picMkLst>
        </pc:picChg>
        <pc:picChg chg="del mod">
          <ac:chgData name="Fivestarly Lathong [Chillibreeze]" userId="479dc9aa-69ea-4a23-b6ea-3a9d26ac15ab" providerId="ADAL" clId="{013ED13C-6829-4378-A6EF-2B6A713739E1}" dt="2024-06-12T14:39:26.663" v="1851" actId="21"/>
          <ac:picMkLst>
            <pc:docMk/>
            <pc:sldMk cId="0" sldId="296"/>
            <ac:picMk id="4740" creationId="{00000000-0000-0000-0000-000000000000}"/>
          </ac:picMkLst>
        </pc:picChg>
      </pc:sldChg>
      <pc:sldChg chg="addSp delSp modSp mod modClrScheme chgLayout">
        <pc:chgData name="Fivestarly Lathong [Chillibreeze]" userId="479dc9aa-69ea-4a23-b6ea-3a9d26ac15ab" providerId="ADAL" clId="{013ED13C-6829-4378-A6EF-2B6A713739E1}" dt="2024-06-12T14:28:16.667" v="1553" actId="21"/>
        <pc:sldMkLst>
          <pc:docMk/>
          <pc:sldMk cId="0" sldId="297"/>
        </pc:sldMkLst>
        <pc:spChg chg="del mod">
          <ac:chgData name="Fivestarly Lathong [Chillibreeze]" userId="479dc9aa-69ea-4a23-b6ea-3a9d26ac15ab" providerId="ADAL" clId="{013ED13C-6829-4378-A6EF-2B6A713739E1}" dt="2024-06-12T14:28:16.667" v="1553" actId="21"/>
          <ac:spMkLst>
            <pc:docMk/>
            <pc:sldMk cId="0" sldId="297"/>
            <ac:spMk id="2" creationId="{EA2B1439-750C-DDE8-B97F-28A63EBE2434}"/>
          </ac:spMkLst>
        </pc:spChg>
        <pc:spChg chg="add del mod">
          <ac:chgData name="Fivestarly Lathong [Chillibreeze]" userId="479dc9aa-69ea-4a23-b6ea-3a9d26ac15ab" providerId="ADAL" clId="{013ED13C-6829-4378-A6EF-2B6A713739E1}" dt="2024-06-12T14:27:54.931" v="1541" actId="6264"/>
          <ac:spMkLst>
            <pc:docMk/>
            <pc:sldMk cId="0" sldId="297"/>
            <ac:spMk id="3" creationId="{93F0C83A-DCD0-3C79-5D7A-081AA7CB3490}"/>
          </ac:spMkLst>
        </pc:spChg>
        <pc:spChg chg="add del mod">
          <ac:chgData name="Fivestarly Lathong [Chillibreeze]" userId="479dc9aa-69ea-4a23-b6ea-3a9d26ac15ab" providerId="ADAL" clId="{013ED13C-6829-4378-A6EF-2B6A713739E1}" dt="2024-06-12T14:27:55.101" v="1542" actId="6264"/>
          <ac:spMkLst>
            <pc:docMk/>
            <pc:sldMk cId="0" sldId="297"/>
            <ac:spMk id="4" creationId="{93105B37-FE67-9AAB-C689-84E60E3CCC1D}"/>
          </ac:spMkLst>
        </pc:spChg>
        <pc:spChg chg="add del mod">
          <ac:chgData name="Fivestarly Lathong [Chillibreeze]" userId="479dc9aa-69ea-4a23-b6ea-3a9d26ac15ab" providerId="ADAL" clId="{013ED13C-6829-4378-A6EF-2B6A713739E1}" dt="2024-06-12T14:27:55.271" v="1543" actId="6264"/>
          <ac:spMkLst>
            <pc:docMk/>
            <pc:sldMk cId="0" sldId="297"/>
            <ac:spMk id="5" creationId="{B5BB29B6-5F47-074E-E1E5-E40EA3444EB8}"/>
          </ac:spMkLst>
        </pc:spChg>
        <pc:spChg chg="add del mod">
          <ac:chgData name="Fivestarly Lathong [Chillibreeze]" userId="479dc9aa-69ea-4a23-b6ea-3a9d26ac15ab" providerId="ADAL" clId="{013ED13C-6829-4378-A6EF-2B6A713739E1}" dt="2024-06-12T14:27:55.483" v="1544" actId="6264"/>
          <ac:spMkLst>
            <pc:docMk/>
            <pc:sldMk cId="0" sldId="297"/>
            <ac:spMk id="6" creationId="{DEEF2452-1067-DDCB-AFD3-83807D9A0F9E}"/>
          </ac:spMkLst>
        </pc:spChg>
        <pc:spChg chg="add mod ord">
          <ac:chgData name="Fivestarly Lathong [Chillibreeze]" userId="479dc9aa-69ea-4a23-b6ea-3a9d26ac15ab" providerId="ADAL" clId="{013ED13C-6829-4378-A6EF-2B6A713739E1}" dt="2024-06-12T14:28:03.362" v="1550" actId="12789"/>
          <ac:spMkLst>
            <pc:docMk/>
            <pc:sldMk cId="0" sldId="297"/>
            <ac:spMk id="7" creationId="{C9A352E1-2D9A-78CD-1A00-6B0BF3F80283}"/>
          </ac:spMkLst>
        </pc:spChg>
        <pc:spChg chg="add mod ord">
          <ac:chgData name="Fivestarly Lathong [Chillibreeze]" userId="479dc9aa-69ea-4a23-b6ea-3a9d26ac15ab" providerId="ADAL" clId="{013ED13C-6829-4378-A6EF-2B6A713739E1}" dt="2024-06-12T14:27:57.414" v="1546" actId="167"/>
          <ac:spMkLst>
            <pc:docMk/>
            <pc:sldMk cId="0" sldId="297"/>
            <ac:spMk id="10" creationId="{2BDC7753-A451-A6BD-1632-A84F16FB49EA}"/>
          </ac:spMkLst>
        </pc:spChg>
        <pc:spChg chg="add mod ord">
          <ac:chgData name="Fivestarly Lathong [Chillibreeze]" userId="479dc9aa-69ea-4a23-b6ea-3a9d26ac15ab" providerId="ADAL" clId="{013ED13C-6829-4378-A6EF-2B6A713739E1}" dt="2024-06-12T14:27:57.414" v="1546" actId="167"/>
          <ac:spMkLst>
            <pc:docMk/>
            <pc:sldMk cId="0" sldId="297"/>
            <ac:spMk id="11" creationId="{033D2CB7-ED9F-E325-40A2-6FAC0AB08E18}"/>
          </ac:spMkLst>
        </pc:spChg>
        <pc:spChg chg="add mod ord">
          <ac:chgData name="Fivestarly Lathong [Chillibreeze]" userId="479dc9aa-69ea-4a23-b6ea-3a9d26ac15ab" providerId="ADAL" clId="{013ED13C-6829-4378-A6EF-2B6A713739E1}" dt="2024-06-12T14:27:57.414" v="1546" actId="167"/>
          <ac:spMkLst>
            <pc:docMk/>
            <pc:sldMk cId="0" sldId="297"/>
            <ac:spMk id="12" creationId="{0A6C4887-188B-12BA-2E55-D06CCD6A87E0}"/>
          </ac:spMkLst>
        </pc:spChg>
        <pc:spChg chg="add mod ord">
          <ac:chgData name="Fivestarly Lathong [Chillibreeze]" userId="479dc9aa-69ea-4a23-b6ea-3a9d26ac15ab" providerId="ADAL" clId="{013ED13C-6829-4378-A6EF-2B6A713739E1}" dt="2024-06-12T14:27:57.414" v="1546" actId="167"/>
          <ac:spMkLst>
            <pc:docMk/>
            <pc:sldMk cId="0" sldId="297"/>
            <ac:spMk id="13" creationId="{2063C090-6F74-E857-C8D8-1DF522A80BE7}"/>
          </ac:spMkLst>
        </pc:spChg>
        <pc:spChg chg="add mod ord">
          <ac:chgData name="Fivestarly Lathong [Chillibreeze]" userId="479dc9aa-69ea-4a23-b6ea-3a9d26ac15ab" providerId="ADAL" clId="{013ED13C-6829-4378-A6EF-2B6A713739E1}" dt="2024-06-12T14:27:57.414" v="1546" actId="167"/>
          <ac:spMkLst>
            <pc:docMk/>
            <pc:sldMk cId="0" sldId="297"/>
            <ac:spMk id="14" creationId="{BA3D108E-C468-B6F0-01F4-4A856661D622}"/>
          </ac:spMkLst>
        </pc:spChg>
        <pc:spChg chg="add mod ord">
          <ac:chgData name="Fivestarly Lathong [Chillibreeze]" userId="479dc9aa-69ea-4a23-b6ea-3a9d26ac15ab" providerId="ADAL" clId="{013ED13C-6829-4378-A6EF-2B6A713739E1}" dt="2024-06-12T14:27:57.414" v="1546" actId="167"/>
          <ac:spMkLst>
            <pc:docMk/>
            <pc:sldMk cId="0" sldId="297"/>
            <ac:spMk id="15" creationId="{35D4B7D9-2B37-840F-C9F4-7D580AD2EAB1}"/>
          </ac:spMkLst>
        </pc:spChg>
        <pc:spChg chg="add mod ord">
          <ac:chgData name="Fivestarly Lathong [Chillibreeze]" userId="479dc9aa-69ea-4a23-b6ea-3a9d26ac15ab" providerId="ADAL" clId="{013ED13C-6829-4378-A6EF-2B6A713739E1}" dt="2024-06-12T14:27:57.414" v="1546" actId="167"/>
          <ac:spMkLst>
            <pc:docMk/>
            <pc:sldMk cId="0" sldId="297"/>
            <ac:spMk id="16" creationId="{E0EF6252-E322-A41C-FA5B-0AD02A1234B1}"/>
          </ac:spMkLst>
        </pc:spChg>
        <pc:spChg chg="add mod ord">
          <ac:chgData name="Fivestarly Lathong [Chillibreeze]" userId="479dc9aa-69ea-4a23-b6ea-3a9d26ac15ab" providerId="ADAL" clId="{013ED13C-6829-4378-A6EF-2B6A713739E1}" dt="2024-06-12T14:27:57.414" v="1546" actId="167"/>
          <ac:spMkLst>
            <pc:docMk/>
            <pc:sldMk cId="0" sldId="297"/>
            <ac:spMk id="19" creationId="{69EA0FBC-BBE1-B50F-88C8-64313849FF1D}"/>
          </ac:spMkLst>
        </pc:spChg>
        <pc:spChg chg="add mod ord">
          <ac:chgData name="Fivestarly Lathong [Chillibreeze]" userId="479dc9aa-69ea-4a23-b6ea-3a9d26ac15ab" providerId="ADAL" clId="{013ED13C-6829-4378-A6EF-2B6A713739E1}" dt="2024-06-12T14:27:57.414" v="1546" actId="167"/>
          <ac:spMkLst>
            <pc:docMk/>
            <pc:sldMk cId="0" sldId="297"/>
            <ac:spMk id="20" creationId="{301655AF-41EB-1B05-6A85-3D21CA6CB8A4}"/>
          </ac:spMkLst>
        </pc:spChg>
        <pc:spChg chg="mod">
          <ac:chgData name="Fivestarly Lathong [Chillibreeze]" userId="479dc9aa-69ea-4a23-b6ea-3a9d26ac15ab" providerId="ADAL" clId="{013ED13C-6829-4378-A6EF-2B6A713739E1}" dt="2024-06-12T14:27:55.782" v="1545"/>
          <ac:spMkLst>
            <pc:docMk/>
            <pc:sldMk cId="0" sldId="297"/>
            <ac:spMk id="22" creationId="{EE066215-3A64-8422-D3A7-582177904855}"/>
          </ac:spMkLst>
        </pc:spChg>
        <pc:spChg chg="mod">
          <ac:chgData name="Fivestarly Lathong [Chillibreeze]" userId="479dc9aa-69ea-4a23-b6ea-3a9d26ac15ab" providerId="ADAL" clId="{013ED13C-6829-4378-A6EF-2B6A713739E1}" dt="2024-06-12T14:27:55.782" v="1545"/>
          <ac:spMkLst>
            <pc:docMk/>
            <pc:sldMk cId="0" sldId="297"/>
            <ac:spMk id="23" creationId="{4CD0E4DB-C47B-5BCF-CE0E-C29FCE32532F}"/>
          </ac:spMkLst>
        </pc:spChg>
        <pc:spChg chg="mod">
          <ac:chgData name="Fivestarly Lathong [Chillibreeze]" userId="479dc9aa-69ea-4a23-b6ea-3a9d26ac15ab" providerId="ADAL" clId="{013ED13C-6829-4378-A6EF-2B6A713739E1}" dt="2024-06-12T14:27:55.782" v="1545"/>
          <ac:spMkLst>
            <pc:docMk/>
            <pc:sldMk cId="0" sldId="297"/>
            <ac:spMk id="24" creationId="{CDF7B29B-E4A2-E666-1474-9D866F7397C8}"/>
          </ac:spMkLst>
        </pc:spChg>
        <pc:spChg chg="add mod ord">
          <ac:chgData name="Fivestarly Lathong [Chillibreeze]" userId="479dc9aa-69ea-4a23-b6ea-3a9d26ac15ab" providerId="ADAL" clId="{013ED13C-6829-4378-A6EF-2B6A713739E1}" dt="2024-06-12T14:27:57.414" v="1546" actId="167"/>
          <ac:spMkLst>
            <pc:docMk/>
            <pc:sldMk cId="0" sldId="297"/>
            <ac:spMk id="25" creationId="{C0201516-3291-BD63-3E31-FF724A770B6C}"/>
          </ac:spMkLst>
        </pc:spChg>
        <pc:spChg chg="add mod ord">
          <ac:chgData name="Fivestarly Lathong [Chillibreeze]" userId="479dc9aa-69ea-4a23-b6ea-3a9d26ac15ab" providerId="ADAL" clId="{013ED13C-6829-4378-A6EF-2B6A713739E1}" dt="2024-06-12T14:27:57.414" v="1546" actId="167"/>
          <ac:spMkLst>
            <pc:docMk/>
            <pc:sldMk cId="0" sldId="297"/>
            <ac:spMk id="26" creationId="{0C8D0E37-D159-8801-919B-8D80E0C3C078}"/>
          </ac:spMkLst>
        </pc:spChg>
        <pc:spChg chg="add mod ord">
          <ac:chgData name="Fivestarly Lathong [Chillibreeze]" userId="479dc9aa-69ea-4a23-b6ea-3a9d26ac15ab" providerId="ADAL" clId="{013ED13C-6829-4378-A6EF-2B6A713739E1}" dt="2024-06-12T14:27:57.414" v="1546" actId="167"/>
          <ac:spMkLst>
            <pc:docMk/>
            <pc:sldMk cId="0" sldId="297"/>
            <ac:spMk id="27" creationId="{BCADE2AF-9D5D-7BDA-F673-4F74791C0BE5}"/>
          </ac:spMkLst>
        </pc:spChg>
        <pc:spChg chg="add mod ord">
          <ac:chgData name="Fivestarly Lathong [Chillibreeze]" userId="479dc9aa-69ea-4a23-b6ea-3a9d26ac15ab" providerId="ADAL" clId="{013ED13C-6829-4378-A6EF-2B6A713739E1}" dt="2024-06-12T14:27:57.414" v="1546" actId="167"/>
          <ac:spMkLst>
            <pc:docMk/>
            <pc:sldMk cId="0" sldId="297"/>
            <ac:spMk id="28" creationId="{A9908A94-4860-83E6-3724-AEDA53813A5C}"/>
          </ac:spMkLst>
        </pc:spChg>
        <pc:spChg chg="add mod ord">
          <ac:chgData name="Fivestarly Lathong [Chillibreeze]" userId="479dc9aa-69ea-4a23-b6ea-3a9d26ac15ab" providerId="ADAL" clId="{013ED13C-6829-4378-A6EF-2B6A713739E1}" dt="2024-06-12T14:27:57.414" v="1546" actId="167"/>
          <ac:spMkLst>
            <pc:docMk/>
            <pc:sldMk cId="0" sldId="297"/>
            <ac:spMk id="29" creationId="{F5D4691E-D10E-A06D-0C74-8C239B58569F}"/>
          </ac:spMkLst>
        </pc:spChg>
        <pc:spChg chg="add mod ord">
          <ac:chgData name="Fivestarly Lathong [Chillibreeze]" userId="479dc9aa-69ea-4a23-b6ea-3a9d26ac15ab" providerId="ADAL" clId="{013ED13C-6829-4378-A6EF-2B6A713739E1}" dt="2024-06-12T14:27:57.414" v="1546" actId="167"/>
          <ac:spMkLst>
            <pc:docMk/>
            <pc:sldMk cId="0" sldId="297"/>
            <ac:spMk id="30" creationId="{7E5A8BFC-16D7-0944-73F6-44CB0F38FFD3}"/>
          </ac:spMkLst>
        </pc:spChg>
        <pc:spChg chg="add mod ord">
          <ac:chgData name="Fivestarly Lathong [Chillibreeze]" userId="479dc9aa-69ea-4a23-b6ea-3a9d26ac15ab" providerId="ADAL" clId="{013ED13C-6829-4378-A6EF-2B6A713739E1}" dt="2024-06-12T14:27:57.414" v="1546" actId="167"/>
          <ac:spMkLst>
            <pc:docMk/>
            <pc:sldMk cId="0" sldId="297"/>
            <ac:spMk id="31" creationId="{F8463848-351E-4D44-B55F-CDFDC5DBF737}"/>
          </ac:spMkLst>
        </pc:spChg>
        <pc:spChg chg="add mod ord">
          <ac:chgData name="Fivestarly Lathong [Chillibreeze]" userId="479dc9aa-69ea-4a23-b6ea-3a9d26ac15ab" providerId="ADAL" clId="{013ED13C-6829-4378-A6EF-2B6A713739E1}" dt="2024-06-12T14:27:57.414" v="1546" actId="167"/>
          <ac:spMkLst>
            <pc:docMk/>
            <pc:sldMk cId="0" sldId="297"/>
            <ac:spMk id="32" creationId="{A659325D-2C66-0361-1231-DECB43323084}"/>
          </ac:spMkLst>
        </pc:spChg>
        <pc:spChg chg="del mod">
          <ac:chgData name="Fivestarly Lathong [Chillibreeze]" userId="479dc9aa-69ea-4a23-b6ea-3a9d26ac15ab" providerId="ADAL" clId="{013ED13C-6829-4378-A6EF-2B6A713739E1}" dt="2024-06-12T14:28:15.016" v="1552" actId="21"/>
          <ac:spMkLst>
            <pc:docMk/>
            <pc:sldMk cId="0" sldId="297"/>
            <ac:spMk id="4754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4:28:15.016" v="1552" actId="21"/>
          <ac:spMkLst>
            <pc:docMk/>
            <pc:sldMk cId="0" sldId="297"/>
            <ac:spMk id="4755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4:28:15.016" v="1552" actId="21"/>
          <ac:spMkLst>
            <pc:docMk/>
            <pc:sldMk cId="0" sldId="297"/>
            <ac:spMk id="4757" creationId="{00000000-0000-0000-0000-000000000000}"/>
          </ac:spMkLst>
        </pc:spChg>
        <pc:spChg chg="mod ord">
          <ac:chgData name="Fivestarly Lathong [Chillibreeze]" userId="479dc9aa-69ea-4a23-b6ea-3a9d26ac15ab" providerId="ADAL" clId="{013ED13C-6829-4378-A6EF-2B6A713739E1}" dt="2024-06-12T14:28:10.152" v="1551" actId="3064"/>
          <ac:spMkLst>
            <pc:docMk/>
            <pc:sldMk cId="0" sldId="297"/>
            <ac:spMk id="4758" creationId="{00000000-0000-0000-0000-000000000000}"/>
          </ac:spMkLst>
        </pc:spChg>
        <pc:spChg chg="del mod">
          <ac:chgData name="Fivestarly Lathong [Chillibreeze]" userId="479dc9aa-69ea-4a23-b6ea-3a9d26ac15ab" providerId="ADAL" clId="{013ED13C-6829-4378-A6EF-2B6A713739E1}" dt="2024-06-12T14:28:15.016" v="1552" actId="21"/>
          <ac:spMkLst>
            <pc:docMk/>
            <pc:sldMk cId="0" sldId="297"/>
            <ac:spMk id="4762" creationId="{00000000-0000-0000-0000-000000000000}"/>
          </ac:spMkLst>
        </pc:spChg>
        <pc:grpChg chg="add mod ord">
          <ac:chgData name="Fivestarly Lathong [Chillibreeze]" userId="479dc9aa-69ea-4a23-b6ea-3a9d26ac15ab" providerId="ADAL" clId="{013ED13C-6829-4378-A6EF-2B6A713739E1}" dt="2024-06-12T14:27:57.414" v="1546" actId="167"/>
          <ac:grpSpMkLst>
            <pc:docMk/>
            <pc:sldMk cId="0" sldId="297"/>
            <ac:grpSpMk id="21" creationId="{CABD0F94-9950-8B70-D15E-63317F470B96}"/>
          </ac:grpSpMkLst>
        </pc:grpChg>
        <pc:grpChg chg="del mod">
          <ac:chgData name="Fivestarly Lathong [Chillibreeze]" userId="479dc9aa-69ea-4a23-b6ea-3a9d26ac15ab" providerId="ADAL" clId="{013ED13C-6829-4378-A6EF-2B6A713739E1}" dt="2024-06-12T14:28:15.016" v="1552" actId="21"/>
          <ac:grpSpMkLst>
            <pc:docMk/>
            <pc:sldMk cId="0" sldId="297"/>
            <ac:grpSpMk id="4759" creationId="{00000000-0000-0000-0000-000000000000}"/>
          </ac:grpSpMkLst>
        </pc:grpChg>
        <pc:grpChg chg="del mod">
          <ac:chgData name="Fivestarly Lathong [Chillibreeze]" userId="479dc9aa-69ea-4a23-b6ea-3a9d26ac15ab" providerId="ADAL" clId="{013ED13C-6829-4378-A6EF-2B6A713739E1}" dt="2024-06-12T14:28:15.016" v="1552" actId="21"/>
          <ac:grpSpMkLst>
            <pc:docMk/>
            <pc:sldMk cId="0" sldId="297"/>
            <ac:grpSpMk id="4763" creationId="{00000000-0000-0000-0000-000000000000}"/>
          </ac:grpSpMkLst>
        </pc:grpChg>
        <pc:picChg chg="add mod ord">
          <ac:chgData name="Fivestarly Lathong [Chillibreeze]" userId="479dc9aa-69ea-4a23-b6ea-3a9d26ac15ab" providerId="ADAL" clId="{013ED13C-6829-4378-A6EF-2B6A713739E1}" dt="2024-06-12T14:27:57.414" v="1546" actId="167"/>
          <ac:picMkLst>
            <pc:docMk/>
            <pc:sldMk cId="0" sldId="297"/>
            <ac:picMk id="8" creationId="{085D8EF7-8DB3-134B-42E1-B1D8A96DA627}"/>
          </ac:picMkLst>
        </pc:picChg>
        <pc:picChg chg="add mod ord">
          <ac:chgData name="Fivestarly Lathong [Chillibreeze]" userId="479dc9aa-69ea-4a23-b6ea-3a9d26ac15ab" providerId="ADAL" clId="{013ED13C-6829-4378-A6EF-2B6A713739E1}" dt="2024-06-12T14:27:57.414" v="1546" actId="167"/>
          <ac:picMkLst>
            <pc:docMk/>
            <pc:sldMk cId="0" sldId="297"/>
            <ac:picMk id="9" creationId="{90C473A1-1B80-5D57-02D9-48A33DD2E38B}"/>
          </ac:picMkLst>
        </pc:picChg>
        <pc:picChg chg="del mod">
          <ac:chgData name="Fivestarly Lathong [Chillibreeze]" userId="479dc9aa-69ea-4a23-b6ea-3a9d26ac15ab" providerId="ADAL" clId="{013ED13C-6829-4378-A6EF-2B6A713739E1}" dt="2024-06-12T14:28:15.016" v="1552" actId="21"/>
          <ac:picMkLst>
            <pc:docMk/>
            <pc:sldMk cId="0" sldId="297"/>
            <ac:picMk id="4752" creationId="{00000000-0000-0000-0000-000000000000}"/>
          </ac:picMkLst>
        </pc:picChg>
        <pc:picChg chg="del mod">
          <ac:chgData name="Fivestarly Lathong [Chillibreeze]" userId="479dc9aa-69ea-4a23-b6ea-3a9d26ac15ab" providerId="ADAL" clId="{013ED13C-6829-4378-A6EF-2B6A713739E1}" dt="2024-06-12T14:28:15.016" v="1552" actId="21"/>
          <ac:picMkLst>
            <pc:docMk/>
            <pc:sldMk cId="0" sldId="297"/>
            <ac:picMk id="4753" creationId="{00000000-0000-0000-0000-000000000000}"/>
          </ac:picMkLst>
        </pc:picChg>
        <pc:picChg chg="del mod">
          <ac:chgData name="Fivestarly Lathong [Chillibreeze]" userId="479dc9aa-69ea-4a23-b6ea-3a9d26ac15ab" providerId="ADAL" clId="{013ED13C-6829-4378-A6EF-2B6A713739E1}" dt="2024-06-12T14:28:15.016" v="1552" actId="21"/>
          <ac:picMkLst>
            <pc:docMk/>
            <pc:sldMk cId="0" sldId="297"/>
            <ac:picMk id="4756" creationId="{00000000-0000-0000-0000-000000000000}"/>
          </ac:picMkLst>
        </pc:picChg>
        <pc:cxnChg chg="add mod ord">
          <ac:chgData name="Fivestarly Lathong [Chillibreeze]" userId="479dc9aa-69ea-4a23-b6ea-3a9d26ac15ab" providerId="ADAL" clId="{013ED13C-6829-4378-A6EF-2B6A713739E1}" dt="2024-06-12T14:27:57.414" v="1546" actId="167"/>
          <ac:cxnSpMkLst>
            <pc:docMk/>
            <pc:sldMk cId="0" sldId="297"/>
            <ac:cxnSpMk id="17" creationId="{81650AEB-5523-9290-10DF-CA25E939325F}"/>
          </ac:cxnSpMkLst>
        </pc:cxnChg>
        <pc:cxnChg chg="add mod ord">
          <ac:chgData name="Fivestarly Lathong [Chillibreeze]" userId="479dc9aa-69ea-4a23-b6ea-3a9d26ac15ab" providerId="ADAL" clId="{013ED13C-6829-4378-A6EF-2B6A713739E1}" dt="2024-06-12T14:27:57.414" v="1546" actId="167"/>
          <ac:cxnSpMkLst>
            <pc:docMk/>
            <pc:sldMk cId="0" sldId="297"/>
            <ac:cxnSpMk id="18" creationId="{7115EC91-70AB-6ADD-A399-BA0A64FA87D1}"/>
          </ac:cxnSpMkLst>
        </pc:cxnChg>
      </pc:sldChg>
      <pc:sldChg chg="addSp delSp modSp mod chgLayout">
        <pc:chgData name="Fivestarly Lathong [Chillibreeze]" userId="479dc9aa-69ea-4a23-b6ea-3a9d26ac15ab" providerId="ADAL" clId="{013ED13C-6829-4378-A6EF-2B6A713739E1}" dt="2024-06-12T14:54:57.787" v="2220" actId="14100"/>
        <pc:sldMkLst>
          <pc:docMk/>
          <pc:sldMk cId="0" sldId="298"/>
        </pc:sldMkLst>
        <pc:spChg chg="del">
          <ac:chgData name="Fivestarly Lathong [Chillibreeze]" userId="479dc9aa-69ea-4a23-b6ea-3a9d26ac15ab" providerId="ADAL" clId="{013ED13C-6829-4378-A6EF-2B6A713739E1}" dt="2024-06-12T14:28:24.124" v="1554" actId="21"/>
          <ac:spMkLst>
            <pc:docMk/>
            <pc:sldMk cId="0" sldId="298"/>
            <ac:spMk id="2" creationId="{720053F2-2491-66C0-C81B-8778F609A9BC}"/>
          </ac:spMkLst>
        </pc:spChg>
        <pc:spChg chg="del">
          <ac:chgData name="Fivestarly Lathong [Chillibreeze]" userId="479dc9aa-69ea-4a23-b6ea-3a9d26ac15ab" providerId="ADAL" clId="{013ED13C-6829-4378-A6EF-2B6A713739E1}" dt="2024-06-12T14:28:24.124" v="1554" actId="21"/>
          <ac:spMkLst>
            <pc:docMk/>
            <pc:sldMk cId="0" sldId="298"/>
            <ac:spMk id="3" creationId="{02331D05-5086-BD90-60C4-CF6E79AE30EB}"/>
          </ac:spMkLst>
        </pc:spChg>
        <pc:spChg chg="add 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4" creationId="{12947344-D3D6-2213-4AC9-D0A241425A8C}"/>
          </ac:spMkLst>
        </pc:spChg>
        <pc:spChg chg="add 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5" creationId="{8B0A88CC-063B-C82D-AFB7-3BAADD3252CF}"/>
          </ac:spMkLst>
        </pc:spChg>
        <pc:spChg chg="add 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6" creationId="{1D0AEDA3-36FC-2F5D-5315-C4AC23A9C836}"/>
          </ac:spMkLst>
        </pc:spChg>
        <pc:spChg chg="add 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7" creationId="{F6E48108-D121-5904-E313-2C400AAFB593}"/>
          </ac:spMkLst>
        </pc:spChg>
        <pc:spChg chg="add mod">
          <ac:chgData name="Fivestarly Lathong [Chillibreeze]" userId="479dc9aa-69ea-4a23-b6ea-3a9d26ac15ab" providerId="ADAL" clId="{013ED13C-6829-4378-A6EF-2B6A713739E1}" dt="2024-06-12T14:54:57.787" v="2220" actId="14100"/>
          <ac:spMkLst>
            <pc:docMk/>
            <pc:sldMk cId="0" sldId="298"/>
            <ac:spMk id="8" creationId="{827E3339-3EBC-0465-CC58-AB5A5FF32AEB}"/>
          </ac:spMkLst>
        </pc:spChg>
        <pc:spChg chg="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10" creationId="{FC30B74E-E8B6-BA6B-8878-CA075D26F30A}"/>
          </ac:spMkLst>
        </pc:spChg>
        <pc:spChg chg="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11" creationId="{A8064EA1-9A72-D3D5-5B5B-07A9FE94311A}"/>
          </ac:spMkLst>
        </pc:spChg>
        <pc:spChg chg="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13" creationId="{8A40BD2D-DE75-7038-B247-D67544A5C0A4}"/>
          </ac:spMkLst>
        </pc:spChg>
        <pc:spChg chg="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14" creationId="{37916FD6-56B8-C441-054F-554A3C863174}"/>
          </ac:spMkLst>
        </pc:spChg>
        <pc:spChg chg="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16" creationId="{1994FD15-5234-84B6-43A3-A6BCDC555043}"/>
          </ac:spMkLst>
        </pc:spChg>
        <pc:spChg chg="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17" creationId="{32E22877-40E7-76D8-039A-0A064B8CA483}"/>
          </ac:spMkLst>
        </pc:spChg>
        <pc:spChg chg="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19" creationId="{6D62389B-E233-CDAB-117D-3EE5D7222A4E}"/>
          </ac:spMkLst>
        </pc:spChg>
        <pc:spChg chg="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20" creationId="{9F9A2A4B-3DD6-301E-46BB-E09739598FAB}"/>
          </ac:spMkLst>
        </pc:spChg>
        <pc:spChg chg="add 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22" creationId="{D1993F27-3FE4-B086-FB85-7551F3565819}"/>
          </ac:spMkLst>
        </pc:spChg>
        <pc:spChg chg="add 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23" creationId="{6F1D326B-4DA0-105E-5ABD-BD5E014EDAC5}"/>
          </ac:spMkLst>
        </pc:spChg>
        <pc:spChg chg="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25" creationId="{2F83AD28-46F1-63EF-FC44-D935F1EF06F0}"/>
          </ac:spMkLst>
        </pc:spChg>
        <pc:spChg chg="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26" creationId="{1120829E-B60C-6559-F36A-C6BC3AB6E1F4}"/>
          </ac:spMkLst>
        </pc:spChg>
        <pc:spChg chg="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27" creationId="{85D83E3D-D869-E48A-AA62-C5F0E5ABB848}"/>
          </ac:spMkLst>
        </pc:spChg>
        <pc:spChg chg="add 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28" creationId="{B899F68A-D372-DEEA-9EDA-B72B0AA14400}"/>
          </ac:spMkLst>
        </pc:spChg>
        <pc:spChg chg="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30" creationId="{D585ECDF-42FE-DD40-7B32-84546130EBBD}"/>
          </ac:spMkLst>
        </pc:spChg>
        <pc:spChg chg="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31" creationId="{D9822129-F725-B4FA-0B27-DFA60B73D290}"/>
          </ac:spMkLst>
        </pc:spChg>
        <pc:spChg chg="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32" creationId="{C2F377F2-ACFF-4242-D9EB-DA5CF05EC0C3}"/>
          </ac:spMkLst>
        </pc:spChg>
        <pc:spChg chg="add 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33" creationId="{EBE7BF40-338A-54FA-140C-BD39DC624747}"/>
          </ac:spMkLst>
        </pc:spChg>
        <pc:spChg chg="add 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34" creationId="{DE4D972E-641C-B257-EA40-1899AC172774}"/>
          </ac:spMkLst>
        </pc:spChg>
        <pc:spChg chg="add 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35" creationId="{D5B267D2-DBCC-A67C-51FC-CEB9E9114178}"/>
          </ac:spMkLst>
        </pc:spChg>
        <pc:spChg chg="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37" creationId="{6561BF51-67E6-A5EC-E8E1-A2A619BE20E2}"/>
          </ac:spMkLst>
        </pc:spChg>
        <pc:spChg chg="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38" creationId="{335B65F6-0B9E-0C75-8486-0BF0CF799D7A}"/>
          </ac:spMkLst>
        </pc:spChg>
        <pc:spChg chg="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39" creationId="{C4D395EB-59C9-896E-6091-95539C3DB347}"/>
          </ac:spMkLst>
        </pc:spChg>
        <pc:spChg chg="add 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40" creationId="{85C30BCD-216C-2FCC-6855-6676E96B9866}"/>
          </ac:spMkLst>
        </pc:spChg>
        <pc:spChg chg="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42" creationId="{654C2CD0-9B95-2305-BF77-D3D541453A5A}"/>
          </ac:spMkLst>
        </pc:spChg>
        <pc:spChg chg="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43" creationId="{BA257056-48E4-0090-2B79-6A928DFE9AB1}"/>
          </ac:spMkLst>
        </pc:spChg>
        <pc:spChg chg="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44" creationId="{4A9ED8A6-FE35-C9F2-1A93-44D0D97D4332}"/>
          </ac:spMkLst>
        </pc:spChg>
        <pc:spChg chg="add 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45" creationId="{0962C47E-0E59-2579-8D20-FF5B967BCE74}"/>
          </ac:spMkLst>
        </pc:spChg>
        <pc:spChg chg="add 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46" creationId="{3B9BB990-E496-9233-0C8D-DBCB632FBD66}"/>
          </ac:spMkLst>
        </pc:spChg>
        <pc:spChg chg="add 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47" creationId="{1B7802AB-D384-E0B8-CFD7-71B373690B5B}"/>
          </ac:spMkLst>
        </pc:spChg>
        <pc:spChg chg="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49" creationId="{3740E55D-AD44-2A17-CD7B-C5C159D76E1E}"/>
          </ac:spMkLst>
        </pc:spChg>
        <pc:spChg chg="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50" creationId="{1370984E-3878-0731-87AF-3EF4982B30EE}"/>
          </ac:spMkLst>
        </pc:spChg>
        <pc:spChg chg="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51" creationId="{DAE87617-9EAB-B996-6E0B-C53DB734C1A4}"/>
          </ac:spMkLst>
        </pc:spChg>
        <pc:spChg chg="add 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52" creationId="{B3A77420-4FA2-18F4-3326-1C23C90749DE}"/>
          </ac:spMkLst>
        </pc:spChg>
        <pc:spChg chg="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54" creationId="{44DC2819-0225-A62C-0D3D-68FE0594C548}"/>
          </ac:spMkLst>
        </pc:spChg>
        <pc:spChg chg="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55" creationId="{9B963387-C576-F834-E331-23F4B66F8E46}"/>
          </ac:spMkLst>
        </pc:spChg>
        <pc:spChg chg="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56" creationId="{904BA085-EE55-A830-12F6-206C1825799B}"/>
          </ac:spMkLst>
        </pc:spChg>
        <pc:spChg chg="add 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57" creationId="{66DD37AC-7288-24CB-A6A6-40BADF2FC5DF}"/>
          </ac:spMkLst>
        </pc:spChg>
        <pc:spChg chg="add 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58" creationId="{0346C6FC-71A0-2F58-A3A7-7BD1AB0EE6A4}"/>
          </ac:spMkLst>
        </pc:spChg>
        <pc:spChg chg="add 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59" creationId="{461773AA-BEAD-0520-74F8-FDB0E0336AE7}"/>
          </ac:spMkLst>
        </pc:spChg>
        <pc:spChg chg="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61" creationId="{5C72538C-BC30-0192-2E62-F9543129075E}"/>
          </ac:spMkLst>
        </pc:spChg>
        <pc:spChg chg="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62" creationId="{288214C9-2440-CE68-E96D-0153CCD80B71}"/>
          </ac:spMkLst>
        </pc:spChg>
        <pc:spChg chg="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63" creationId="{9AF020DB-D7BA-9A64-9C35-1B82D45455B9}"/>
          </ac:spMkLst>
        </pc:spChg>
        <pc:spChg chg="add 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4736" creationId="{E9F34BCE-6F90-D386-0A4D-D760B67295B4}"/>
          </ac:spMkLst>
        </pc:spChg>
        <pc:spChg chg="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4738" creationId="{11E889D4-666C-AC12-6AD2-8523D2326585}"/>
          </ac:spMkLst>
        </pc:spChg>
        <pc:spChg chg="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4739" creationId="{98942509-7B7C-A9A9-CDF6-5B3866C69D66}"/>
          </ac:spMkLst>
        </pc:spChg>
        <pc:spChg chg="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4740" creationId="{D34D2FE7-8564-02B0-79CC-0E916FD247CB}"/>
          </ac:spMkLst>
        </pc:spChg>
        <pc:spChg chg="add mod">
          <ac:chgData name="Fivestarly Lathong [Chillibreeze]" userId="479dc9aa-69ea-4a23-b6ea-3a9d26ac15ab" providerId="ADAL" clId="{013ED13C-6829-4378-A6EF-2B6A713739E1}" dt="2024-06-12T14:28:30.186" v="1555"/>
          <ac:spMkLst>
            <pc:docMk/>
            <pc:sldMk cId="0" sldId="298"/>
            <ac:spMk id="4741" creationId="{19445A44-4B07-071A-336C-6093DD565CAB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28:38.531" v="1557" actId="6264"/>
          <ac:spMkLst>
            <pc:docMk/>
            <pc:sldMk cId="0" sldId="298"/>
            <ac:spMk id="4742" creationId="{046752EA-D168-38C7-64B5-4126172A9AD4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28:38.547" v="1558" actId="6264"/>
          <ac:spMkLst>
            <pc:docMk/>
            <pc:sldMk cId="0" sldId="298"/>
            <ac:spMk id="4743" creationId="{4F800439-6594-5E28-D85A-463C0F7DD6CF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28:39.065" v="1559" actId="6264"/>
          <ac:spMkLst>
            <pc:docMk/>
            <pc:sldMk cId="0" sldId="298"/>
            <ac:spMk id="4744" creationId="{667A109C-27F2-7427-5646-CE794FC46B01}"/>
          </ac:spMkLst>
        </pc:spChg>
        <pc:spChg chg="add mod ord">
          <ac:chgData name="Fivestarly Lathong [Chillibreeze]" userId="479dc9aa-69ea-4a23-b6ea-3a9d26ac15ab" providerId="ADAL" clId="{013ED13C-6829-4378-A6EF-2B6A713739E1}" dt="2024-06-12T14:28:53.545" v="1569" actId="255"/>
          <ac:spMkLst>
            <pc:docMk/>
            <pc:sldMk cId="0" sldId="298"/>
            <ac:spMk id="4745" creationId="{169A0FC8-F129-4A5D-5C50-08E389BEA199}"/>
          </ac:spMkLst>
        </pc:spChg>
        <pc:spChg chg="add del mod">
          <ac:chgData name="Fivestarly Lathong [Chillibreeze]" userId="479dc9aa-69ea-4a23-b6ea-3a9d26ac15ab" providerId="ADAL" clId="{013ED13C-6829-4378-A6EF-2B6A713739E1}" dt="2024-06-12T14:28:41.579" v="1561" actId="6264"/>
          <ac:spMkLst>
            <pc:docMk/>
            <pc:sldMk cId="0" sldId="298"/>
            <ac:spMk id="4746" creationId="{2B98A1C9-A805-6D5F-383F-4CC0D44CD46D}"/>
          </ac:spMkLst>
        </pc:spChg>
        <pc:spChg chg="add del mod">
          <ac:chgData name="Fivestarly Lathong [Chillibreeze]" userId="479dc9aa-69ea-4a23-b6ea-3a9d26ac15ab" providerId="ADAL" clId="{013ED13C-6829-4378-A6EF-2B6A713739E1}" dt="2024-06-12T14:28:41.783" v="1562" actId="6264"/>
          <ac:spMkLst>
            <pc:docMk/>
            <pc:sldMk cId="0" sldId="298"/>
            <ac:spMk id="4747" creationId="{9795616F-8EF3-1BB1-6FC3-2E826BB7C9BA}"/>
          </ac:spMkLst>
        </pc:spChg>
        <pc:spChg chg="del">
          <ac:chgData name="Fivestarly Lathong [Chillibreeze]" userId="479dc9aa-69ea-4a23-b6ea-3a9d26ac15ab" providerId="ADAL" clId="{013ED13C-6829-4378-A6EF-2B6A713739E1}" dt="2024-06-12T14:28:24.124" v="1554" actId="21"/>
          <ac:spMkLst>
            <pc:docMk/>
            <pc:sldMk cId="0" sldId="298"/>
            <ac:spMk id="4772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8:24.124" v="1554" actId="21"/>
          <ac:spMkLst>
            <pc:docMk/>
            <pc:sldMk cId="0" sldId="298"/>
            <ac:spMk id="4773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8:24.124" v="1554" actId="21"/>
          <ac:spMkLst>
            <pc:docMk/>
            <pc:sldMk cId="0" sldId="298"/>
            <ac:spMk id="4774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8:24.124" v="1554" actId="21"/>
          <ac:spMkLst>
            <pc:docMk/>
            <pc:sldMk cId="0" sldId="298"/>
            <ac:spMk id="4775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8:24.124" v="1554" actId="21"/>
          <ac:spMkLst>
            <pc:docMk/>
            <pc:sldMk cId="0" sldId="298"/>
            <ac:spMk id="4776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8:24.124" v="1554" actId="21"/>
          <ac:spMkLst>
            <pc:docMk/>
            <pc:sldMk cId="0" sldId="298"/>
            <ac:spMk id="4777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8:24.124" v="1554" actId="21"/>
          <ac:spMkLst>
            <pc:docMk/>
            <pc:sldMk cId="0" sldId="298"/>
            <ac:spMk id="4778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8:24.124" v="1554" actId="21"/>
          <ac:spMkLst>
            <pc:docMk/>
            <pc:sldMk cId="0" sldId="298"/>
            <ac:spMk id="4779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8:24.124" v="1554" actId="21"/>
          <ac:spMkLst>
            <pc:docMk/>
            <pc:sldMk cId="0" sldId="298"/>
            <ac:spMk id="4780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8:24.124" v="1554" actId="21"/>
          <ac:spMkLst>
            <pc:docMk/>
            <pc:sldMk cId="0" sldId="298"/>
            <ac:spMk id="4781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8:24.124" v="1554" actId="21"/>
          <ac:spMkLst>
            <pc:docMk/>
            <pc:sldMk cId="0" sldId="298"/>
            <ac:spMk id="4782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8:24.124" v="1554" actId="21"/>
          <ac:spMkLst>
            <pc:docMk/>
            <pc:sldMk cId="0" sldId="298"/>
            <ac:spMk id="4783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8:24.124" v="1554" actId="21"/>
          <ac:spMkLst>
            <pc:docMk/>
            <pc:sldMk cId="0" sldId="298"/>
            <ac:spMk id="4784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8:24.124" v="1554" actId="21"/>
          <ac:spMkLst>
            <pc:docMk/>
            <pc:sldMk cId="0" sldId="298"/>
            <ac:spMk id="4785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8:24.124" v="1554" actId="21"/>
          <ac:spMkLst>
            <pc:docMk/>
            <pc:sldMk cId="0" sldId="298"/>
            <ac:spMk id="4786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8:24.124" v="1554" actId="21"/>
          <ac:spMkLst>
            <pc:docMk/>
            <pc:sldMk cId="0" sldId="298"/>
            <ac:spMk id="4787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8:24.124" v="1554" actId="21"/>
          <ac:spMkLst>
            <pc:docMk/>
            <pc:sldMk cId="0" sldId="298"/>
            <ac:spMk id="4788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8:24.124" v="1554" actId="21"/>
          <ac:spMkLst>
            <pc:docMk/>
            <pc:sldMk cId="0" sldId="298"/>
            <ac:spMk id="4789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8:24.124" v="1554" actId="21"/>
          <ac:spMkLst>
            <pc:docMk/>
            <pc:sldMk cId="0" sldId="298"/>
            <ac:spMk id="4790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8:24.124" v="1554" actId="21"/>
          <ac:spMkLst>
            <pc:docMk/>
            <pc:sldMk cId="0" sldId="298"/>
            <ac:spMk id="4791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8:24.124" v="1554" actId="21"/>
          <ac:spMkLst>
            <pc:docMk/>
            <pc:sldMk cId="0" sldId="298"/>
            <ac:spMk id="4792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8:24.124" v="1554" actId="21"/>
          <ac:spMkLst>
            <pc:docMk/>
            <pc:sldMk cId="0" sldId="298"/>
            <ac:spMk id="4794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8:24.124" v="1554" actId="21"/>
          <ac:spMkLst>
            <pc:docMk/>
            <pc:sldMk cId="0" sldId="298"/>
            <ac:spMk id="4795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8:24.124" v="1554" actId="21"/>
          <ac:spMkLst>
            <pc:docMk/>
            <pc:sldMk cId="0" sldId="298"/>
            <ac:spMk id="4796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8:24.124" v="1554" actId="21"/>
          <ac:spMkLst>
            <pc:docMk/>
            <pc:sldMk cId="0" sldId="298"/>
            <ac:spMk id="4797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8:24.124" v="1554" actId="21"/>
          <ac:spMkLst>
            <pc:docMk/>
            <pc:sldMk cId="0" sldId="298"/>
            <ac:spMk id="4798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8:24.124" v="1554" actId="21"/>
          <ac:spMkLst>
            <pc:docMk/>
            <pc:sldMk cId="0" sldId="298"/>
            <ac:spMk id="4799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8:24.124" v="1554" actId="21"/>
          <ac:spMkLst>
            <pc:docMk/>
            <pc:sldMk cId="0" sldId="298"/>
            <ac:spMk id="4800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8:24.124" v="1554" actId="21"/>
          <ac:spMkLst>
            <pc:docMk/>
            <pc:sldMk cId="0" sldId="298"/>
            <ac:spMk id="4802" creationId="{00000000-0000-0000-0000-000000000000}"/>
          </ac:spMkLst>
        </pc:spChg>
        <pc:grpChg chg="add mod">
          <ac:chgData name="Fivestarly Lathong [Chillibreeze]" userId="479dc9aa-69ea-4a23-b6ea-3a9d26ac15ab" providerId="ADAL" clId="{013ED13C-6829-4378-A6EF-2B6A713739E1}" dt="2024-06-12T14:28:30.186" v="1555"/>
          <ac:grpSpMkLst>
            <pc:docMk/>
            <pc:sldMk cId="0" sldId="298"/>
            <ac:grpSpMk id="9" creationId="{6A0963AF-F3E0-64C9-9863-EFF06991B6D9}"/>
          </ac:grpSpMkLst>
        </pc:grpChg>
        <pc:grpChg chg="add mod">
          <ac:chgData name="Fivestarly Lathong [Chillibreeze]" userId="479dc9aa-69ea-4a23-b6ea-3a9d26ac15ab" providerId="ADAL" clId="{013ED13C-6829-4378-A6EF-2B6A713739E1}" dt="2024-06-12T14:28:30.186" v="1555"/>
          <ac:grpSpMkLst>
            <pc:docMk/>
            <pc:sldMk cId="0" sldId="298"/>
            <ac:grpSpMk id="12" creationId="{7C3AC25B-5923-04D0-41EA-0F18DBFAECA5}"/>
          </ac:grpSpMkLst>
        </pc:grpChg>
        <pc:grpChg chg="add mod">
          <ac:chgData name="Fivestarly Lathong [Chillibreeze]" userId="479dc9aa-69ea-4a23-b6ea-3a9d26ac15ab" providerId="ADAL" clId="{013ED13C-6829-4378-A6EF-2B6A713739E1}" dt="2024-06-12T14:28:30.186" v="1555"/>
          <ac:grpSpMkLst>
            <pc:docMk/>
            <pc:sldMk cId="0" sldId="298"/>
            <ac:grpSpMk id="15" creationId="{4A28D567-880C-D580-1CA6-BDDEC0292546}"/>
          </ac:grpSpMkLst>
        </pc:grpChg>
        <pc:grpChg chg="add mod">
          <ac:chgData name="Fivestarly Lathong [Chillibreeze]" userId="479dc9aa-69ea-4a23-b6ea-3a9d26ac15ab" providerId="ADAL" clId="{013ED13C-6829-4378-A6EF-2B6A713739E1}" dt="2024-06-12T14:28:30.186" v="1555"/>
          <ac:grpSpMkLst>
            <pc:docMk/>
            <pc:sldMk cId="0" sldId="298"/>
            <ac:grpSpMk id="18" creationId="{02C4557E-2B5B-8E14-961B-9666A779246A}"/>
          </ac:grpSpMkLst>
        </pc:grpChg>
        <pc:grpChg chg="add mod">
          <ac:chgData name="Fivestarly Lathong [Chillibreeze]" userId="479dc9aa-69ea-4a23-b6ea-3a9d26ac15ab" providerId="ADAL" clId="{013ED13C-6829-4378-A6EF-2B6A713739E1}" dt="2024-06-12T14:28:30.186" v="1555"/>
          <ac:grpSpMkLst>
            <pc:docMk/>
            <pc:sldMk cId="0" sldId="298"/>
            <ac:grpSpMk id="24" creationId="{48E851C3-3B3B-A810-2741-5F2C70D9212B}"/>
          </ac:grpSpMkLst>
        </pc:grpChg>
        <pc:grpChg chg="add mod">
          <ac:chgData name="Fivestarly Lathong [Chillibreeze]" userId="479dc9aa-69ea-4a23-b6ea-3a9d26ac15ab" providerId="ADAL" clId="{013ED13C-6829-4378-A6EF-2B6A713739E1}" dt="2024-06-12T14:28:30.186" v="1555"/>
          <ac:grpSpMkLst>
            <pc:docMk/>
            <pc:sldMk cId="0" sldId="298"/>
            <ac:grpSpMk id="29" creationId="{FFEBEA55-F04A-3E8E-95A0-60B4F2E8F2C0}"/>
          </ac:grpSpMkLst>
        </pc:grpChg>
        <pc:grpChg chg="add mod">
          <ac:chgData name="Fivestarly Lathong [Chillibreeze]" userId="479dc9aa-69ea-4a23-b6ea-3a9d26ac15ab" providerId="ADAL" clId="{013ED13C-6829-4378-A6EF-2B6A713739E1}" dt="2024-06-12T14:28:30.186" v="1555"/>
          <ac:grpSpMkLst>
            <pc:docMk/>
            <pc:sldMk cId="0" sldId="298"/>
            <ac:grpSpMk id="36" creationId="{332B2111-B5DE-C305-E3B9-3A1C6FD1E454}"/>
          </ac:grpSpMkLst>
        </pc:grpChg>
        <pc:grpChg chg="add mod">
          <ac:chgData name="Fivestarly Lathong [Chillibreeze]" userId="479dc9aa-69ea-4a23-b6ea-3a9d26ac15ab" providerId="ADAL" clId="{013ED13C-6829-4378-A6EF-2B6A713739E1}" dt="2024-06-12T14:28:30.186" v="1555"/>
          <ac:grpSpMkLst>
            <pc:docMk/>
            <pc:sldMk cId="0" sldId="298"/>
            <ac:grpSpMk id="41" creationId="{368C49DF-66A4-B439-AF2E-1834374A97A6}"/>
          </ac:grpSpMkLst>
        </pc:grpChg>
        <pc:grpChg chg="add mod">
          <ac:chgData name="Fivestarly Lathong [Chillibreeze]" userId="479dc9aa-69ea-4a23-b6ea-3a9d26ac15ab" providerId="ADAL" clId="{013ED13C-6829-4378-A6EF-2B6A713739E1}" dt="2024-06-12T14:28:30.186" v="1555"/>
          <ac:grpSpMkLst>
            <pc:docMk/>
            <pc:sldMk cId="0" sldId="298"/>
            <ac:grpSpMk id="48" creationId="{BCF0D9B0-2D68-E30B-0C2A-C5D47B38CE11}"/>
          </ac:grpSpMkLst>
        </pc:grpChg>
        <pc:grpChg chg="add mod">
          <ac:chgData name="Fivestarly Lathong [Chillibreeze]" userId="479dc9aa-69ea-4a23-b6ea-3a9d26ac15ab" providerId="ADAL" clId="{013ED13C-6829-4378-A6EF-2B6A713739E1}" dt="2024-06-12T14:28:30.186" v="1555"/>
          <ac:grpSpMkLst>
            <pc:docMk/>
            <pc:sldMk cId="0" sldId="298"/>
            <ac:grpSpMk id="53" creationId="{32C529C6-9E54-520B-0706-EFCF5903B948}"/>
          </ac:grpSpMkLst>
        </pc:grpChg>
        <pc:grpChg chg="add mod">
          <ac:chgData name="Fivestarly Lathong [Chillibreeze]" userId="479dc9aa-69ea-4a23-b6ea-3a9d26ac15ab" providerId="ADAL" clId="{013ED13C-6829-4378-A6EF-2B6A713739E1}" dt="2024-06-12T14:28:30.186" v="1555"/>
          <ac:grpSpMkLst>
            <pc:docMk/>
            <pc:sldMk cId="0" sldId="298"/>
            <ac:grpSpMk id="60" creationId="{0755C36F-6FA1-A657-33E8-FE1016247826}"/>
          </ac:grpSpMkLst>
        </pc:grpChg>
        <pc:grpChg chg="add mod">
          <ac:chgData name="Fivestarly Lathong [Chillibreeze]" userId="479dc9aa-69ea-4a23-b6ea-3a9d26ac15ab" providerId="ADAL" clId="{013ED13C-6829-4378-A6EF-2B6A713739E1}" dt="2024-06-12T14:28:30.186" v="1555"/>
          <ac:grpSpMkLst>
            <pc:docMk/>
            <pc:sldMk cId="0" sldId="298"/>
            <ac:grpSpMk id="4737" creationId="{B7D206F4-4A9A-1851-9662-68594A43A215}"/>
          </ac:grpSpMkLst>
        </pc:grpChg>
        <pc:picChg chg="add mod">
          <ac:chgData name="Fivestarly Lathong [Chillibreeze]" userId="479dc9aa-69ea-4a23-b6ea-3a9d26ac15ab" providerId="ADAL" clId="{013ED13C-6829-4378-A6EF-2B6A713739E1}" dt="2024-06-12T14:28:30.186" v="1555"/>
          <ac:picMkLst>
            <pc:docMk/>
            <pc:sldMk cId="0" sldId="298"/>
            <ac:picMk id="21" creationId="{62AB7C99-BA35-8135-0394-43199442FFEC}"/>
          </ac:picMkLst>
        </pc:picChg>
        <pc:picChg chg="del">
          <ac:chgData name="Fivestarly Lathong [Chillibreeze]" userId="479dc9aa-69ea-4a23-b6ea-3a9d26ac15ab" providerId="ADAL" clId="{013ED13C-6829-4378-A6EF-2B6A713739E1}" dt="2024-06-12T14:28:24.124" v="1554" actId="21"/>
          <ac:picMkLst>
            <pc:docMk/>
            <pc:sldMk cId="0" sldId="298"/>
            <ac:picMk id="4771" creationId="{00000000-0000-0000-0000-000000000000}"/>
          </ac:picMkLst>
        </pc:picChg>
        <pc:picChg chg="del">
          <ac:chgData name="Fivestarly Lathong [Chillibreeze]" userId="479dc9aa-69ea-4a23-b6ea-3a9d26ac15ab" providerId="ADAL" clId="{013ED13C-6829-4378-A6EF-2B6A713739E1}" dt="2024-06-12T14:28:24.124" v="1554" actId="21"/>
          <ac:picMkLst>
            <pc:docMk/>
            <pc:sldMk cId="0" sldId="298"/>
            <ac:picMk id="4793" creationId="{00000000-0000-0000-0000-000000000000}"/>
          </ac:picMkLst>
        </pc:picChg>
        <pc:picChg chg="del">
          <ac:chgData name="Fivestarly Lathong [Chillibreeze]" userId="479dc9aa-69ea-4a23-b6ea-3a9d26ac15ab" providerId="ADAL" clId="{013ED13C-6829-4378-A6EF-2B6A713739E1}" dt="2024-06-12T14:28:24.124" v="1554" actId="21"/>
          <ac:picMkLst>
            <pc:docMk/>
            <pc:sldMk cId="0" sldId="298"/>
            <ac:picMk id="4801" creationId="{00000000-0000-0000-0000-000000000000}"/>
          </ac:picMkLst>
        </pc:picChg>
        <pc:picChg chg="del">
          <ac:chgData name="Fivestarly Lathong [Chillibreeze]" userId="479dc9aa-69ea-4a23-b6ea-3a9d26ac15ab" providerId="ADAL" clId="{013ED13C-6829-4378-A6EF-2B6A713739E1}" dt="2024-06-12T14:28:24.124" v="1554" actId="21"/>
          <ac:picMkLst>
            <pc:docMk/>
            <pc:sldMk cId="0" sldId="298"/>
            <ac:picMk id="4803" creationId="{00000000-0000-0000-0000-000000000000}"/>
          </ac:picMkLst>
        </pc:picChg>
        <pc:picChg chg="del">
          <ac:chgData name="Fivestarly Lathong [Chillibreeze]" userId="479dc9aa-69ea-4a23-b6ea-3a9d26ac15ab" providerId="ADAL" clId="{013ED13C-6829-4378-A6EF-2B6A713739E1}" dt="2024-06-12T14:28:24.124" v="1554" actId="21"/>
          <ac:picMkLst>
            <pc:docMk/>
            <pc:sldMk cId="0" sldId="298"/>
            <ac:picMk id="4804" creationId="{00000000-0000-0000-0000-000000000000}"/>
          </ac:picMkLst>
        </pc:picChg>
        <pc:picChg chg="del">
          <ac:chgData name="Fivestarly Lathong [Chillibreeze]" userId="479dc9aa-69ea-4a23-b6ea-3a9d26ac15ab" providerId="ADAL" clId="{013ED13C-6829-4378-A6EF-2B6A713739E1}" dt="2024-06-12T14:28:24.124" v="1554" actId="21"/>
          <ac:picMkLst>
            <pc:docMk/>
            <pc:sldMk cId="0" sldId="298"/>
            <ac:picMk id="4805" creationId="{00000000-0000-0000-0000-000000000000}"/>
          </ac:picMkLst>
        </pc:picChg>
        <pc:picChg chg="del">
          <ac:chgData name="Fivestarly Lathong [Chillibreeze]" userId="479dc9aa-69ea-4a23-b6ea-3a9d26ac15ab" providerId="ADAL" clId="{013ED13C-6829-4378-A6EF-2B6A713739E1}" dt="2024-06-12T14:28:24.124" v="1554" actId="21"/>
          <ac:picMkLst>
            <pc:docMk/>
            <pc:sldMk cId="0" sldId="298"/>
            <ac:picMk id="4806" creationId="{00000000-0000-0000-0000-000000000000}"/>
          </ac:picMkLst>
        </pc:picChg>
        <pc:picChg chg="del">
          <ac:chgData name="Fivestarly Lathong [Chillibreeze]" userId="479dc9aa-69ea-4a23-b6ea-3a9d26ac15ab" providerId="ADAL" clId="{013ED13C-6829-4378-A6EF-2B6A713739E1}" dt="2024-06-12T14:28:24.124" v="1554" actId="21"/>
          <ac:picMkLst>
            <pc:docMk/>
            <pc:sldMk cId="0" sldId="298"/>
            <ac:picMk id="4807" creationId="{00000000-0000-0000-0000-000000000000}"/>
          </ac:picMkLst>
        </pc:picChg>
        <pc:picChg chg="del">
          <ac:chgData name="Fivestarly Lathong [Chillibreeze]" userId="479dc9aa-69ea-4a23-b6ea-3a9d26ac15ab" providerId="ADAL" clId="{013ED13C-6829-4378-A6EF-2B6A713739E1}" dt="2024-06-12T14:28:24.124" v="1554" actId="21"/>
          <ac:picMkLst>
            <pc:docMk/>
            <pc:sldMk cId="0" sldId="298"/>
            <ac:picMk id="4808" creationId="{00000000-0000-0000-0000-000000000000}"/>
          </ac:picMkLst>
        </pc:picChg>
        <pc:picChg chg="del">
          <ac:chgData name="Fivestarly Lathong [Chillibreeze]" userId="479dc9aa-69ea-4a23-b6ea-3a9d26ac15ab" providerId="ADAL" clId="{013ED13C-6829-4378-A6EF-2B6A713739E1}" dt="2024-06-12T14:28:24.124" v="1554" actId="21"/>
          <ac:picMkLst>
            <pc:docMk/>
            <pc:sldMk cId="0" sldId="298"/>
            <ac:picMk id="4809" creationId="{00000000-0000-0000-0000-000000000000}"/>
          </ac:picMkLst>
        </pc:picChg>
        <pc:picChg chg="del">
          <ac:chgData name="Fivestarly Lathong [Chillibreeze]" userId="479dc9aa-69ea-4a23-b6ea-3a9d26ac15ab" providerId="ADAL" clId="{013ED13C-6829-4378-A6EF-2B6A713739E1}" dt="2024-06-12T14:28:24.124" v="1554" actId="21"/>
          <ac:picMkLst>
            <pc:docMk/>
            <pc:sldMk cId="0" sldId="298"/>
            <ac:picMk id="4810" creationId="{00000000-0000-0000-0000-000000000000}"/>
          </ac:picMkLst>
        </pc:picChg>
      </pc:sldChg>
      <pc:sldChg chg="addSp delSp modSp mod setBg modClrScheme chgLayout">
        <pc:chgData name="Fivestarly Lathong [Chillibreeze]" userId="479dc9aa-69ea-4a23-b6ea-3a9d26ac15ab" providerId="ADAL" clId="{013ED13C-6829-4378-A6EF-2B6A713739E1}" dt="2024-06-12T14:30:54.859" v="1656" actId="207"/>
        <pc:sldMkLst>
          <pc:docMk/>
          <pc:sldMk cId="0" sldId="299"/>
        </pc:sldMkLst>
        <pc:spChg chg="del">
          <ac:chgData name="Fivestarly Lathong [Chillibreeze]" userId="479dc9aa-69ea-4a23-b6ea-3a9d26ac15ab" providerId="ADAL" clId="{013ED13C-6829-4378-A6EF-2B6A713739E1}" dt="2024-06-12T14:29:23.208" v="1570" actId="21"/>
          <ac:spMkLst>
            <pc:docMk/>
            <pc:sldMk cId="0" sldId="299"/>
            <ac:spMk id="2" creationId="{C81A929A-C8A7-EAA3-98F2-5068FD6C79C7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29:48.499" v="1578" actId="700"/>
          <ac:spMkLst>
            <pc:docMk/>
            <pc:sldMk cId="0" sldId="299"/>
            <ac:spMk id="4" creationId="{E4C15B80-8BAF-D2A6-EB5E-943278077AE4}"/>
          </ac:spMkLst>
        </pc:spChg>
        <pc:spChg chg="add mod ord">
          <ac:chgData name="Fivestarly Lathong [Chillibreeze]" userId="479dc9aa-69ea-4a23-b6ea-3a9d26ac15ab" providerId="ADAL" clId="{013ED13C-6829-4378-A6EF-2B6A713739E1}" dt="2024-06-12T14:29:45.721" v="1577" actId="167"/>
          <ac:spMkLst>
            <pc:docMk/>
            <pc:sldMk cId="0" sldId="299"/>
            <ac:spMk id="6" creationId="{EDFA92E2-4479-1EED-DA95-AC06C8AD844C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30:15.806" v="1583" actId="21"/>
          <ac:spMkLst>
            <pc:docMk/>
            <pc:sldMk cId="0" sldId="299"/>
            <ac:spMk id="9" creationId="{36BA5502-62EA-F243-9F70-1B9FA9937DCF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30:47.195" v="1652" actId="21"/>
          <ac:spMkLst>
            <pc:docMk/>
            <pc:sldMk cId="0" sldId="299"/>
            <ac:spMk id="10" creationId="{9C47E3C5-4CA1-F592-3A1F-7298BDA16CBE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30:15.806" v="1583" actId="21"/>
          <ac:spMkLst>
            <pc:docMk/>
            <pc:sldMk cId="0" sldId="299"/>
            <ac:spMk id="11" creationId="{EBBD5CCE-8D2E-4A67-1AD7-EC6F0CC66166}"/>
          </ac:spMkLst>
        </pc:spChg>
        <pc:spChg chg="add mod ord">
          <ac:chgData name="Fivestarly Lathong [Chillibreeze]" userId="479dc9aa-69ea-4a23-b6ea-3a9d26ac15ab" providerId="ADAL" clId="{013ED13C-6829-4378-A6EF-2B6A713739E1}" dt="2024-06-12T14:29:45.721" v="1577" actId="167"/>
          <ac:spMkLst>
            <pc:docMk/>
            <pc:sldMk cId="0" sldId="299"/>
            <ac:spMk id="12" creationId="{F85C10C8-86F0-AB99-CBAB-C5D38E785F1F}"/>
          </ac:spMkLst>
        </pc:spChg>
        <pc:spChg chg="mod">
          <ac:chgData name="Fivestarly Lathong [Chillibreeze]" userId="479dc9aa-69ea-4a23-b6ea-3a9d26ac15ab" providerId="ADAL" clId="{013ED13C-6829-4378-A6EF-2B6A713739E1}" dt="2024-06-12T14:29:42.722" v="1574"/>
          <ac:spMkLst>
            <pc:docMk/>
            <pc:sldMk cId="0" sldId="299"/>
            <ac:spMk id="14" creationId="{0C3FA550-60F6-CF19-4941-AAB7B2AC4382}"/>
          </ac:spMkLst>
        </pc:spChg>
        <pc:spChg chg="mod">
          <ac:chgData name="Fivestarly Lathong [Chillibreeze]" userId="479dc9aa-69ea-4a23-b6ea-3a9d26ac15ab" providerId="ADAL" clId="{013ED13C-6829-4378-A6EF-2B6A713739E1}" dt="2024-06-12T14:29:42.722" v="1574"/>
          <ac:spMkLst>
            <pc:docMk/>
            <pc:sldMk cId="0" sldId="299"/>
            <ac:spMk id="15" creationId="{BC8E4055-7B54-22AF-E07E-891D88B9A01F}"/>
          </ac:spMkLst>
        </pc:spChg>
        <pc:spChg chg="mod">
          <ac:chgData name="Fivestarly Lathong [Chillibreeze]" userId="479dc9aa-69ea-4a23-b6ea-3a9d26ac15ab" providerId="ADAL" clId="{013ED13C-6829-4378-A6EF-2B6A713739E1}" dt="2024-06-12T14:29:42.722" v="1574"/>
          <ac:spMkLst>
            <pc:docMk/>
            <pc:sldMk cId="0" sldId="299"/>
            <ac:spMk id="16" creationId="{8E974EFC-8418-5CC3-714D-0F1325751CE0}"/>
          </ac:spMkLst>
        </pc:spChg>
        <pc:spChg chg="add mod ord">
          <ac:chgData name="Fivestarly Lathong [Chillibreeze]" userId="479dc9aa-69ea-4a23-b6ea-3a9d26ac15ab" providerId="ADAL" clId="{013ED13C-6829-4378-A6EF-2B6A713739E1}" dt="2024-06-12T14:30:09.539" v="1582" actId="166"/>
          <ac:spMkLst>
            <pc:docMk/>
            <pc:sldMk cId="0" sldId="299"/>
            <ac:spMk id="17" creationId="{C687EEAA-47D5-583B-C987-D1443F16B196}"/>
          </ac:spMkLst>
        </pc:spChg>
        <pc:spChg chg="mod">
          <ac:chgData name="Fivestarly Lathong [Chillibreeze]" userId="479dc9aa-69ea-4a23-b6ea-3a9d26ac15ab" providerId="ADAL" clId="{013ED13C-6829-4378-A6EF-2B6A713739E1}" dt="2024-06-12T14:29:42.722" v="1574"/>
          <ac:spMkLst>
            <pc:docMk/>
            <pc:sldMk cId="0" sldId="299"/>
            <ac:spMk id="19" creationId="{20AA5527-772D-3B47-133E-B1369B8394D8}"/>
          </ac:spMkLst>
        </pc:spChg>
        <pc:spChg chg="mod">
          <ac:chgData name="Fivestarly Lathong [Chillibreeze]" userId="479dc9aa-69ea-4a23-b6ea-3a9d26ac15ab" providerId="ADAL" clId="{013ED13C-6829-4378-A6EF-2B6A713739E1}" dt="2024-06-12T14:29:42.722" v="1574"/>
          <ac:spMkLst>
            <pc:docMk/>
            <pc:sldMk cId="0" sldId="299"/>
            <ac:spMk id="20" creationId="{DF81169A-013A-256F-A8C0-76FF6C3B3A9B}"/>
          </ac:spMkLst>
        </pc:spChg>
        <pc:spChg chg="mod">
          <ac:chgData name="Fivestarly Lathong [Chillibreeze]" userId="479dc9aa-69ea-4a23-b6ea-3a9d26ac15ab" providerId="ADAL" clId="{013ED13C-6829-4378-A6EF-2B6A713739E1}" dt="2024-06-12T14:29:42.722" v="1574"/>
          <ac:spMkLst>
            <pc:docMk/>
            <pc:sldMk cId="0" sldId="299"/>
            <ac:spMk id="21" creationId="{79B7CE96-1927-5E8B-AC6D-BCFBF30D746F}"/>
          </ac:spMkLst>
        </pc:spChg>
        <pc:spChg chg="add mod ord">
          <ac:chgData name="Fivestarly Lathong [Chillibreeze]" userId="479dc9aa-69ea-4a23-b6ea-3a9d26ac15ab" providerId="ADAL" clId="{013ED13C-6829-4378-A6EF-2B6A713739E1}" dt="2024-06-12T14:30:09.539" v="1582" actId="166"/>
          <ac:spMkLst>
            <pc:docMk/>
            <pc:sldMk cId="0" sldId="299"/>
            <ac:spMk id="22" creationId="{F82EF5D0-FB4C-3B46-D756-6A0CB8E6BC26}"/>
          </ac:spMkLst>
        </pc:spChg>
        <pc:spChg chg="mod">
          <ac:chgData name="Fivestarly Lathong [Chillibreeze]" userId="479dc9aa-69ea-4a23-b6ea-3a9d26ac15ab" providerId="ADAL" clId="{013ED13C-6829-4378-A6EF-2B6A713739E1}" dt="2024-06-12T14:29:42.722" v="1574"/>
          <ac:spMkLst>
            <pc:docMk/>
            <pc:sldMk cId="0" sldId="299"/>
            <ac:spMk id="24" creationId="{3038A1CE-D139-BDA4-BD2C-57721367F697}"/>
          </ac:spMkLst>
        </pc:spChg>
        <pc:spChg chg="mod">
          <ac:chgData name="Fivestarly Lathong [Chillibreeze]" userId="479dc9aa-69ea-4a23-b6ea-3a9d26ac15ab" providerId="ADAL" clId="{013ED13C-6829-4378-A6EF-2B6A713739E1}" dt="2024-06-12T14:29:42.722" v="1574"/>
          <ac:spMkLst>
            <pc:docMk/>
            <pc:sldMk cId="0" sldId="299"/>
            <ac:spMk id="25" creationId="{14543FBE-08B7-5E54-4AC5-8066D289197A}"/>
          </ac:spMkLst>
        </pc:spChg>
        <pc:spChg chg="mod">
          <ac:chgData name="Fivestarly Lathong [Chillibreeze]" userId="479dc9aa-69ea-4a23-b6ea-3a9d26ac15ab" providerId="ADAL" clId="{013ED13C-6829-4378-A6EF-2B6A713739E1}" dt="2024-06-12T14:29:42.722" v="1574"/>
          <ac:spMkLst>
            <pc:docMk/>
            <pc:sldMk cId="0" sldId="299"/>
            <ac:spMk id="26" creationId="{279B05FC-0AF4-5463-60C1-49A4CFD1584B}"/>
          </ac:spMkLst>
        </pc:spChg>
        <pc:spChg chg="add mod ord">
          <ac:chgData name="Fivestarly Lathong [Chillibreeze]" userId="479dc9aa-69ea-4a23-b6ea-3a9d26ac15ab" providerId="ADAL" clId="{013ED13C-6829-4378-A6EF-2B6A713739E1}" dt="2024-06-12T14:30:09.539" v="1582" actId="166"/>
          <ac:spMkLst>
            <pc:docMk/>
            <pc:sldMk cId="0" sldId="299"/>
            <ac:spMk id="27" creationId="{22C4A5FD-3D7C-2DC9-3A03-B61187CC7ECE}"/>
          </ac:spMkLst>
        </pc:spChg>
        <pc:spChg chg="add mod ord">
          <ac:chgData name="Fivestarly Lathong [Chillibreeze]" userId="479dc9aa-69ea-4a23-b6ea-3a9d26ac15ab" providerId="ADAL" clId="{013ED13C-6829-4378-A6EF-2B6A713739E1}" dt="2024-06-12T14:30:54.859" v="1656" actId="207"/>
          <ac:spMkLst>
            <pc:docMk/>
            <pc:sldMk cId="0" sldId="299"/>
            <ac:spMk id="28" creationId="{0D3AC46B-BC74-FF19-1605-BC1A346E21E5}"/>
          </ac:spMkLst>
        </pc:spChg>
        <pc:spChg chg="add mod">
          <ac:chgData name="Fivestarly Lathong [Chillibreeze]" userId="479dc9aa-69ea-4a23-b6ea-3a9d26ac15ab" providerId="ADAL" clId="{013ED13C-6829-4378-A6EF-2B6A713739E1}" dt="2024-06-12T14:30:02.173" v="1579"/>
          <ac:spMkLst>
            <pc:docMk/>
            <pc:sldMk cId="0" sldId="299"/>
            <ac:spMk id="30" creationId="{BEE4AB0C-AB2A-0A9F-DFA6-8E39F04ADF1F}"/>
          </ac:spMkLst>
        </pc:spChg>
        <pc:spChg chg="add mod">
          <ac:chgData name="Fivestarly Lathong [Chillibreeze]" userId="479dc9aa-69ea-4a23-b6ea-3a9d26ac15ab" providerId="ADAL" clId="{013ED13C-6829-4378-A6EF-2B6A713739E1}" dt="2024-06-12T14:30:02.173" v="1579"/>
          <ac:spMkLst>
            <pc:docMk/>
            <pc:sldMk cId="0" sldId="299"/>
            <ac:spMk id="31" creationId="{AC54BF02-B6EF-28BB-9161-EE163AC8F263}"/>
          </ac:spMkLst>
        </pc:spChg>
        <pc:spChg chg="add mod">
          <ac:chgData name="Fivestarly Lathong [Chillibreeze]" userId="479dc9aa-69ea-4a23-b6ea-3a9d26ac15ab" providerId="ADAL" clId="{013ED13C-6829-4378-A6EF-2B6A713739E1}" dt="2024-06-12T14:30:34.236" v="1584"/>
          <ac:spMkLst>
            <pc:docMk/>
            <pc:sldMk cId="0" sldId="299"/>
            <ac:spMk id="33" creationId="{67C0C91D-D272-615D-8FDC-831080272BE4}"/>
          </ac:spMkLst>
        </pc:spChg>
        <pc:spChg chg="del">
          <ac:chgData name="Fivestarly Lathong [Chillibreeze]" userId="479dc9aa-69ea-4a23-b6ea-3a9d26ac15ab" providerId="ADAL" clId="{013ED13C-6829-4378-A6EF-2B6A713739E1}" dt="2024-06-12T14:29:25.932" v="1571" actId="21"/>
          <ac:spMkLst>
            <pc:docMk/>
            <pc:sldMk cId="0" sldId="299"/>
            <ac:spMk id="4816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9:25.932" v="1571" actId="21"/>
          <ac:spMkLst>
            <pc:docMk/>
            <pc:sldMk cId="0" sldId="299"/>
            <ac:spMk id="4817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9:25.932" v="1571" actId="21"/>
          <ac:spMkLst>
            <pc:docMk/>
            <pc:sldMk cId="0" sldId="299"/>
            <ac:spMk id="4818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9:25.932" v="1571" actId="21"/>
          <ac:spMkLst>
            <pc:docMk/>
            <pc:sldMk cId="0" sldId="299"/>
            <ac:spMk id="4819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9:25.932" v="1571" actId="21"/>
          <ac:spMkLst>
            <pc:docMk/>
            <pc:sldMk cId="0" sldId="299"/>
            <ac:spMk id="4820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9:25.932" v="1571" actId="21"/>
          <ac:spMkLst>
            <pc:docMk/>
            <pc:sldMk cId="0" sldId="299"/>
            <ac:spMk id="4821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9:25.932" v="1571" actId="21"/>
          <ac:spMkLst>
            <pc:docMk/>
            <pc:sldMk cId="0" sldId="299"/>
            <ac:spMk id="4822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29:25.932" v="1571" actId="21"/>
          <ac:spMkLst>
            <pc:docMk/>
            <pc:sldMk cId="0" sldId="299"/>
            <ac:spMk id="4827" creationId="{00000000-0000-0000-0000-000000000000}"/>
          </ac:spMkLst>
        </pc:spChg>
        <pc:grpChg chg="add mod ord">
          <ac:chgData name="Fivestarly Lathong [Chillibreeze]" userId="479dc9aa-69ea-4a23-b6ea-3a9d26ac15ab" providerId="ADAL" clId="{013ED13C-6829-4378-A6EF-2B6A713739E1}" dt="2024-06-12T14:30:09.539" v="1582" actId="166"/>
          <ac:grpSpMkLst>
            <pc:docMk/>
            <pc:sldMk cId="0" sldId="299"/>
            <ac:grpSpMk id="13" creationId="{745F6470-9BD4-DF98-866F-83D5F4BC8E4B}"/>
          </ac:grpSpMkLst>
        </pc:grpChg>
        <pc:grpChg chg="add mod ord">
          <ac:chgData name="Fivestarly Lathong [Chillibreeze]" userId="479dc9aa-69ea-4a23-b6ea-3a9d26ac15ab" providerId="ADAL" clId="{013ED13C-6829-4378-A6EF-2B6A713739E1}" dt="2024-06-12T14:30:09.539" v="1582" actId="166"/>
          <ac:grpSpMkLst>
            <pc:docMk/>
            <pc:sldMk cId="0" sldId="299"/>
            <ac:grpSpMk id="18" creationId="{5DC10FFA-8976-9028-0F66-48D41E076D2E}"/>
          </ac:grpSpMkLst>
        </pc:grpChg>
        <pc:grpChg chg="add mod ord">
          <ac:chgData name="Fivestarly Lathong [Chillibreeze]" userId="479dc9aa-69ea-4a23-b6ea-3a9d26ac15ab" providerId="ADAL" clId="{013ED13C-6829-4378-A6EF-2B6A713739E1}" dt="2024-06-12T14:30:09.539" v="1582" actId="166"/>
          <ac:grpSpMkLst>
            <pc:docMk/>
            <pc:sldMk cId="0" sldId="299"/>
            <ac:grpSpMk id="23" creationId="{DE720C5A-841E-E92D-6F40-63A3A292FB09}"/>
          </ac:grpSpMkLst>
        </pc:grpChg>
        <pc:grpChg chg="del">
          <ac:chgData name="Fivestarly Lathong [Chillibreeze]" userId="479dc9aa-69ea-4a23-b6ea-3a9d26ac15ab" providerId="ADAL" clId="{013ED13C-6829-4378-A6EF-2B6A713739E1}" dt="2024-06-12T14:29:25.932" v="1571" actId="21"/>
          <ac:grpSpMkLst>
            <pc:docMk/>
            <pc:sldMk cId="0" sldId="299"/>
            <ac:grpSpMk id="4823" creationId="{00000000-0000-0000-0000-000000000000}"/>
          </ac:grpSpMkLst>
        </pc:grpChg>
        <pc:picChg chg="add mod ord">
          <ac:chgData name="Fivestarly Lathong [Chillibreeze]" userId="479dc9aa-69ea-4a23-b6ea-3a9d26ac15ab" providerId="ADAL" clId="{013ED13C-6829-4378-A6EF-2B6A713739E1}" dt="2024-06-12T14:29:45.721" v="1577" actId="167"/>
          <ac:picMkLst>
            <pc:docMk/>
            <pc:sldMk cId="0" sldId="299"/>
            <ac:picMk id="5" creationId="{9289E7A6-B3D5-28EC-5546-DE8E87E85F71}"/>
          </ac:picMkLst>
        </pc:picChg>
        <pc:picChg chg="add mod ord">
          <ac:chgData name="Fivestarly Lathong [Chillibreeze]" userId="479dc9aa-69ea-4a23-b6ea-3a9d26ac15ab" providerId="ADAL" clId="{013ED13C-6829-4378-A6EF-2B6A713739E1}" dt="2024-06-12T14:29:45.721" v="1577" actId="167"/>
          <ac:picMkLst>
            <pc:docMk/>
            <pc:sldMk cId="0" sldId="299"/>
            <ac:picMk id="8" creationId="{A3DD7807-D5EA-C93D-744B-75369063EFF1}"/>
          </ac:picMkLst>
        </pc:picChg>
        <pc:picChg chg="add mod">
          <ac:chgData name="Fivestarly Lathong [Chillibreeze]" userId="479dc9aa-69ea-4a23-b6ea-3a9d26ac15ab" providerId="ADAL" clId="{013ED13C-6829-4378-A6EF-2B6A713739E1}" dt="2024-06-12T14:30:02.173" v="1579"/>
          <ac:picMkLst>
            <pc:docMk/>
            <pc:sldMk cId="0" sldId="299"/>
            <ac:picMk id="29" creationId="{C3A4DEBD-F8FD-D41C-B9DD-9F360215F868}"/>
          </ac:picMkLst>
        </pc:picChg>
        <pc:picChg chg="del">
          <ac:chgData name="Fivestarly Lathong [Chillibreeze]" userId="479dc9aa-69ea-4a23-b6ea-3a9d26ac15ab" providerId="ADAL" clId="{013ED13C-6829-4378-A6EF-2B6A713739E1}" dt="2024-06-12T14:29:25.932" v="1571" actId="21"/>
          <ac:picMkLst>
            <pc:docMk/>
            <pc:sldMk cId="0" sldId="299"/>
            <ac:picMk id="4815" creationId="{00000000-0000-0000-0000-000000000000}"/>
          </ac:picMkLst>
        </pc:picChg>
        <pc:cxnChg chg="add del mod ord">
          <ac:chgData name="Fivestarly Lathong [Chillibreeze]" userId="479dc9aa-69ea-4a23-b6ea-3a9d26ac15ab" providerId="ADAL" clId="{013ED13C-6829-4378-A6EF-2B6A713739E1}" dt="2024-06-12T14:30:15.806" v="1583" actId="21"/>
          <ac:cxnSpMkLst>
            <pc:docMk/>
            <pc:sldMk cId="0" sldId="299"/>
            <ac:cxnSpMk id="7" creationId="{24C4BA2C-E324-C752-2EBD-E5ABA63F2539}"/>
          </ac:cxnSpMkLst>
        </pc:cxnChg>
        <pc:cxnChg chg="add mod">
          <ac:chgData name="Fivestarly Lathong [Chillibreeze]" userId="479dc9aa-69ea-4a23-b6ea-3a9d26ac15ab" providerId="ADAL" clId="{013ED13C-6829-4378-A6EF-2B6A713739E1}" dt="2024-06-12T14:30:34.236" v="1584"/>
          <ac:cxnSpMkLst>
            <pc:docMk/>
            <pc:sldMk cId="0" sldId="299"/>
            <ac:cxnSpMk id="32" creationId="{8E75EA03-C5DE-C8E1-44B5-32E76B910B94}"/>
          </ac:cxnSpMkLst>
        </pc:cxnChg>
      </pc:sldChg>
      <pc:sldChg chg="addSp delSp modSp mod setBg chgLayout">
        <pc:chgData name="Fivestarly Lathong [Chillibreeze]" userId="479dc9aa-69ea-4a23-b6ea-3a9d26ac15ab" providerId="ADAL" clId="{013ED13C-6829-4378-A6EF-2B6A713739E1}" dt="2024-06-12T14:32:29.199" v="1676" actId="465"/>
        <pc:sldMkLst>
          <pc:docMk/>
          <pc:sldMk cId="0" sldId="300"/>
        </pc:sldMkLst>
        <pc:spChg chg="del">
          <ac:chgData name="Fivestarly Lathong [Chillibreeze]" userId="479dc9aa-69ea-4a23-b6ea-3a9d26ac15ab" providerId="ADAL" clId="{013ED13C-6829-4378-A6EF-2B6A713739E1}" dt="2024-06-12T14:31:08.545" v="1657" actId="21"/>
          <ac:spMkLst>
            <pc:docMk/>
            <pc:sldMk cId="0" sldId="300"/>
            <ac:spMk id="2" creationId="{279D48B5-858A-34D9-7389-F37ECD47EE03}"/>
          </ac:spMkLst>
        </pc:spChg>
        <pc:spChg chg="add mod ord">
          <ac:chgData name="Fivestarly Lathong [Chillibreeze]" userId="479dc9aa-69ea-4a23-b6ea-3a9d26ac15ab" providerId="ADAL" clId="{013ED13C-6829-4378-A6EF-2B6A713739E1}" dt="2024-06-12T14:32:29.199" v="1676" actId="465"/>
          <ac:spMkLst>
            <pc:docMk/>
            <pc:sldMk cId="0" sldId="300"/>
            <ac:spMk id="4" creationId="{4036BBC3-2F12-05E3-E731-A0DF4BFA3F70}"/>
          </ac:spMkLst>
        </pc:spChg>
        <pc:spChg chg="add mod">
          <ac:chgData name="Fivestarly Lathong [Chillibreeze]" userId="479dc9aa-69ea-4a23-b6ea-3a9d26ac15ab" providerId="ADAL" clId="{013ED13C-6829-4378-A6EF-2B6A713739E1}" dt="2024-06-12T14:31:21.565" v="1661" actId="167"/>
          <ac:spMkLst>
            <pc:docMk/>
            <pc:sldMk cId="0" sldId="300"/>
            <ac:spMk id="7" creationId="{5AFDB1F0-094A-71F9-3FA7-1CA36DDB4237}"/>
          </ac:spMkLst>
        </pc:spChg>
        <pc:spChg chg="mod">
          <ac:chgData name="Fivestarly Lathong [Chillibreeze]" userId="479dc9aa-69ea-4a23-b6ea-3a9d26ac15ab" providerId="ADAL" clId="{013ED13C-6829-4378-A6EF-2B6A713739E1}" dt="2024-06-12T14:31:20.031" v="1659"/>
          <ac:spMkLst>
            <pc:docMk/>
            <pc:sldMk cId="0" sldId="300"/>
            <ac:spMk id="9" creationId="{B3EFBFDF-BC3E-6A13-0F10-D873089BC2B0}"/>
          </ac:spMkLst>
        </pc:spChg>
        <pc:spChg chg="mod">
          <ac:chgData name="Fivestarly Lathong [Chillibreeze]" userId="479dc9aa-69ea-4a23-b6ea-3a9d26ac15ab" providerId="ADAL" clId="{013ED13C-6829-4378-A6EF-2B6A713739E1}" dt="2024-06-12T14:31:20.031" v="1659"/>
          <ac:spMkLst>
            <pc:docMk/>
            <pc:sldMk cId="0" sldId="300"/>
            <ac:spMk id="10" creationId="{C0865A83-AE47-79E2-1DAB-41148E8ECD10}"/>
          </ac:spMkLst>
        </pc:spChg>
        <pc:spChg chg="mod">
          <ac:chgData name="Fivestarly Lathong [Chillibreeze]" userId="479dc9aa-69ea-4a23-b6ea-3a9d26ac15ab" providerId="ADAL" clId="{013ED13C-6829-4378-A6EF-2B6A713739E1}" dt="2024-06-12T14:31:20.031" v="1659"/>
          <ac:spMkLst>
            <pc:docMk/>
            <pc:sldMk cId="0" sldId="300"/>
            <ac:spMk id="11" creationId="{DB21A288-9F10-BDC6-383D-05F5862C999E}"/>
          </ac:spMkLst>
        </pc:spChg>
        <pc:spChg chg="add del mod">
          <ac:chgData name="Fivestarly Lathong [Chillibreeze]" userId="479dc9aa-69ea-4a23-b6ea-3a9d26ac15ab" providerId="ADAL" clId="{013ED13C-6829-4378-A6EF-2B6A713739E1}" dt="2024-06-12T14:32:18.633" v="1674" actId="21"/>
          <ac:spMkLst>
            <pc:docMk/>
            <pc:sldMk cId="0" sldId="300"/>
            <ac:spMk id="12" creationId="{3CE367C6-E932-4401-0B68-4B8AACE89B7C}"/>
          </ac:spMkLst>
        </pc:spChg>
        <pc:spChg chg="mod">
          <ac:chgData name="Fivestarly Lathong [Chillibreeze]" userId="479dc9aa-69ea-4a23-b6ea-3a9d26ac15ab" providerId="ADAL" clId="{013ED13C-6829-4378-A6EF-2B6A713739E1}" dt="2024-06-12T14:31:20.031" v="1659"/>
          <ac:spMkLst>
            <pc:docMk/>
            <pc:sldMk cId="0" sldId="300"/>
            <ac:spMk id="16" creationId="{86F35C2A-9C34-8C0C-B658-4B733292084E}"/>
          </ac:spMkLst>
        </pc:spChg>
        <pc:spChg chg="mod">
          <ac:chgData name="Fivestarly Lathong [Chillibreeze]" userId="479dc9aa-69ea-4a23-b6ea-3a9d26ac15ab" providerId="ADAL" clId="{013ED13C-6829-4378-A6EF-2B6A713739E1}" dt="2024-06-12T14:31:20.031" v="1659"/>
          <ac:spMkLst>
            <pc:docMk/>
            <pc:sldMk cId="0" sldId="300"/>
            <ac:spMk id="17" creationId="{3BB50334-5802-6E2B-622E-0399206D9D32}"/>
          </ac:spMkLst>
        </pc:spChg>
        <pc:spChg chg="mod">
          <ac:chgData name="Fivestarly Lathong [Chillibreeze]" userId="479dc9aa-69ea-4a23-b6ea-3a9d26ac15ab" providerId="ADAL" clId="{013ED13C-6829-4378-A6EF-2B6A713739E1}" dt="2024-06-12T14:31:20.031" v="1659"/>
          <ac:spMkLst>
            <pc:docMk/>
            <pc:sldMk cId="0" sldId="300"/>
            <ac:spMk id="18" creationId="{3A0EF761-6DBA-F049-1004-B19C3B5275BC}"/>
          </ac:spMkLst>
        </pc:spChg>
        <pc:spChg chg="mod">
          <ac:chgData name="Fivestarly Lathong [Chillibreeze]" userId="479dc9aa-69ea-4a23-b6ea-3a9d26ac15ab" providerId="ADAL" clId="{013ED13C-6829-4378-A6EF-2B6A713739E1}" dt="2024-06-12T14:31:20.031" v="1659"/>
          <ac:spMkLst>
            <pc:docMk/>
            <pc:sldMk cId="0" sldId="300"/>
            <ac:spMk id="20" creationId="{61C42E84-39AF-E7C4-31E1-5023D830E40F}"/>
          </ac:spMkLst>
        </pc:spChg>
        <pc:spChg chg="mod">
          <ac:chgData name="Fivestarly Lathong [Chillibreeze]" userId="479dc9aa-69ea-4a23-b6ea-3a9d26ac15ab" providerId="ADAL" clId="{013ED13C-6829-4378-A6EF-2B6A713739E1}" dt="2024-06-12T14:31:20.031" v="1659"/>
          <ac:spMkLst>
            <pc:docMk/>
            <pc:sldMk cId="0" sldId="300"/>
            <ac:spMk id="21" creationId="{DCB02D8B-7715-1C0C-D496-65CA0112BA78}"/>
          </ac:spMkLst>
        </pc:spChg>
        <pc:spChg chg="mod">
          <ac:chgData name="Fivestarly Lathong [Chillibreeze]" userId="479dc9aa-69ea-4a23-b6ea-3a9d26ac15ab" providerId="ADAL" clId="{013ED13C-6829-4378-A6EF-2B6A713739E1}" dt="2024-06-12T14:31:20.031" v="1659"/>
          <ac:spMkLst>
            <pc:docMk/>
            <pc:sldMk cId="0" sldId="300"/>
            <ac:spMk id="22" creationId="{430A3692-EF1D-C9D2-D6AD-F0DE480C4A0E}"/>
          </ac:spMkLst>
        </pc:spChg>
        <pc:spChg chg="add del mod">
          <ac:chgData name="Fivestarly Lathong [Chillibreeze]" userId="479dc9aa-69ea-4a23-b6ea-3a9d26ac15ab" providerId="ADAL" clId="{013ED13C-6829-4378-A6EF-2B6A713739E1}" dt="2024-06-12T14:32:05.607" v="1665" actId="6264"/>
          <ac:spMkLst>
            <pc:docMk/>
            <pc:sldMk cId="0" sldId="300"/>
            <ac:spMk id="23" creationId="{11E964BB-15FB-39B1-5B9C-FEC4B52CC778}"/>
          </ac:spMkLst>
        </pc:spChg>
        <pc:spChg chg="del">
          <ac:chgData name="Fivestarly Lathong [Chillibreeze]" userId="479dc9aa-69ea-4a23-b6ea-3a9d26ac15ab" providerId="ADAL" clId="{013ED13C-6829-4378-A6EF-2B6A713739E1}" dt="2024-06-12T14:31:18.693" v="1658" actId="478"/>
          <ac:spMkLst>
            <pc:docMk/>
            <pc:sldMk cId="0" sldId="300"/>
            <ac:spMk id="4834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31:18.693" v="1658" actId="478"/>
          <ac:spMkLst>
            <pc:docMk/>
            <pc:sldMk cId="0" sldId="300"/>
            <ac:spMk id="4835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31:18.693" v="1658" actId="478"/>
          <ac:spMkLst>
            <pc:docMk/>
            <pc:sldMk cId="0" sldId="300"/>
            <ac:spMk id="4836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31:18.693" v="1658" actId="478"/>
          <ac:spMkLst>
            <pc:docMk/>
            <pc:sldMk cId="0" sldId="300"/>
            <ac:spMk id="4837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31:18.693" v="1658" actId="478"/>
          <ac:spMkLst>
            <pc:docMk/>
            <pc:sldMk cId="0" sldId="300"/>
            <ac:spMk id="4838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31:18.693" v="1658" actId="478"/>
          <ac:spMkLst>
            <pc:docMk/>
            <pc:sldMk cId="0" sldId="300"/>
            <ac:spMk id="4839" creationId="{00000000-0000-0000-0000-000000000000}"/>
          </ac:spMkLst>
        </pc:spChg>
        <pc:grpChg chg="add mod">
          <ac:chgData name="Fivestarly Lathong [Chillibreeze]" userId="479dc9aa-69ea-4a23-b6ea-3a9d26ac15ab" providerId="ADAL" clId="{013ED13C-6829-4378-A6EF-2B6A713739E1}" dt="2024-06-12T14:31:21.565" v="1661" actId="167"/>
          <ac:grpSpMkLst>
            <pc:docMk/>
            <pc:sldMk cId="0" sldId="300"/>
            <ac:grpSpMk id="8" creationId="{D5554B93-B4CA-8674-97B4-644739E4FE20}"/>
          </ac:grpSpMkLst>
        </pc:grpChg>
        <pc:grpChg chg="add mod">
          <ac:chgData name="Fivestarly Lathong [Chillibreeze]" userId="479dc9aa-69ea-4a23-b6ea-3a9d26ac15ab" providerId="ADAL" clId="{013ED13C-6829-4378-A6EF-2B6A713739E1}" dt="2024-06-12T14:31:21.565" v="1661" actId="167"/>
          <ac:grpSpMkLst>
            <pc:docMk/>
            <pc:sldMk cId="0" sldId="300"/>
            <ac:grpSpMk id="15" creationId="{7D54A749-E3FF-604E-0410-58FD5C92CB6F}"/>
          </ac:grpSpMkLst>
        </pc:grpChg>
        <pc:grpChg chg="add mod">
          <ac:chgData name="Fivestarly Lathong [Chillibreeze]" userId="479dc9aa-69ea-4a23-b6ea-3a9d26ac15ab" providerId="ADAL" clId="{013ED13C-6829-4378-A6EF-2B6A713739E1}" dt="2024-06-12T14:31:21.565" v="1661" actId="167"/>
          <ac:grpSpMkLst>
            <pc:docMk/>
            <pc:sldMk cId="0" sldId="300"/>
            <ac:grpSpMk id="19" creationId="{19FE6BBC-2F46-0D52-DC5F-1507B0FA82ED}"/>
          </ac:grpSpMkLst>
        </pc:grpChg>
        <pc:graphicFrameChg chg="add mod">
          <ac:chgData name="Fivestarly Lathong [Chillibreeze]" userId="479dc9aa-69ea-4a23-b6ea-3a9d26ac15ab" providerId="ADAL" clId="{013ED13C-6829-4378-A6EF-2B6A713739E1}" dt="2024-06-12T14:31:21.565" v="1661" actId="167"/>
          <ac:graphicFrameMkLst>
            <pc:docMk/>
            <pc:sldMk cId="0" sldId="300"/>
            <ac:graphicFrameMk id="13" creationId="{FA47C9B3-CBB3-25BF-D05C-6EF39FF4330B}"/>
          </ac:graphicFrameMkLst>
        </pc:graphicFrameChg>
        <pc:picChg chg="add mod">
          <ac:chgData name="Fivestarly Lathong [Chillibreeze]" userId="479dc9aa-69ea-4a23-b6ea-3a9d26ac15ab" providerId="ADAL" clId="{013ED13C-6829-4378-A6EF-2B6A713739E1}" dt="2024-06-12T14:31:21.565" v="1661" actId="167"/>
          <ac:picMkLst>
            <pc:docMk/>
            <pc:sldMk cId="0" sldId="300"/>
            <ac:picMk id="5" creationId="{E6661DD9-E13A-99DE-4E80-5556785A2F85}"/>
          </ac:picMkLst>
        </pc:picChg>
        <pc:picChg chg="add mod">
          <ac:chgData name="Fivestarly Lathong [Chillibreeze]" userId="479dc9aa-69ea-4a23-b6ea-3a9d26ac15ab" providerId="ADAL" clId="{013ED13C-6829-4378-A6EF-2B6A713739E1}" dt="2024-06-12T14:31:21.565" v="1661" actId="167"/>
          <ac:picMkLst>
            <pc:docMk/>
            <pc:sldMk cId="0" sldId="300"/>
            <ac:picMk id="6" creationId="{317BAB09-98FD-79B2-7542-E8A8D7E2D194}"/>
          </ac:picMkLst>
        </pc:picChg>
        <pc:picChg chg="add mod">
          <ac:chgData name="Fivestarly Lathong [Chillibreeze]" userId="479dc9aa-69ea-4a23-b6ea-3a9d26ac15ab" providerId="ADAL" clId="{013ED13C-6829-4378-A6EF-2B6A713739E1}" dt="2024-06-12T14:31:21.565" v="1661" actId="167"/>
          <ac:picMkLst>
            <pc:docMk/>
            <pc:sldMk cId="0" sldId="300"/>
            <ac:picMk id="14" creationId="{A0AFC60E-AA5B-7E59-74A2-63A49EE86362}"/>
          </ac:picMkLst>
        </pc:picChg>
        <pc:picChg chg="del">
          <ac:chgData name="Fivestarly Lathong [Chillibreeze]" userId="479dc9aa-69ea-4a23-b6ea-3a9d26ac15ab" providerId="ADAL" clId="{013ED13C-6829-4378-A6EF-2B6A713739E1}" dt="2024-06-12T14:31:18.693" v="1658" actId="478"/>
          <ac:picMkLst>
            <pc:docMk/>
            <pc:sldMk cId="0" sldId="300"/>
            <ac:picMk id="4832" creationId="{00000000-0000-0000-0000-000000000000}"/>
          </ac:picMkLst>
        </pc:picChg>
        <pc:picChg chg="del">
          <ac:chgData name="Fivestarly Lathong [Chillibreeze]" userId="479dc9aa-69ea-4a23-b6ea-3a9d26ac15ab" providerId="ADAL" clId="{013ED13C-6829-4378-A6EF-2B6A713739E1}" dt="2024-06-12T14:31:18.693" v="1658" actId="478"/>
          <ac:picMkLst>
            <pc:docMk/>
            <pc:sldMk cId="0" sldId="300"/>
            <ac:picMk id="4833" creationId="{00000000-0000-0000-0000-000000000000}"/>
          </ac:picMkLst>
        </pc:picChg>
      </pc:sldChg>
      <pc:sldChg chg="addSp delSp modSp mod modClrScheme chgLayout">
        <pc:chgData name="Fivestarly Lathong [Chillibreeze]" userId="479dc9aa-69ea-4a23-b6ea-3a9d26ac15ab" providerId="ADAL" clId="{013ED13C-6829-4378-A6EF-2B6A713739E1}" dt="2024-06-12T14:34:07.044" v="1716" actId="207"/>
        <pc:sldMkLst>
          <pc:docMk/>
          <pc:sldMk cId="0" sldId="301"/>
        </pc:sldMkLst>
        <pc:spChg chg="del">
          <ac:chgData name="Fivestarly Lathong [Chillibreeze]" userId="479dc9aa-69ea-4a23-b6ea-3a9d26ac15ab" providerId="ADAL" clId="{013ED13C-6829-4378-A6EF-2B6A713739E1}" dt="2024-06-12T14:32:58.023" v="1677" actId="21"/>
          <ac:spMkLst>
            <pc:docMk/>
            <pc:sldMk cId="0" sldId="301"/>
            <ac:spMk id="2" creationId="{AB3741FC-EE31-09FA-392B-2D3F524FD915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33:03.882" v="1679" actId="700"/>
          <ac:spMkLst>
            <pc:docMk/>
            <pc:sldMk cId="0" sldId="301"/>
            <ac:spMk id="4" creationId="{16668D00-7F45-DC63-3FBF-D0A992FF12CD}"/>
          </ac:spMkLst>
        </pc:spChg>
        <pc:spChg chg="add mod ord">
          <ac:chgData name="Fivestarly Lathong [Chillibreeze]" userId="479dc9aa-69ea-4a23-b6ea-3a9d26ac15ab" providerId="ADAL" clId="{013ED13C-6829-4378-A6EF-2B6A713739E1}" dt="2024-06-12T14:34:07.044" v="1716" actId="207"/>
          <ac:spMkLst>
            <pc:docMk/>
            <pc:sldMk cId="0" sldId="301"/>
            <ac:spMk id="5" creationId="{2529EAC7-54DA-5797-77EC-92BAA5CD3E0E}"/>
          </ac:spMkLst>
        </pc:spChg>
        <pc:spChg chg="add mod ord">
          <ac:chgData name="Fivestarly Lathong [Chillibreeze]" userId="479dc9aa-69ea-4a23-b6ea-3a9d26ac15ab" providerId="ADAL" clId="{013ED13C-6829-4378-A6EF-2B6A713739E1}" dt="2024-06-12T14:33:13.584" v="1683" actId="167"/>
          <ac:spMkLst>
            <pc:docMk/>
            <pc:sldMk cId="0" sldId="301"/>
            <ac:spMk id="8" creationId="{91F5E631-4F85-455F-1FCF-CF098C774389}"/>
          </ac:spMkLst>
        </pc:spChg>
        <pc:spChg chg="add mod ord">
          <ac:chgData name="Fivestarly Lathong [Chillibreeze]" userId="479dc9aa-69ea-4a23-b6ea-3a9d26ac15ab" providerId="ADAL" clId="{013ED13C-6829-4378-A6EF-2B6A713739E1}" dt="2024-06-12T14:33:21.574" v="1686"/>
          <ac:spMkLst>
            <pc:docMk/>
            <pc:sldMk cId="0" sldId="301"/>
            <ac:spMk id="9" creationId="{536BA3EC-F8E1-FBCC-C3A5-69F59D273515}"/>
          </ac:spMkLst>
        </pc:spChg>
        <pc:spChg chg="add mod ord">
          <ac:chgData name="Fivestarly Lathong [Chillibreeze]" userId="479dc9aa-69ea-4a23-b6ea-3a9d26ac15ab" providerId="ADAL" clId="{013ED13C-6829-4378-A6EF-2B6A713739E1}" dt="2024-06-12T14:33:26.646" v="1689"/>
          <ac:spMkLst>
            <pc:docMk/>
            <pc:sldMk cId="0" sldId="301"/>
            <ac:spMk id="10" creationId="{9A0DD6E9-E127-538E-DCCF-5AC6B2D51C8C}"/>
          </ac:spMkLst>
        </pc:spChg>
        <pc:spChg chg="add mod ord">
          <ac:chgData name="Fivestarly Lathong [Chillibreeze]" userId="479dc9aa-69ea-4a23-b6ea-3a9d26ac15ab" providerId="ADAL" clId="{013ED13C-6829-4378-A6EF-2B6A713739E1}" dt="2024-06-12T14:33:30.459" v="1692"/>
          <ac:spMkLst>
            <pc:docMk/>
            <pc:sldMk cId="0" sldId="301"/>
            <ac:spMk id="11" creationId="{2AE5772F-9CB5-1CE4-A2BB-56D75B32A392}"/>
          </ac:spMkLst>
        </pc:spChg>
        <pc:spChg chg="add mod ord">
          <ac:chgData name="Fivestarly Lathong [Chillibreeze]" userId="479dc9aa-69ea-4a23-b6ea-3a9d26ac15ab" providerId="ADAL" clId="{013ED13C-6829-4378-A6EF-2B6A713739E1}" dt="2024-06-12T14:33:34.374" v="1695"/>
          <ac:spMkLst>
            <pc:docMk/>
            <pc:sldMk cId="0" sldId="301"/>
            <ac:spMk id="12" creationId="{83808D7A-016D-E0B2-3BCC-B4397D8491FE}"/>
          </ac:spMkLst>
        </pc:spChg>
        <pc:spChg chg="add mod ord">
          <ac:chgData name="Fivestarly Lathong [Chillibreeze]" userId="479dc9aa-69ea-4a23-b6ea-3a9d26ac15ab" providerId="ADAL" clId="{013ED13C-6829-4378-A6EF-2B6A713739E1}" dt="2024-06-12T14:33:38.388" v="1698"/>
          <ac:spMkLst>
            <pc:docMk/>
            <pc:sldMk cId="0" sldId="301"/>
            <ac:spMk id="13" creationId="{F7B7720B-D823-A8B9-6F17-920C851928B1}"/>
          </ac:spMkLst>
        </pc:spChg>
        <pc:spChg chg="add mod ord">
          <ac:chgData name="Fivestarly Lathong [Chillibreeze]" userId="479dc9aa-69ea-4a23-b6ea-3a9d26ac15ab" providerId="ADAL" clId="{013ED13C-6829-4378-A6EF-2B6A713739E1}" dt="2024-06-12T14:33:42.773" v="1701"/>
          <ac:spMkLst>
            <pc:docMk/>
            <pc:sldMk cId="0" sldId="301"/>
            <ac:spMk id="14" creationId="{7CF5EF4D-3324-DFC6-B69F-A6B5B455A90D}"/>
          </ac:spMkLst>
        </pc:spChg>
        <pc:spChg chg="add mod ord">
          <ac:chgData name="Fivestarly Lathong [Chillibreeze]" userId="479dc9aa-69ea-4a23-b6ea-3a9d26ac15ab" providerId="ADAL" clId="{013ED13C-6829-4378-A6EF-2B6A713739E1}" dt="2024-06-12T14:33:46.881" v="1704"/>
          <ac:spMkLst>
            <pc:docMk/>
            <pc:sldMk cId="0" sldId="301"/>
            <ac:spMk id="15" creationId="{5B6EBB77-3089-206B-DBAE-209E188D3B39}"/>
          </ac:spMkLst>
        </pc:spChg>
        <pc:spChg chg="add mod ord">
          <ac:chgData name="Fivestarly Lathong [Chillibreeze]" userId="479dc9aa-69ea-4a23-b6ea-3a9d26ac15ab" providerId="ADAL" clId="{013ED13C-6829-4378-A6EF-2B6A713739E1}" dt="2024-06-12T14:33:51.110" v="1707"/>
          <ac:spMkLst>
            <pc:docMk/>
            <pc:sldMk cId="0" sldId="301"/>
            <ac:spMk id="16" creationId="{DDFDE6DB-7717-CA6F-2694-AE7D20788655}"/>
          </ac:spMkLst>
        </pc:spChg>
        <pc:spChg chg="add mod ord">
          <ac:chgData name="Fivestarly Lathong [Chillibreeze]" userId="479dc9aa-69ea-4a23-b6ea-3a9d26ac15ab" providerId="ADAL" clId="{013ED13C-6829-4378-A6EF-2B6A713739E1}" dt="2024-06-12T14:33:59.184" v="1712"/>
          <ac:spMkLst>
            <pc:docMk/>
            <pc:sldMk cId="0" sldId="301"/>
            <ac:spMk id="17" creationId="{FE642F93-23AE-2E48-B4FD-768291635599}"/>
          </ac:spMkLst>
        </pc:spChg>
        <pc:spChg chg="add del mod">
          <ac:chgData name="Fivestarly Lathong [Chillibreeze]" userId="479dc9aa-69ea-4a23-b6ea-3a9d26ac15ab" providerId="ADAL" clId="{013ED13C-6829-4378-A6EF-2B6A713739E1}" dt="2024-06-12T14:34:04.972" v="1714" actId="6264"/>
          <ac:spMkLst>
            <pc:docMk/>
            <pc:sldMk cId="0" sldId="301"/>
            <ac:spMk id="18" creationId="{823DE0F6-18D2-F3CF-25B4-DEC7A201EC61}"/>
          </ac:spMkLst>
        </pc:spChg>
        <pc:spChg chg="add del mod">
          <ac:chgData name="Fivestarly Lathong [Chillibreeze]" userId="479dc9aa-69ea-4a23-b6ea-3a9d26ac15ab" providerId="ADAL" clId="{013ED13C-6829-4378-A6EF-2B6A713739E1}" dt="2024-06-12T14:34:05.057" v="1715" actId="6264"/>
          <ac:spMkLst>
            <pc:docMk/>
            <pc:sldMk cId="0" sldId="301"/>
            <ac:spMk id="19" creationId="{3F6F820D-5E86-895B-C16E-6EAF8DF97A05}"/>
          </ac:spMkLst>
        </pc:spChg>
        <pc:spChg chg="del">
          <ac:chgData name="Fivestarly Lathong [Chillibreeze]" userId="479dc9aa-69ea-4a23-b6ea-3a9d26ac15ab" providerId="ADAL" clId="{013ED13C-6829-4378-A6EF-2B6A713739E1}" dt="2024-06-12T14:32:59.178" v="1678" actId="21"/>
          <ac:spMkLst>
            <pc:docMk/>
            <pc:sldMk cId="0" sldId="301"/>
            <ac:spMk id="4846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32:59.178" v="1678" actId="21"/>
          <ac:spMkLst>
            <pc:docMk/>
            <pc:sldMk cId="0" sldId="301"/>
            <ac:spMk id="4847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32:59.178" v="1678" actId="21"/>
          <ac:spMkLst>
            <pc:docMk/>
            <pc:sldMk cId="0" sldId="301"/>
            <ac:spMk id="4848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32:59.178" v="1678" actId="21"/>
          <ac:spMkLst>
            <pc:docMk/>
            <pc:sldMk cId="0" sldId="301"/>
            <ac:spMk id="4849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32:59.178" v="1678" actId="21"/>
          <ac:spMkLst>
            <pc:docMk/>
            <pc:sldMk cId="0" sldId="301"/>
            <ac:spMk id="4850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32:59.178" v="1678" actId="21"/>
          <ac:spMkLst>
            <pc:docMk/>
            <pc:sldMk cId="0" sldId="301"/>
            <ac:spMk id="4851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32:59.178" v="1678" actId="21"/>
          <ac:spMkLst>
            <pc:docMk/>
            <pc:sldMk cId="0" sldId="301"/>
            <ac:spMk id="4852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32:59.178" v="1678" actId="21"/>
          <ac:spMkLst>
            <pc:docMk/>
            <pc:sldMk cId="0" sldId="301"/>
            <ac:spMk id="4853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32:59.178" v="1678" actId="21"/>
          <ac:spMkLst>
            <pc:docMk/>
            <pc:sldMk cId="0" sldId="301"/>
            <ac:spMk id="4854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32:59.178" v="1678" actId="21"/>
          <ac:spMkLst>
            <pc:docMk/>
            <pc:sldMk cId="0" sldId="301"/>
            <ac:spMk id="4855" creationId="{00000000-0000-0000-0000-000000000000}"/>
          </ac:spMkLst>
        </pc:spChg>
        <pc:picChg chg="add mod ord">
          <ac:chgData name="Fivestarly Lathong [Chillibreeze]" userId="479dc9aa-69ea-4a23-b6ea-3a9d26ac15ab" providerId="ADAL" clId="{013ED13C-6829-4378-A6EF-2B6A713739E1}" dt="2024-06-12T14:33:13.584" v="1683" actId="167"/>
          <ac:picMkLst>
            <pc:docMk/>
            <pc:sldMk cId="0" sldId="301"/>
            <ac:picMk id="6" creationId="{EE0C678E-D039-0133-2092-BF46B069F76D}"/>
          </ac:picMkLst>
        </pc:picChg>
        <pc:picChg chg="add mod ord">
          <ac:chgData name="Fivestarly Lathong [Chillibreeze]" userId="479dc9aa-69ea-4a23-b6ea-3a9d26ac15ab" providerId="ADAL" clId="{013ED13C-6829-4378-A6EF-2B6A713739E1}" dt="2024-06-12T14:33:13.584" v="1683" actId="167"/>
          <ac:picMkLst>
            <pc:docMk/>
            <pc:sldMk cId="0" sldId="301"/>
            <ac:picMk id="7" creationId="{6EA14C44-4210-E5B9-1AE1-88D14A3A4E2F}"/>
          </ac:picMkLst>
        </pc:picChg>
        <pc:picChg chg="del">
          <ac:chgData name="Fivestarly Lathong [Chillibreeze]" userId="479dc9aa-69ea-4a23-b6ea-3a9d26ac15ab" providerId="ADAL" clId="{013ED13C-6829-4378-A6EF-2B6A713739E1}" dt="2024-06-12T14:32:59.178" v="1678" actId="21"/>
          <ac:picMkLst>
            <pc:docMk/>
            <pc:sldMk cId="0" sldId="301"/>
            <ac:picMk id="4845" creationId="{00000000-0000-0000-0000-000000000000}"/>
          </ac:picMkLst>
        </pc:picChg>
      </pc:sldChg>
      <pc:sldChg chg="addSp delSp modSp mod setBg modClrScheme chgLayout">
        <pc:chgData name="Fivestarly Lathong [Chillibreeze]" userId="479dc9aa-69ea-4a23-b6ea-3a9d26ac15ab" providerId="ADAL" clId="{013ED13C-6829-4378-A6EF-2B6A713739E1}" dt="2024-06-12T14:36:42.857" v="1744" actId="167"/>
        <pc:sldMkLst>
          <pc:docMk/>
          <pc:sldMk cId="0" sldId="302"/>
        </pc:sldMkLst>
        <pc:spChg chg="del mod">
          <ac:chgData name="Fivestarly Lathong [Chillibreeze]" userId="479dc9aa-69ea-4a23-b6ea-3a9d26ac15ab" providerId="ADAL" clId="{013ED13C-6829-4378-A6EF-2B6A713739E1}" dt="2024-06-12T14:34:15.075" v="1718" actId="21"/>
          <ac:spMkLst>
            <pc:docMk/>
            <pc:sldMk cId="0" sldId="302"/>
            <ac:spMk id="2" creationId="{16F43D02-A130-A6AB-AB47-8E8DD89DB42D}"/>
          </ac:spMkLst>
        </pc:spChg>
        <pc:spChg chg="add mod ord">
          <ac:chgData name="Fivestarly Lathong [Chillibreeze]" userId="479dc9aa-69ea-4a23-b6ea-3a9d26ac15ab" providerId="ADAL" clId="{013ED13C-6829-4378-A6EF-2B6A713739E1}" dt="2024-06-12T14:36:40.821" v="1741" actId="700"/>
          <ac:spMkLst>
            <pc:docMk/>
            <pc:sldMk cId="0" sldId="302"/>
            <ac:spMk id="4" creationId="{851C0130-AECD-A741-7902-C54C210C193E}"/>
          </ac:spMkLst>
        </pc:spChg>
        <pc:spChg chg="add mod">
          <ac:chgData name="Fivestarly Lathong [Chillibreeze]" userId="479dc9aa-69ea-4a23-b6ea-3a9d26ac15ab" providerId="ADAL" clId="{013ED13C-6829-4378-A6EF-2B6A713739E1}" dt="2024-06-12T14:34:22.670" v="1720"/>
          <ac:spMkLst>
            <pc:docMk/>
            <pc:sldMk cId="0" sldId="302"/>
            <ac:spMk id="5" creationId="{F88159B2-8DFA-0038-6355-38D51E5AD3D4}"/>
          </ac:spMkLst>
        </pc:spChg>
        <pc:spChg chg="add mod">
          <ac:chgData name="Fivestarly Lathong [Chillibreeze]" userId="479dc9aa-69ea-4a23-b6ea-3a9d26ac15ab" providerId="ADAL" clId="{013ED13C-6829-4378-A6EF-2B6A713739E1}" dt="2024-06-12T14:34:22.670" v="1720"/>
          <ac:spMkLst>
            <pc:docMk/>
            <pc:sldMk cId="0" sldId="302"/>
            <ac:spMk id="6" creationId="{F844ED28-EEB6-44C1-1C35-01D2A83EBF9C}"/>
          </ac:spMkLst>
        </pc:spChg>
        <pc:spChg chg="add mod">
          <ac:chgData name="Fivestarly Lathong [Chillibreeze]" userId="479dc9aa-69ea-4a23-b6ea-3a9d26ac15ab" providerId="ADAL" clId="{013ED13C-6829-4378-A6EF-2B6A713739E1}" dt="2024-06-12T14:34:22.670" v="1720"/>
          <ac:spMkLst>
            <pc:docMk/>
            <pc:sldMk cId="0" sldId="302"/>
            <ac:spMk id="7" creationId="{769EC3FF-CD88-4718-3BE4-EDF25191DD26}"/>
          </ac:spMkLst>
        </pc:spChg>
        <pc:spChg chg="add mod">
          <ac:chgData name="Fivestarly Lathong [Chillibreeze]" userId="479dc9aa-69ea-4a23-b6ea-3a9d26ac15ab" providerId="ADAL" clId="{013ED13C-6829-4378-A6EF-2B6A713739E1}" dt="2024-06-12T14:34:22.670" v="1720"/>
          <ac:spMkLst>
            <pc:docMk/>
            <pc:sldMk cId="0" sldId="302"/>
            <ac:spMk id="8" creationId="{D0E7032F-64F1-15B3-169D-211D407487F0}"/>
          </ac:spMkLst>
        </pc:spChg>
        <pc:spChg chg="add mod">
          <ac:chgData name="Fivestarly Lathong [Chillibreeze]" userId="479dc9aa-69ea-4a23-b6ea-3a9d26ac15ab" providerId="ADAL" clId="{013ED13C-6829-4378-A6EF-2B6A713739E1}" dt="2024-06-12T14:34:22.670" v="1720"/>
          <ac:spMkLst>
            <pc:docMk/>
            <pc:sldMk cId="0" sldId="302"/>
            <ac:spMk id="9" creationId="{34DDA570-B34D-551D-6319-ADD7EA393ABC}"/>
          </ac:spMkLst>
        </pc:spChg>
        <pc:spChg chg="add mod">
          <ac:chgData name="Fivestarly Lathong [Chillibreeze]" userId="479dc9aa-69ea-4a23-b6ea-3a9d26ac15ab" providerId="ADAL" clId="{013ED13C-6829-4378-A6EF-2B6A713739E1}" dt="2024-06-12T14:34:22.670" v="1720"/>
          <ac:spMkLst>
            <pc:docMk/>
            <pc:sldMk cId="0" sldId="302"/>
            <ac:spMk id="10" creationId="{D13847B3-504A-3556-60EE-41CCEDD77DE9}"/>
          </ac:spMkLst>
        </pc:spChg>
        <pc:spChg chg="add mod">
          <ac:chgData name="Fivestarly Lathong [Chillibreeze]" userId="479dc9aa-69ea-4a23-b6ea-3a9d26ac15ab" providerId="ADAL" clId="{013ED13C-6829-4378-A6EF-2B6A713739E1}" dt="2024-06-12T14:34:22.670" v="1720"/>
          <ac:spMkLst>
            <pc:docMk/>
            <pc:sldMk cId="0" sldId="302"/>
            <ac:spMk id="11" creationId="{44F7666A-0081-C84B-1389-D93E99106F91}"/>
          </ac:spMkLst>
        </pc:spChg>
        <pc:spChg chg="mod">
          <ac:chgData name="Fivestarly Lathong [Chillibreeze]" userId="479dc9aa-69ea-4a23-b6ea-3a9d26ac15ab" providerId="ADAL" clId="{013ED13C-6829-4378-A6EF-2B6A713739E1}" dt="2024-06-12T14:34:22.670" v="1720"/>
          <ac:spMkLst>
            <pc:docMk/>
            <pc:sldMk cId="0" sldId="302"/>
            <ac:spMk id="13" creationId="{3B3A2108-D692-0268-B470-2FF3B6438086}"/>
          </ac:spMkLst>
        </pc:spChg>
        <pc:spChg chg="mod">
          <ac:chgData name="Fivestarly Lathong [Chillibreeze]" userId="479dc9aa-69ea-4a23-b6ea-3a9d26ac15ab" providerId="ADAL" clId="{013ED13C-6829-4378-A6EF-2B6A713739E1}" dt="2024-06-12T14:34:22.670" v="1720"/>
          <ac:spMkLst>
            <pc:docMk/>
            <pc:sldMk cId="0" sldId="302"/>
            <ac:spMk id="14" creationId="{98236E42-D287-5D5D-A3F1-0E103CAD3209}"/>
          </ac:spMkLst>
        </pc:spChg>
        <pc:spChg chg="add mod">
          <ac:chgData name="Fivestarly Lathong [Chillibreeze]" userId="479dc9aa-69ea-4a23-b6ea-3a9d26ac15ab" providerId="ADAL" clId="{013ED13C-6829-4378-A6EF-2B6A713739E1}" dt="2024-06-12T14:34:22.670" v="1720"/>
          <ac:spMkLst>
            <pc:docMk/>
            <pc:sldMk cId="0" sldId="302"/>
            <ac:spMk id="15" creationId="{B51CE38D-0A46-D82C-C381-62A955B84618}"/>
          </ac:spMkLst>
        </pc:spChg>
        <pc:spChg chg="add mod">
          <ac:chgData name="Fivestarly Lathong [Chillibreeze]" userId="479dc9aa-69ea-4a23-b6ea-3a9d26ac15ab" providerId="ADAL" clId="{013ED13C-6829-4378-A6EF-2B6A713739E1}" dt="2024-06-12T14:34:22.670" v="1720"/>
          <ac:spMkLst>
            <pc:docMk/>
            <pc:sldMk cId="0" sldId="302"/>
            <ac:spMk id="20" creationId="{F59DC95E-1DDC-B7B7-B31B-DB9E13988E56}"/>
          </ac:spMkLst>
        </pc:spChg>
        <pc:spChg chg="add mod">
          <ac:chgData name="Fivestarly Lathong [Chillibreeze]" userId="479dc9aa-69ea-4a23-b6ea-3a9d26ac15ab" providerId="ADAL" clId="{013ED13C-6829-4378-A6EF-2B6A713739E1}" dt="2024-06-12T14:34:22.670" v="1720"/>
          <ac:spMkLst>
            <pc:docMk/>
            <pc:sldMk cId="0" sldId="302"/>
            <ac:spMk id="21" creationId="{B2F14F8A-B7A2-0BA8-F873-1AEF944B0BA4}"/>
          </ac:spMkLst>
        </pc:spChg>
        <pc:spChg chg="add del mod">
          <ac:chgData name="Fivestarly Lathong [Chillibreeze]" userId="479dc9aa-69ea-4a23-b6ea-3a9d26ac15ab" providerId="ADAL" clId="{013ED13C-6829-4378-A6EF-2B6A713739E1}" dt="2024-06-12T14:34:35.243" v="1724" actId="6264"/>
          <ac:spMkLst>
            <pc:docMk/>
            <pc:sldMk cId="0" sldId="302"/>
            <ac:spMk id="23" creationId="{E1A760D5-1C09-FF59-D504-C97AABCA032D}"/>
          </ac:spMkLst>
        </pc:spChg>
        <pc:spChg chg="add del mod">
          <ac:chgData name="Fivestarly Lathong [Chillibreeze]" userId="479dc9aa-69ea-4a23-b6ea-3a9d26ac15ab" providerId="ADAL" clId="{013ED13C-6829-4378-A6EF-2B6A713739E1}" dt="2024-06-12T14:34:35.443" v="1725" actId="6264"/>
          <ac:spMkLst>
            <pc:docMk/>
            <pc:sldMk cId="0" sldId="302"/>
            <ac:spMk id="24" creationId="{4FB07238-DA71-118E-0A19-383AF0F81ED6}"/>
          </ac:spMkLst>
        </pc:spChg>
        <pc:spChg chg="add mod">
          <ac:chgData name="Fivestarly Lathong [Chillibreeze]" userId="479dc9aa-69ea-4a23-b6ea-3a9d26ac15ab" providerId="ADAL" clId="{013ED13C-6829-4378-A6EF-2B6A713739E1}" dt="2024-06-12T14:34:59.657" v="1734"/>
          <ac:spMkLst>
            <pc:docMk/>
            <pc:sldMk cId="0" sldId="302"/>
            <ac:spMk id="26" creationId="{212A280C-1F1F-E966-4701-9A7C14ED4322}"/>
          </ac:spMkLst>
        </pc:spChg>
        <pc:spChg chg="add mod ord">
          <ac:chgData name="Fivestarly Lathong [Chillibreeze]" userId="479dc9aa-69ea-4a23-b6ea-3a9d26ac15ab" providerId="ADAL" clId="{013ED13C-6829-4378-A6EF-2B6A713739E1}" dt="2024-06-12T14:36:42.857" v="1744" actId="167"/>
          <ac:spMkLst>
            <pc:docMk/>
            <pc:sldMk cId="0" sldId="302"/>
            <ac:spMk id="29" creationId="{4142C6CC-8ECD-CE00-92F8-C86859CDDD86}"/>
          </ac:spMkLst>
        </pc:spChg>
        <pc:spChg chg="add mod ord">
          <ac:chgData name="Fivestarly Lathong [Chillibreeze]" userId="479dc9aa-69ea-4a23-b6ea-3a9d26ac15ab" providerId="ADAL" clId="{013ED13C-6829-4378-A6EF-2B6A713739E1}" dt="2024-06-12T14:36:42.857" v="1744" actId="167"/>
          <ac:spMkLst>
            <pc:docMk/>
            <pc:sldMk cId="0" sldId="302"/>
            <ac:spMk id="30" creationId="{8635555E-834B-E2FE-BBA3-0F271F14C001}"/>
          </ac:spMkLst>
        </pc:spChg>
        <pc:spChg chg="del">
          <ac:chgData name="Fivestarly Lathong [Chillibreeze]" userId="479dc9aa-69ea-4a23-b6ea-3a9d26ac15ab" providerId="ADAL" clId="{013ED13C-6829-4378-A6EF-2B6A713739E1}" dt="2024-06-12T14:34:17.511" v="1719" actId="21"/>
          <ac:spMkLst>
            <pc:docMk/>
            <pc:sldMk cId="0" sldId="302"/>
            <ac:spMk id="4861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34:17.511" v="1719" actId="21"/>
          <ac:spMkLst>
            <pc:docMk/>
            <pc:sldMk cId="0" sldId="302"/>
            <ac:spMk id="4862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34:17.511" v="1719" actId="21"/>
          <ac:spMkLst>
            <pc:docMk/>
            <pc:sldMk cId="0" sldId="302"/>
            <ac:spMk id="4868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34:17.511" v="1719" actId="21"/>
          <ac:spMkLst>
            <pc:docMk/>
            <pc:sldMk cId="0" sldId="302"/>
            <ac:spMk id="4869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34:17.511" v="1719" actId="21"/>
          <ac:spMkLst>
            <pc:docMk/>
            <pc:sldMk cId="0" sldId="302"/>
            <ac:spMk id="4870" creationId="{00000000-0000-0000-0000-000000000000}"/>
          </ac:spMkLst>
        </pc:spChg>
        <pc:grpChg chg="add mod">
          <ac:chgData name="Fivestarly Lathong [Chillibreeze]" userId="479dc9aa-69ea-4a23-b6ea-3a9d26ac15ab" providerId="ADAL" clId="{013ED13C-6829-4378-A6EF-2B6A713739E1}" dt="2024-06-12T14:34:22.670" v="1720"/>
          <ac:grpSpMkLst>
            <pc:docMk/>
            <pc:sldMk cId="0" sldId="302"/>
            <ac:grpSpMk id="12" creationId="{9B5B9CA5-99C0-C6AB-3CA7-C1217D83A03D}"/>
          </ac:grpSpMkLst>
        </pc:grpChg>
        <pc:grpChg chg="del">
          <ac:chgData name="Fivestarly Lathong [Chillibreeze]" userId="479dc9aa-69ea-4a23-b6ea-3a9d26ac15ab" providerId="ADAL" clId="{013ED13C-6829-4378-A6EF-2B6A713739E1}" dt="2024-06-12T14:34:17.511" v="1719" actId="21"/>
          <ac:grpSpMkLst>
            <pc:docMk/>
            <pc:sldMk cId="0" sldId="302"/>
            <ac:grpSpMk id="4863" creationId="{00000000-0000-0000-0000-000000000000}"/>
          </ac:grpSpMkLst>
        </pc:grpChg>
        <pc:picChg chg="add mod">
          <ac:chgData name="Fivestarly Lathong [Chillibreeze]" userId="479dc9aa-69ea-4a23-b6ea-3a9d26ac15ab" providerId="ADAL" clId="{013ED13C-6829-4378-A6EF-2B6A713739E1}" dt="2024-06-12T14:34:22.670" v="1720"/>
          <ac:picMkLst>
            <pc:docMk/>
            <pc:sldMk cId="0" sldId="302"/>
            <ac:picMk id="16" creationId="{63D9B895-60F2-CB4C-9774-C256883E5F50}"/>
          </ac:picMkLst>
        </pc:picChg>
        <pc:picChg chg="add mod">
          <ac:chgData name="Fivestarly Lathong [Chillibreeze]" userId="479dc9aa-69ea-4a23-b6ea-3a9d26ac15ab" providerId="ADAL" clId="{013ED13C-6829-4378-A6EF-2B6A713739E1}" dt="2024-06-12T14:34:22.670" v="1720"/>
          <ac:picMkLst>
            <pc:docMk/>
            <pc:sldMk cId="0" sldId="302"/>
            <ac:picMk id="17" creationId="{4CF88120-8E5C-77CF-6E7F-F450DC6D9583}"/>
          </ac:picMkLst>
        </pc:picChg>
        <pc:picChg chg="add mod">
          <ac:chgData name="Fivestarly Lathong [Chillibreeze]" userId="479dc9aa-69ea-4a23-b6ea-3a9d26ac15ab" providerId="ADAL" clId="{013ED13C-6829-4378-A6EF-2B6A713739E1}" dt="2024-06-12T14:34:22.670" v="1720"/>
          <ac:picMkLst>
            <pc:docMk/>
            <pc:sldMk cId="0" sldId="302"/>
            <ac:picMk id="18" creationId="{03C34802-F940-0A87-B64C-9F27336BC9D3}"/>
          </ac:picMkLst>
        </pc:picChg>
        <pc:picChg chg="add mod">
          <ac:chgData name="Fivestarly Lathong [Chillibreeze]" userId="479dc9aa-69ea-4a23-b6ea-3a9d26ac15ab" providerId="ADAL" clId="{013ED13C-6829-4378-A6EF-2B6A713739E1}" dt="2024-06-12T14:34:22.670" v="1720"/>
          <ac:picMkLst>
            <pc:docMk/>
            <pc:sldMk cId="0" sldId="302"/>
            <ac:picMk id="19" creationId="{572E34AD-7B13-EC54-5378-C8562B2AFF14}"/>
          </ac:picMkLst>
        </pc:picChg>
        <pc:picChg chg="add mod">
          <ac:chgData name="Fivestarly Lathong [Chillibreeze]" userId="479dc9aa-69ea-4a23-b6ea-3a9d26ac15ab" providerId="ADAL" clId="{013ED13C-6829-4378-A6EF-2B6A713739E1}" dt="2024-06-12T14:34:22.670" v="1720"/>
          <ac:picMkLst>
            <pc:docMk/>
            <pc:sldMk cId="0" sldId="302"/>
            <ac:picMk id="22" creationId="{E8F43847-D324-8836-9687-35131FC3752E}"/>
          </ac:picMkLst>
        </pc:picChg>
        <pc:picChg chg="add mod ord">
          <ac:chgData name="Fivestarly Lathong [Chillibreeze]" userId="479dc9aa-69ea-4a23-b6ea-3a9d26ac15ab" providerId="ADAL" clId="{013ED13C-6829-4378-A6EF-2B6A713739E1}" dt="2024-06-12T14:36:42.857" v="1744" actId="167"/>
          <ac:picMkLst>
            <pc:docMk/>
            <pc:sldMk cId="0" sldId="302"/>
            <ac:picMk id="28" creationId="{28FEC567-3A4E-3EF4-D68B-B3974013F842}"/>
          </ac:picMkLst>
        </pc:picChg>
        <pc:picChg chg="del">
          <ac:chgData name="Fivestarly Lathong [Chillibreeze]" userId="479dc9aa-69ea-4a23-b6ea-3a9d26ac15ab" providerId="ADAL" clId="{013ED13C-6829-4378-A6EF-2B6A713739E1}" dt="2024-06-12T14:34:17.511" v="1719" actId="21"/>
          <ac:picMkLst>
            <pc:docMk/>
            <pc:sldMk cId="0" sldId="302"/>
            <ac:picMk id="4860" creationId="{00000000-0000-0000-0000-000000000000}"/>
          </ac:picMkLst>
        </pc:picChg>
        <pc:cxnChg chg="add mod">
          <ac:chgData name="Fivestarly Lathong [Chillibreeze]" userId="479dc9aa-69ea-4a23-b6ea-3a9d26ac15ab" providerId="ADAL" clId="{013ED13C-6829-4378-A6EF-2B6A713739E1}" dt="2024-06-12T14:35:08.778" v="1735" actId="14100"/>
          <ac:cxnSpMkLst>
            <pc:docMk/>
            <pc:sldMk cId="0" sldId="302"/>
            <ac:cxnSpMk id="25" creationId="{DDFF6786-6589-028E-0D30-C5C19F47063C}"/>
          </ac:cxnSpMkLst>
        </pc:cxnChg>
      </pc:sldChg>
      <pc:sldChg chg="addSp delSp modSp mod modClrScheme chgLayout">
        <pc:chgData name="Fivestarly Lathong [Chillibreeze]" userId="479dc9aa-69ea-4a23-b6ea-3a9d26ac15ab" providerId="ADAL" clId="{013ED13C-6829-4378-A6EF-2B6A713739E1}" dt="2024-06-12T14:41:17.074" v="1896" actId="14100"/>
        <pc:sldMkLst>
          <pc:docMk/>
          <pc:sldMk cId="0" sldId="303"/>
        </pc:sldMkLst>
        <pc:spChg chg="del mod">
          <ac:chgData name="Fivestarly Lathong [Chillibreeze]" userId="479dc9aa-69ea-4a23-b6ea-3a9d26ac15ab" providerId="ADAL" clId="{013ED13C-6829-4378-A6EF-2B6A713739E1}" dt="2024-06-12T14:39:53.219" v="1853" actId="478"/>
          <ac:spMkLst>
            <pc:docMk/>
            <pc:sldMk cId="0" sldId="303"/>
            <ac:spMk id="2" creationId="{D3293FA1-85D1-8D1B-A67C-249723B826B7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39:55.353" v="1854" actId="700"/>
          <ac:spMkLst>
            <pc:docMk/>
            <pc:sldMk cId="0" sldId="303"/>
            <ac:spMk id="4" creationId="{304D9BF5-616D-180F-A092-4C6F2A62983D}"/>
          </ac:spMkLst>
        </pc:spChg>
        <pc:spChg chg="add mod ord">
          <ac:chgData name="Fivestarly Lathong [Chillibreeze]" userId="479dc9aa-69ea-4a23-b6ea-3a9d26ac15ab" providerId="ADAL" clId="{013ED13C-6829-4378-A6EF-2B6A713739E1}" dt="2024-06-12T14:40:30.662" v="1867" actId="313"/>
          <ac:spMkLst>
            <pc:docMk/>
            <pc:sldMk cId="0" sldId="303"/>
            <ac:spMk id="5" creationId="{193A4280-251B-0BE2-E3AE-B9FFDF8837D5}"/>
          </ac:spMkLst>
        </pc:spChg>
        <pc:spChg chg="add mod ord">
          <ac:chgData name="Fivestarly Lathong [Chillibreeze]" userId="479dc9aa-69ea-4a23-b6ea-3a9d26ac15ab" providerId="ADAL" clId="{013ED13C-6829-4378-A6EF-2B6A713739E1}" dt="2024-06-12T14:39:57.496" v="1856" actId="167"/>
          <ac:spMkLst>
            <pc:docMk/>
            <pc:sldMk cId="0" sldId="303"/>
            <ac:spMk id="6" creationId="{C706B7A0-A21E-1248-CCE7-EA83AD448AD5}"/>
          </ac:spMkLst>
        </pc:spChg>
        <pc:spChg chg="add mod ord">
          <ac:chgData name="Fivestarly Lathong [Chillibreeze]" userId="479dc9aa-69ea-4a23-b6ea-3a9d26ac15ab" providerId="ADAL" clId="{013ED13C-6829-4378-A6EF-2B6A713739E1}" dt="2024-06-12T14:39:57.496" v="1856" actId="167"/>
          <ac:spMkLst>
            <pc:docMk/>
            <pc:sldMk cId="0" sldId="303"/>
            <ac:spMk id="7" creationId="{B603EC77-1724-0EDB-E022-AD439609A5B1}"/>
          </ac:spMkLst>
        </pc:spChg>
        <pc:spChg chg="add mod ord">
          <ac:chgData name="Fivestarly Lathong [Chillibreeze]" userId="479dc9aa-69ea-4a23-b6ea-3a9d26ac15ab" providerId="ADAL" clId="{013ED13C-6829-4378-A6EF-2B6A713739E1}" dt="2024-06-12T14:39:57.496" v="1856" actId="167"/>
          <ac:spMkLst>
            <pc:docMk/>
            <pc:sldMk cId="0" sldId="303"/>
            <ac:spMk id="8" creationId="{D7C9F20A-6C80-D8E4-0091-11CA4D885D55}"/>
          </ac:spMkLst>
        </pc:spChg>
        <pc:spChg chg="add mod ord">
          <ac:chgData name="Fivestarly Lathong [Chillibreeze]" userId="479dc9aa-69ea-4a23-b6ea-3a9d26ac15ab" providerId="ADAL" clId="{013ED13C-6829-4378-A6EF-2B6A713739E1}" dt="2024-06-12T14:39:57.496" v="1856" actId="167"/>
          <ac:spMkLst>
            <pc:docMk/>
            <pc:sldMk cId="0" sldId="303"/>
            <ac:spMk id="9" creationId="{803FDCCC-4143-022F-E703-B5260F52EB82}"/>
          </ac:spMkLst>
        </pc:spChg>
        <pc:spChg chg="add mod ord">
          <ac:chgData name="Fivestarly Lathong [Chillibreeze]" userId="479dc9aa-69ea-4a23-b6ea-3a9d26ac15ab" providerId="ADAL" clId="{013ED13C-6829-4378-A6EF-2B6A713739E1}" dt="2024-06-12T14:39:57.496" v="1856" actId="167"/>
          <ac:spMkLst>
            <pc:docMk/>
            <pc:sldMk cId="0" sldId="303"/>
            <ac:spMk id="10" creationId="{0BD0C545-F098-3DA1-7398-CD74130571DB}"/>
          </ac:spMkLst>
        </pc:spChg>
        <pc:spChg chg="add mod ord">
          <ac:chgData name="Fivestarly Lathong [Chillibreeze]" userId="479dc9aa-69ea-4a23-b6ea-3a9d26ac15ab" providerId="ADAL" clId="{013ED13C-6829-4378-A6EF-2B6A713739E1}" dt="2024-06-12T14:39:57.496" v="1856" actId="167"/>
          <ac:spMkLst>
            <pc:docMk/>
            <pc:sldMk cId="0" sldId="303"/>
            <ac:spMk id="11" creationId="{5E0F3638-6605-CCB2-1121-B33665280730}"/>
          </ac:spMkLst>
        </pc:spChg>
        <pc:spChg chg="add mod ord">
          <ac:chgData name="Fivestarly Lathong [Chillibreeze]" userId="479dc9aa-69ea-4a23-b6ea-3a9d26ac15ab" providerId="ADAL" clId="{013ED13C-6829-4378-A6EF-2B6A713739E1}" dt="2024-06-12T14:39:57.496" v="1856" actId="167"/>
          <ac:spMkLst>
            <pc:docMk/>
            <pc:sldMk cId="0" sldId="303"/>
            <ac:spMk id="12" creationId="{C4D963F9-64C3-F4CD-6688-B89A7D52760C}"/>
          </ac:spMkLst>
        </pc:spChg>
        <pc:spChg chg="add mod ord">
          <ac:chgData name="Fivestarly Lathong [Chillibreeze]" userId="479dc9aa-69ea-4a23-b6ea-3a9d26ac15ab" providerId="ADAL" clId="{013ED13C-6829-4378-A6EF-2B6A713739E1}" dt="2024-06-12T14:39:57.496" v="1856" actId="167"/>
          <ac:spMkLst>
            <pc:docMk/>
            <pc:sldMk cId="0" sldId="303"/>
            <ac:spMk id="15" creationId="{616AB467-7ABB-5EE3-25B8-256DE3B4A749}"/>
          </ac:spMkLst>
        </pc:spChg>
        <pc:spChg chg="add mod ord">
          <ac:chgData name="Fivestarly Lathong [Chillibreeze]" userId="479dc9aa-69ea-4a23-b6ea-3a9d26ac15ab" providerId="ADAL" clId="{013ED13C-6829-4378-A6EF-2B6A713739E1}" dt="2024-06-12T14:39:57.496" v="1856" actId="167"/>
          <ac:spMkLst>
            <pc:docMk/>
            <pc:sldMk cId="0" sldId="303"/>
            <ac:spMk id="16" creationId="{379D7938-09EB-CD95-5C84-D8160DDC7DAB}"/>
          </ac:spMkLst>
        </pc:spChg>
        <pc:spChg chg="add mod ord">
          <ac:chgData name="Fivestarly Lathong [Chillibreeze]" userId="479dc9aa-69ea-4a23-b6ea-3a9d26ac15ab" providerId="ADAL" clId="{013ED13C-6829-4378-A6EF-2B6A713739E1}" dt="2024-06-12T14:40:45.673" v="1877" actId="14100"/>
          <ac:spMkLst>
            <pc:docMk/>
            <pc:sldMk cId="0" sldId="303"/>
            <ac:spMk id="17" creationId="{BC44105F-786E-6967-17C6-F48E41956909}"/>
          </ac:spMkLst>
        </pc:spChg>
        <pc:spChg chg="add mod ord">
          <ac:chgData name="Fivestarly Lathong [Chillibreeze]" userId="479dc9aa-69ea-4a23-b6ea-3a9d26ac15ab" providerId="ADAL" clId="{013ED13C-6829-4378-A6EF-2B6A713739E1}" dt="2024-06-12T14:39:57.496" v="1856" actId="167"/>
          <ac:spMkLst>
            <pc:docMk/>
            <pc:sldMk cId="0" sldId="303"/>
            <ac:spMk id="18" creationId="{86DF10FD-EAFF-E696-1A01-FA115EAD1F7E}"/>
          </ac:spMkLst>
        </pc:spChg>
        <pc:spChg chg="add mod ord">
          <ac:chgData name="Fivestarly Lathong [Chillibreeze]" userId="479dc9aa-69ea-4a23-b6ea-3a9d26ac15ab" providerId="ADAL" clId="{013ED13C-6829-4378-A6EF-2B6A713739E1}" dt="2024-06-12T14:39:57.496" v="1856" actId="167"/>
          <ac:spMkLst>
            <pc:docMk/>
            <pc:sldMk cId="0" sldId="303"/>
            <ac:spMk id="19" creationId="{292E7775-0DAE-FB3B-FCEE-445F8E0CF150}"/>
          </ac:spMkLst>
        </pc:spChg>
        <pc:spChg chg="add mod ord">
          <ac:chgData name="Fivestarly Lathong [Chillibreeze]" userId="479dc9aa-69ea-4a23-b6ea-3a9d26ac15ab" providerId="ADAL" clId="{013ED13C-6829-4378-A6EF-2B6A713739E1}" dt="2024-06-12T14:41:14.149" v="1895" actId="20577"/>
          <ac:spMkLst>
            <pc:docMk/>
            <pc:sldMk cId="0" sldId="303"/>
            <ac:spMk id="20" creationId="{2F33CA07-2F7E-0827-FB71-B67B23EC31AC}"/>
          </ac:spMkLst>
        </pc:spChg>
        <pc:spChg chg="add mod ord">
          <ac:chgData name="Fivestarly Lathong [Chillibreeze]" userId="479dc9aa-69ea-4a23-b6ea-3a9d26ac15ab" providerId="ADAL" clId="{013ED13C-6829-4378-A6EF-2B6A713739E1}" dt="2024-06-12T14:39:57.496" v="1856" actId="167"/>
          <ac:spMkLst>
            <pc:docMk/>
            <pc:sldMk cId="0" sldId="303"/>
            <ac:spMk id="21" creationId="{90D73716-3AA3-29FB-422C-BA0ED5D64607}"/>
          </ac:spMkLst>
        </pc:spChg>
        <pc:spChg chg="add mod ord">
          <ac:chgData name="Fivestarly Lathong [Chillibreeze]" userId="479dc9aa-69ea-4a23-b6ea-3a9d26ac15ab" providerId="ADAL" clId="{013ED13C-6829-4378-A6EF-2B6A713739E1}" dt="2024-06-12T14:39:57.496" v="1856" actId="167"/>
          <ac:spMkLst>
            <pc:docMk/>
            <pc:sldMk cId="0" sldId="303"/>
            <ac:spMk id="22" creationId="{22BC840D-5013-0E1C-74E5-52355EE5F3DB}"/>
          </ac:spMkLst>
        </pc:spChg>
        <pc:spChg chg="add mod ord">
          <ac:chgData name="Fivestarly Lathong [Chillibreeze]" userId="479dc9aa-69ea-4a23-b6ea-3a9d26ac15ab" providerId="ADAL" clId="{013ED13C-6829-4378-A6EF-2B6A713739E1}" dt="2024-06-12T14:41:17.074" v="1896" actId="14100"/>
          <ac:spMkLst>
            <pc:docMk/>
            <pc:sldMk cId="0" sldId="303"/>
            <ac:spMk id="23" creationId="{5AADC888-0CD2-1814-E343-01D4F695EC68}"/>
          </ac:spMkLst>
        </pc:spChg>
        <pc:spChg chg="add mod ord">
          <ac:chgData name="Fivestarly Lathong [Chillibreeze]" userId="479dc9aa-69ea-4a23-b6ea-3a9d26ac15ab" providerId="ADAL" clId="{013ED13C-6829-4378-A6EF-2B6A713739E1}" dt="2024-06-12T14:40:09.261" v="1858" actId="166"/>
          <ac:spMkLst>
            <pc:docMk/>
            <pc:sldMk cId="0" sldId="303"/>
            <ac:spMk id="25" creationId="{572AE4DE-4AC8-0848-5F49-35468D547760}"/>
          </ac:spMkLst>
        </pc:spChg>
        <pc:spChg chg="add mod ord">
          <ac:chgData name="Fivestarly Lathong [Chillibreeze]" userId="479dc9aa-69ea-4a23-b6ea-3a9d26ac15ab" providerId="ADAL" clId="{013ED13C-6829-4378-A6EF-2B6A713739E1}" dt="2024-06-12T14:40:09.261" v="1858" actId="166"/>
          <ac:spMkLst>
            <pc:docMk/>
            <pc:sldMk cId="0" sldId="303"/>
            <ac:spMk id="26" creationId="{04D786B5-F883-F5D1-1DC8-5C274FB4936F}"/>
          </ac:spMkLst>
        </pc:spChg>
        <pc:spChg chg="add del mod">
          <ac:chgData name="Fivestarly Lathong [Chillibreeze]" userId="479dc9aa-69ea-4a23-b6ea-3a9d26ac15ab" providerId="ADAL" clId="{013ED13C-6829-4378-A6EF-2B6A713739E1}" dt="2024-06-12T14:40:25.022" v="1863" actId="6264"/>
          <ac:spMkLst>
            <pc:docMk/>
            <pc:sldMk cId="0" sldId="303"/>
            <ac:spMk id="27" creationId="{F29C374B-52AC-845C-95B6-A31C6593F000}"/>
          </ac:spMkLst>
        </pc:spChg>
        <pc:spChg chg="add del mod">
          <ac:chgData name="Fivestarly Lathong [Chillibreeze]" userId="479dc9aa-69ea-4a23-b6ea-3a9d26ac15ab" providerId="ADAL" clId="{013ED13C-6829-4378-A6EF-2B6A713739E1}" dt="2024-06-12T14:40:25.179" v="1864" actId="6264"/>
          <ac:spMkLst>
            <pc:docMk/>
            <pc:sldMk cId="0" sldId="303"/>
            <ac:spMk id="28" creationId="{8A842E37-6E49-51C8-6229-A6EDC4B71D69}"/>
          </ac:spMkLst>
        </pc:spChg>
        <pc:spChg chg="del">
          <ac:chgData name="Fivestarly Lathong [Chillibreeze]" userId="479dc9aa-69ea-4a23-b6ea-3a9d26ac15ab" providerId="ADAL" clId="{013ED13C-6829-4378-A6EF-2B6A713739E1}" dt="2024-06-12T14:39:53.219" v="1853" actId="478"/>
          <ac:spMkLst>
            <pc:docMk/>
            <pc:sldMk cId="0" sldId="303"/>
            <ac:spMk id="4888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39:53.219" v="1853" actId="478"/>
          <ac:spMkLst>
            <pc:docMk/>
            <pc:sldMk cId="0" sldId="303"/>
            <ac:spMk id="4889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39:53.219" v="1853" actId="478"/>
          <ac:spMkLst>
            <pc:docMk/>
            <pc:sldMk cId="0" sldId="303"/>
            <ac:spMk id="4890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39:53.219" v="1853" actId="478"/>
          <ac:spMkLst>
            <pc:docMk/>
            <pc:sldMk cId="0" sldId="303"/>
            <ac:spMk id="4891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39:53.219" v="1853" actId="478"/>
          <ac:spMkLst>
            <pc:docMk/>
            <pc:sldMk cId="0" sldId="303"/>
            <ac:spMk id="4892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39:53.219" v="1853" actId="478"/>
          <ac:spMkLst>
            <pc:docMk/>
            <pc:sldMk cId="0" sldId="303"/>
            <ac:spMk id="4893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39:53.219" v="1853" actId="478"/>
          <ac:spMkLst>
            <pc:docMk/>
            <pc:sldMk cId="0" sldId="303"/>
            <ac:spMk id="4894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39:53.219" v="1853" actId="478"/>
          <ac:spMkLst>
            <pc:docMk/>
            <pc:sldMk cId="0" sldId="303"/>
            <ac:spMk id="4897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39:53.219" v="1853" actId="478"/>
          <ac:spMkLst>
            <pc:docMk/>
            <pc:sldMk cId="0" sldId="303"/>
            <ac:spMk id="4898" creationId="{00000000-0000-0000-0000-000000000000}"/>
          </ac:spMkLst>
        </pc:spChg>
        <pc:grpChg chg="del">
          <ac:chgData name="Fivestarly Lathong [Chillibreeze]" userId="479dc9aa-69ea-4a23-b6ea-3a9d26ac15ab" providerId="ADAL" clId="{013ED13C-6829-4378-A6EF-2B6A713739E1}" dt="2024-06-12T14:39:53.219" v="1853" actId="478"/>
          <ac:grpSpMkLst>
            <pc:docMk/>
            <pc:sldMk cId="0" sldId="303"/>
            <ac:grpSpMk id="4876" creationId="{00000000-0000-0000-0000-000000000000}"/>
          </ac:grpSpMkLst>
        </pc:grpChg>
        <pc:grpChg chg="del">
          <ac:chgData name="Fivestarly Lathong [Chillibreeze]" userId="479dc9aa-69ea-4a23-b6ea-3a9d26ac15ab" providerId="ADAL" clId="{013ED13C-6829-4378-A6EF-2B6A713739E1}" dt="2024-06-12T14:39:53.219" v="1853" actId="478"/>
          <ac:grpSpMkLst>
            <pc:docMk/>
            <pc:sldMk cId="0" sldId="303"/>
            <ac:grpSpMk id="4879" creationId="{00000000-0000-0000-0000-000000000000}"/>
          </ac:grpSpMkLst>
        </pc:grpChg>
        <pc:grpChg chg="del">
          <ac:chgData name="Fivestarly Lathong [Chillibreeze]" userId="479dc9aa-69ea-4a23-b6ea-3a9d26ac15ab" providerId="ADAL" clId="{013ED13C-6829-4378-A6EF-2B6A713739E1}" dt="2024-06-12T14:39:53.219" v="1853" actId="478"/>
          <ac:grpSpMkLst>
            <pc:docMk/>
            <pc:sldMk cId="0" sldId="303"/>
            <ac:grpSpMk id="4882" creationId="{00000000-0000-0000-0000-000000000000}"/>
          </ac:grpSpMkLst>
        </pc:grpChg>
        <pc:picChg chg="add mod ord">
          <ac:chgData name="Fivestarly Lathong [Chillibreeze]" userId="479dc9aa-69ea-4a23-b6ea-3a9d26ac15ab" providerId="ADAL" clId="{013ED13C-6829-4378-A6EF-2B6A713739E1}" dt="2024-06-12T14:41:04.627" v="1886" actId="167"/>
          <ac:picMkLst>
            <pc:docMk/>
            <pc:sldMk cId="0" sldId="303"/>
            <ac:picMk id="24" creationId="{0BFB521F-7B1F-500C-39D4-108032AA38D3}"/>
          </ac:picMkLst>
        </pc:picChg>
        <pc:picChg chg="del">
          <ac:chgData name="Fivestarly Lathong [Chillibreeze]" userId="479dc9aa-69ea-4a23-b6ea-3a9d26ac15ab" providerId="ADAL" clId="{013ED13C-6829-4378-A6EF-2B6A713739E1}" dt="2024-06-12T14:39:53.219" v="1853" actId="478"/>
          <ac:picMkLst>
            <pc:docMk/>
            <pc:sldMk cId="0" sldId="303"/>
            <ac:picMk id="4885" creationId="{00000000-0000-0000-0000-000000000000}"/>
          </ac:picMkLst>
        </pc:picChg>
        <pc:picChg chg="del">
          <ac:chgData name="Fivestarly Lathong [Chillibreeze]" userId="479dc9aa-69ea-4a23-b6ea-3a9d26ac15ab" providerId="ADAL" clId="{013ED13C-6829-4378-A6EF-2B6A713739E1}" dt="2024-06-12T14:39:53.219" v="1853" actId="478"/>
          <ac:picMkLst>
            <pc:docMk/>
            <pc:sldMk cId="0" sldId="303"/>
            <ac:picMk id="4886" creationId="{00000000-0000-0000-0000-000000000000}"/>
          </ac:picMkLst>
        </pc:picChg>
        <pc:picChg chg="del">
          <ac:chgData name="Fivestarly Lathong [Chillibreeze]" userId="479dc9aa-69ea-4a23-b6ea-3a9d26ac15ab" providerId="ADAL" clId="{013ED13C-6829-4378-A6EF-2B6A713739E1}" dt="2024-06-12T14:39:53.219" v="1853" actId="478"/>
          <ac:picMkLst>
            <pc:docMk/>
            <pc:sldMk cId="0" sldId="303"/>
            <ac:picMk id="4887" creationId="{00000000-0000-0000-0000-000000000000}"/>
          </ac:picMkLst>
        </pc:picChg>
        <pc:picChg chg="del">
          <ac:chgData name="Fivestarly Lathong [Chillibreeze]" userId="479dc9aa-69ea-4a23-b6ea-3a9d26ac15ab" providerId="ADAL" clId="{013ED13C-6829-4378-A6EF-2B6A713739E1}" dt="2024-06-12T14:39:53.219" v="1853" actId="478"/>
          <ac:picMkLst>
            <pc:docMk/>
            <pc:sldMk cId="0" sldId="303"/>
            <ac:picMk id="4895" creationId="{00000000-0000-0000-0000-000000000000}"/>
          </ac:picMkLst>
        </pc:picChg>
        <pc:picChg chg="del">
          <ac:chgData name="Fivestarly Lathong [Chillibreeze]" userId="479dc9aa-69ea-4a23-b6ea-3a9d26ac15ab" providerId="ADAL" clId="{013ED13C-6829-4378-A6EF-2B6A713739E1}" dt="2024-06-12T14:39:53.219" v="1853" actId="478"/>
          <ac:picMkLst>
            <pc:docMk/>
            <pc:sldMk cId="0" sldId="303"/>
            <ac:picMk id="4896" creationId="{00000000-0000-0000-0000-000000000000}"/>
          </ac:picMkLst>
        </pc:picChg>
        <pc:cxnChg chg="add mod ord">
          <ac:chgData name="Fivestarly Lathong [Chillibreeze]" userId="479dc9aa-69ea-4a23-b6ea-3a9d26ac15ab" providerId="ADAL" clId="{013ED13C-6829-4378-A6EF-2B6A713739E1}" dt="2024-06-12T14:39:57.496" v="1856" actId="167"/>
          <ac:cxnSpMkLst>
            <pc:docMk/>
            <pc:sldMk cId="0" sldId="303"/>
            <ac:cxnSpMk id="13" creationId="{32583AD9-2ECC-9234-D057-0C8D54995AFA}"/>
          </ac:cxnSpMkLst>
        </pc:cxnChg>
        <pc:cxnChg chg="add mod ord">
          <ac:chgData name="Fivestarly Lathong [Chillibreeze]" userId="479dc9aa-69ea-4a23-b6ea-3a9d26ac15ab" providerId="ADAL" clId="{013ED13C-6829-4378-A6EF-2B6A713739E1}" dt="2024-06-12T14:39:57.496" v="1856" actId="167"/>
          <ac:cxnSpMkLst>
            <pc:docMk/>
            <pc:sldMk cId="0" sldId="303"/>
            <ac:cxnSpMk id="14" creationId="{FE3A21FA-8724-DFB0-4BDD-7CBB67BC0E24}"/>
          </ac:cxnSpMkLst>
        </pc:cxnChg>
      </pc:sldChg>
      <pc:sldChg chg="addSp delSp modSp mod setBg chgLayout">
        <pc:chgData name="Fivestarly Lathong [Chillibreeze]" userId="479dc9aa-69ea-4a23-b6ea-3a9d26ac15ab" providerId="ADAL" clId="{013ED13C-6829-4378-A6EF-2B6A713739E1}" dt="2024-06-12T15:02:54.629" v="2370" actId="21"/>
        <pc:sldMkLst>
          <pc:docMk/>
          <pc:sldMk cId="0" sldId="304"/>
        </pc:sldMkLst>
        <pc:spChg chg="del">
          <ac:chgData name="Fivestarly Lathong [Chillibreeze]" userId="479dc9aa-69ea-4a23-b6ea-3a9d26ac15ab" providerId="ADAL" clId="{013ED13C-6829-4378-A6EF-2B6A713739E1}" dt="2024-06-12T14:41:32.824" v="1898" actId="478"/>
          <ac:spMkLst>
            <pc:docMk/>
            <pc:sldMk cId="0" sldId="304"/>
            <ac:spMk id="2" creationId="{5F08A981-2E56-A651-5E63-4CA7D3AF9022}"/>
          </ac:spMkLst>
        </pc:spChg>
        <pc:spChg chg="add mod">
          <ac:chgData name="Fivestarly Lathong [Chillibreeze]" userId="479dc9aa-69ea-4a23-b6ea-3a9d26ac15ab" providerId="ADAL" clId="{013ED13C-6829-4378-A6EF-2B6A713739E1}" dt="2024-06-12T14:41:33.585" v="1899"/>
          <ac:spMkLst>
            <pc:docMk/>
            <pc:sldMk cId="0" sldId="304"/>
            <ac:spMk id="3" creationId="{66CF7A5C-CEE8-CCCD-2273-C6F06DCB7286}"/>
          </ac:spMkLst>
        </pc:spChg>
        <pc:spChg chg="del mod">
          <ac:chgData name="Fivestarly Lathong [Chillibreeze]" userId="479dc9aa-69ea-4a23-b6ea-3a9d26ac15ab" providerId="ADAL" clId="{013ED13C-6829-4378-A6EF-2B6A713739E1}" dt="2024-06-12T14:41:32.824" v="1898" actId="478"/>
          <ac:spMkLst>
            <pc:docMk/>
            <pc:sldMk cId="0" sldId="304"/>
            <ac:spMk id="4" creationId="{025E12A1-AB4E-8DE5-BFCF-7460AD13E383}"/>
          </ac:spMkLst>
        </pc:spChg>
        <pc:spChg chg="add mod">
          <ac:chgData name="Fivestarly Lathong [Chillibreeze]" userId="479dc9aa-69ea-4a23-b6ea-3a9d26ac15ab" providerId="ADAL" clId="{013ED13C-6829-4378-A6EF-2B6A713739E1}" dt="2024-06-12T14:41:33.585" v="1899"/>
          <ac:spMkLst>
            <pc:docMk/>
            <pc:sldMk cId="0" sldId="304"/>
            <ac:spMk id="6" creationId="{DB187F76-23FE-E19A-E3FF-E25391B9163A}"/>
          </ac:spMkLst>
        </pc:spChg>
        <pc:spChg chg="mod">
          <ac:chgData name="Fivestarly Lathong [Chillibreeze]" userId="479dc9aa-69ea-4a23-b6ea-3a9d26ac15ab" providerId="ADAL" clId="{013ED13C-6829-4378-A6EF-2B6A713739E1}" dt="2024-06-12T14:41:33.585" v="1899"/>
          <ac:spMkLst>
            <pc:docMk/>
            <pc:sldMk cId="0" sldId="304"/>
            <ac:spMk id="8" creationId="{637D16C3-BEF8-7815-CDC4-23757C66DBDD}"/>
          </ac:spMkLst>
        </pc:spChg>
        <pc:spChg chg="mod">
          <ac:chgData name="Fivestarly Lathong [Chillibreeze]" userId="479dc9aa-69ea-4a23-b6ea-3a9d26ac15ab" providerId="ADAL" clId="{013ED13C-6829-4378-A6EF-2B6A713739E1}" dt="2024-06-12T14:41:33.585" v="1899"/>
          <ac:spMkLst>
            <pc:docMk/>
            <pc:sldMk cId="0" sldId="304"/>
            <ac:spMk id="9" creationId="{307ED64F-C158-07B1-5538-CC40221809E4}"/>
          </ac:spMkLst>
        </pc:spChg>
        <pc:spChg chg="mod">
          <ac:chgData name="Fivestarly Lathong [Chillibreeze]" userId="479dc9aa-69ea-4a23-b6ea-3a9d26ac15ab" providerId="ADAL" clId="{013ED13C-6829-4378-A6EF-2B6A713739E1}" dt="2024-06-12T14:41:33.585" v="1899"/>
          <ac:spMkLst>
            <pc:docMk/>
            <pc:sldMk cId="0" sldId="304"/>
            <ac:spMk id="11" creationId="{0E563A9A-5FC1-43D9-C30C-A09363A3B5BE}"/>
          </ac:spMkLst>
        </pc:spChg>
        <pc:spChg chg="mod">
          <ac:chgData name="Fivestarly Lathong [Chillibreeze]" userId="479dc9aa-69ea-4a23-b6ea-3a9d26ac15ab" providerId="ADAL" clId="{013ED13C-6829-4378-A6EF-2B6A713739E1}" dt="2024-06-12T14:41:33.585" v="1899"/>
          <ac:spMkLst>
            <pc:docMk/>
            <pc:sldMk cId="0" sldId="304"/>
            <ac:spMk id="12" creationId="{4E7B46B8-8E6A-7A74-8D84-E0A1999A2D70}"/>
          </ac:spMkLst>
        </pc:spChg>
        <pc:spChg chg="mod">
          <ac:chgData name="Fivestarly Lathong [Chillibreeze]" userId="479dc9aa-69ea-4a23-b6ea-3a9d26ac15ab" providerId="ADAL" clId="{013ED13C-6829-4378-A6EF-2B6A713739E1}" dt="2024-06-12T14:41:33.585" v="1899"/>
          <ac:spMkLst>
            <pc:docMk/>
            <pc:sldMk cId="0" sldId="304"/>
            <ac:spMk id="14" creationId="{1C4C1A5C-5F57-50D0-7596-27152699C73E}"/>
          </ac:spMkLst>
        </pc:spChg>
        <pc:spChg chg="mod">
          <ac:chgData name="Fivestarly Lathong [Chillibreeze]" userId="479dc9aa-69ea-4a23-b6ea-3a9d26ac15ab" providerId="ADAL" clId="{013ED13C-6829-4378-A6EF-2B6A713739E1}" dt="2024-06-12T14:41:33.585" v="1899"/>
          <ac:spMkLst>
            <pc:docMk/>
            <pc:sldMk cId="0" sldId="304"/>
            <ac:spMk id="15" creationId="{0F60C806-BF0F-3073-994D-28B1E39D4375}"/>
          </ac:spMkLst>
        </pc:spChg>
        <pc:spChg chg="add del mod">
          <ac:chgData name="Fivestarly Lathong [Chillibreeze]" userId="479dc9aa-69ea-4a23-b6ea-3a9d26ac15ab" providerId="ADAL" clId="{013ED13C-6829-4378-A6EF-2B6A713739E1}" dt="2024-06-12T14:41:41.053" v="1902" actId="21"/>
          <ac:spMkLst>
            <pc:docMk/>
            <pc:sldMk cId="0" sldId="304"/>
            <ac:spMk id="16" creationId="{E4ADF481-6E83-A8B0-C301-0B2B228AC706}"/>
          </ac:spMkLst>
        </pc:spChg>
        <pc:spChg chg="add mod">
          <ac:chgData name="Fivestarly Lathong [Chillibreeze]" userId="479dc9aa-69ea-4a23-b6ea-3a9d26ac15ab" providerId="ADAL" clId="{013ED13C-6829-4378-A6EF-2B6A713739E1}" dt="2024-06-12T14:41:33.585" v="1899"/>
          <ac:spMkLst>
            <pc:docMk/>
            <pc:sldMk cId="0" sldId="304"/>
            <ac:spMk id="18" creationId="{9E5C0465-1D00-95C6-19B0-EE0E01E5D4C6}"/>
          </ac:spMkLst>
        </pc:spChg>
        <pc:spChg chg="add mod">
          <ac:chgData name="Fivestarly Lathong [Chillibreeze]" userId="479dc9aa-69ea-4a23-b6ea-3a9d26ac15ab" providerId="ADAL" clId="{013ED13C-6829-4378-A6EF-2B6A713739E1}" dt="2024-06-12T14:41:33.585" v="1899"/>
          <ac:spMkLst>
            <pc:docMk/>
            <pc:sldMk cId="0" sldId="304"/>
            <ac:spMk id="20" creationId="{46AA1033-AE4E-B081-A115-562C3CF56A93}"/>
          </ac:spMkLst>
        </pc:spChg>
        <pc:spChg chg="add mod">
          <ac:chgData name="Fivestarly Lathong [Chillibreeze]" userId="479dc9aa-69ea-4a23-b6ea-3a9d26ac15ab" providerId="ADAL" clId="{013ED13C-6829-4378-A6EF-2B6A713739E1}" dt="2024-06-12T14:42:10.764" v="1913"/>
          <ac:spMkLst>
            <pc:docMk/>
            <pc:sldMk cId="0" sldId="304"/>
            <ac:spMk id="21" creationId="{7A8F4EC7-36F6-4156-CF09-F68ED149E8CF}"/>
          </ac:spMkLst>
        </pc:spChg>
        <pc:spChg chg="add mod">
          <ac:chgData name="Fivestarly Lathong [Chillibreeze]" userId="479dc9aa-69ea-4a23-b6ea-3a9d26ac15ab" providerId="ADAL" clId="{013ED13C-6829-4378-A6EF-2B6A713739E1}" dt="2024-06-12T14:41:33.585" v="1899"/>
          <ac:spMkLst>
            <pc:docMk/>
            <pc:sldMk cId="0" sldId="304"/>
            <ac:spMk id="22" creationId="{69241AB6-9C68-10B2-3F78-4FE9BFDDFF58}"/>
          </ac:spMkLst>
        </pc:spChg>
        <pc:spChg chg="add mod">
          <ac:chgData name="Fivestarly Lathong [Chillibreeze]" userId="479dc9aa-69ea-4a23-b6ea-3a9d26ac15ab" providerId="ADAL" clId="{013ED13C-6829-4378-A6EF-2B6A713739E1}" dt="2024-06-12T14:42:21.152" v="1918"/>
          <ac:spMkLst>
            <pc:docMk/>
            <pc:sldMk cId="0" sldId="304"/>
            <ac:spMk id="23" creationId="{F2A7F282-BF21-5428-D09F-F88354FCE7E6}"/>
          </ac:spMkLst>
        </pc:spChg>
        <pc:spChg chg="add mod">
          <ac:chgData name="Fivestarly Lathong [Chillibreeze]" userId="479dc9aa-69ea-4a23-b6ea-3a9d26ac15ab" providerId="ADAL" clId="{013ED13C-6829-4378-A6EF-2B6A713739E1}" dt="2024-06-12T14:41:33.585" v="1899"/>
          <ac:spMkLst>
            <pc:docMk/>
            <pc:sldMk cId="0" sldId="304"/>
            <ac:spMk id="24" creationId="{EC5A82B7-C618-A92D-45EA-5DC781F135C2}"/>
          </ac:spMkLst>
        </pc:spChg>
        <pc:spChg chg="add mod">
          <ac:chgData name="Fivestarly Lathong [Chillibreeze]" userId="479dc9aa-69ea-4a23-b6ea-3a9d26ac15ab" providerId="ADAL" clId="{013ED13C-6829-4378-A6EF-2B6A713739E1}" dt="2024-06-12T14:42:30.001" v="1923"/>
          <ac:spMkLst>
            <pc:docMk/>
            <pc:sldMk cId="0" sldId="304"/>
            <ac:spMk id="25" creationId="{678956C4-A35F-568B-3C66-96FDCCC894B6}"/>
          </ac:spMkLst>
        </pc:spChg>
        <pc:spChg chg="add mod ord">
          <ac:chgData name="Fivestarly Lathong [Chillibreeze]" userId="479dc9aa-69ea-4a23-b6ea-3a9d26ac15ab" providerId="ADAL" clId="{013ED13C-6829-4378-A6EF-2B6A713739E1}" dt="2024-06-12T14:41:58.160" v="1908" actId="1076"/>
          <ac:spMkLst>
            <pc:docMk/>
            <pc:sldMk cId="0" sldId="304"/>
            <ac:spMk id="27" creationId="{0D0A3B77-F486-14DA-1310-793C68EF4AAA}"/>
          </ac:spMkLst>
        </pc:spChg>
        <pc:spChg chg="add del mod">
          <ac:chgData name="Fivestarly Lathong [Chillibreeze]" userId="479dc9aa-69ea-4a23-b6ea-3a9d26ac15ab" providerId="ADAL" clId="{013ED13C-6829-4378-A6EF-2B6A713739E1}" dt="2024-06-12T14:41:48.800" v="1904" actId="6264"/>
          <ac:spMkLst>
            <pc:docMk/>
            <pc:sldMk cId="0" sldId="304"/>
            <ac:spMk id="28" creationId="{684D95ED-567C-D513-A68F-646E7611F5B7}"/>
          </ac:spMkLst>
        </pc:spChg>
        <pc:spChg chg="add del mod">
          <ac:chgData name="Fivestarly Lathong [Chillibreeze]" userId="479dc9aa-69ea-4a23-b6ea-3a9d26ac15ab" providerId="ADAL" clId="{013ED13C-6829-4378-A6EF-2B6A713739E1}" dt="2024-06-12T14:41:48.996" v="1905" actId="6264"/>
          <ac:spMkLst>
            <pc:docMk/>
            <pc:sldMk cId="0" sldId="304"/>
            <ac:spMk id="29" creationId="{75119D8A-984B-36DB-3714-E4AEA866E821}"/>
          </ac:spMkLst>
        </pc:spChg>
        <pc:spChg chg="add del mod">
          <ac:chgData name="Fivestarly Lathong [Chillibreeze]" userId="479dc9aa-69ea-4a23-b6ea-3a9d26ac15ab" providerId="ADAL" clId="{013ED13C-6829-4378-A6EF-2B6A713739E1}" dt="2024-06-12T15:02:54.629" v="2370" actId="21"/>
          <ac:spMkLst>
            <pc:docMk/>
            <pc:sldMk cId="0" sldId="304"/>
            <ac:spMk id="30" creationId="{21C430E2-56E1-D5D3-3337-FEFEAEA118B9}"/>
          </ac:spMkLst>
        </pc:spChg>
        <pc:spChg chg="del">
          <ac:chgData name="Fivestarly Lathong [Chillibreeze]" userId="479dc9aa-69ea-4a23-b6ea-3a9d26ac15ab" providerId="ADAL" clId="{013ED13C-6829-4378-A6EF-2B6A713739E1}" dt="2024-06-12T14:41:32.824" v="1898" actId="478"/>
          <ac:spMkLst>
            <pc:docMk/>
            <pc:sldMk cId="0" sldId="304"/>
            <ac:spMk id="4903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1:32.824" v="1898" actId="478"/>
          <ac:spMkLst>
            <pc:docMk/>
            <pc:sldMk cId="0" sldId="304"/>
            <ac:spMk id="4904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1:32.824" v="1898" actId="478"/>
          <ac:spMkLst>
            <pc:docMk/>
            <pc:sldMk cId="0" sldId="304"/>
            <ac:spMk id="4905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1:32.824" v="1898" actId="478"/>
          <ac:spMkLst>
            <pc:docMk/>
            <pc:sldMk cId="0" sldId="304"/>
            <ac:spMk id="4907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1:32.824" v="1898" actId="478"/>
          <ac:spMkLst>
            <pc:docMk/>
            <pc:sldMk cId="0" sldId="304"/>
            <ac:spMk id="4908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1:32.824" v="1898" actId="478"/>
          <ac:spMkLst>
            <pc:docMk/>
            <pc:sldMk cId="0" sldId="304"/>
            <ac:spMk id="4909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1:32.824" v="1898" actId="478"/>
          <ac:spMkLst>
            <pc:docMk/>
            <pc:sldMk cId="0" sldId="304"/>
            <ac:spMk id="4929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1:32.824" v="1898" actId="478"/>
          <ac:spMkLst>
            <pc:docMk/>
            <pc:sldMk cId="0" sldId="304"/>
            <ac:spMk id="4930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1:32.824" v="1898" actId="478"/>
          <ac:spMkLst>
            <pc:docMk/>
            <pc:sldMk cId="0" sldId="304"/>
            <ac:spMk id="4931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1:32.824" v="1898" actId="478"/>
          <ac:spMkLst>
            <pc:docMk/>
            <pc:sldMk cId="0" sldId="304"/>
            <ac:spMk id="4932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1:32.824" v="1898" actId="478"/>
          <ac:spMkLst>
            <pc:docMk/>
            <pc:sldMk cId="0" sldId="304"/>
            <ac:spMk id="4933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1:32.824" v="1898" actId="478"/>
          <ac:spMkLst>
            <pc:docMk/>
            <pc:sldMk cId="0" sldId="304"/>
            <ac:spMk id="4934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1:32.824" v="1898" actId="478"/>
          <ac:spMkLst>
            <pc:docMk/>
            <pc:sldMk cId="0" sldId="304"/>
            <ac:spMk id="4935" creationId="{00000000-0000-0000-0000-000000000000}"/>
          </ac:spMkLst>
        </pc:spChg>
        <pc:grpChg chg="add mod">
          <ac:chgData name="Fivestarly Lathong [Chillibreeze]" userId="479dc9aa-69ea-4a23-b6ea-3a9d26ac15ab" providerId="ADAL" clId="{013ED13C-6829-4378-A6EF-2B6A713739E1}" dt="2024-06-12T14:41:33.585" v="1899"/>
          <ac:grpSpMkLst>
            <pc:docMk/>
            <pc:sldMk cId="0" sldId="304"/>
            <ac:grpSpMk id="7" creationId="{6B123B9B-FB89-C5C7-34B6-553BE4517588}"/>
          </ac:grpSpMkLst>
        </pc:grpChg>
        <pc:grpChg chg="add mod">
          <ac:chgData name="Fivestarly Lathong [Chillibreeze]" userId="479dc9aa-69ea-4a23-b6ea-3a9d26ac15ab" providerId="ADAL" clId="{013ED13C-6829-4378-A6EF-2B6A713739E1}" dt="2024-06-12T14:41:33.585" v="1899"/>
          <ac:grpSpMkLst>
            <pc:docMk/>
            <pc:sldMk cId="0" sldId="304"/>
            <ac:grpSpMk id="10" creationId="{8F350C43-9F48-7CE7-A01E-CE091E13F080}"/>
          </ac:grpSpMkLst>
        </pc:grpChg>
        <pc:grpChg chg="add mod">
          <ac:chgData name="Fivestarly Lathong [Chillibreeze]" userId="479dc9aa-69ea-4a23-b6ea-3a9d26ac15ab" providerId="ADAL" clId="{013ED13C-6829-4378-A6EF-2B6A713739E1}" dt="2024-06-12T14:41:33.585" v="1899"/>
          <ac:grpSpMkLst>
            <pc:docMk/>
            <pc:sldMk cId="0" sldId="304"/>
            <ac:grpSpMk id="13" creationId="{9D9D7835-7B43-1894-F9B6-E36CC6BD0AA5}"/>
          </ac:grpSpMkLst>
        </pc:grpChg>
        <pc:grpChg chg="del">
          <ac:chgData name="Fivestarly Lathong [Chillibreeze]" userId="479dc9aa-69ea-4a23-b6ea-3a9d26ac15ab" providerId="ADAL" clId="{013ED13C-6829-4378-A6EF-2B6A713739E1}" dt="2024-06-12T14:41:32.824" v="1898" actId="478"/>
          <ac:grpSpMkLst>
            <pc:docMk/>
            <pc:sldMk cId="0" sldId="304"/>
            <ac:grpSpMk id="4910" creationId="{00000000-0000-0000-0000-000000000000}"/>
          </ac:grpSpMkLst>
        </pc:grpChg>
        <pc:picChg chg="add mod">
          <ac:chgData name="Fivestarly Lathong [Chillibreeze]" userId="479dc9aa-69ea-4a23-b6ea-3a9d26ac15ab" providerId="ADAL" clId="{013ED13C-6829-4378-A6EF-2B6A713739E1}" dt="2024-06-12T14:41:33.585" v="1899"/>
          <ac:picMkLst>
            <pc:docMk/>
            <pc:sldMk cId="0" sldId="304"/>
            <ac:picMk id="17" creationId="{D08C4415-6FEC-9A9D-9786-F053882BB183}"/>
          </ac:picMkLst>
        </pc:picChg>
        <pc:picChg chg="add mod">
          <ac:chgData name="Fivestarly Lathong [Chillibreeze]" userId="479dc9aa-69ea-4a23-b6ea-3a9d26ac15ab" providerId="ADAL" clId="{013ED13C-6829-4378-A6EF-2B6A713739E1}" dt="2024-06-12T14:41:33.585" v="1899"/>
          <ac:picMkLst>
            <pc:docMk/>
            <pc:sldMk cId="0" sldId="304"/>
            <ac:picMk id="19" creationId="{10BE8F57-8C9F-66CA-A058-87F07D908CFB}"/>
          </ac:picMkLst>
        </pc:picChg>
        <pc:picChg chg="del">
          <ac:chgData name="Fivestarly Lathong [Chillibreeze]" userId="479dc9aa-69ea-4a23-b6ea-3a9d26ac15ab" providerId="ADAL" clId="{013ED13C-6829-4378-A6EF-2B6A713739E1}" dt="2024-06-12T14:41:32.824" v="1898" actId="478"/>
          <ac:picMkLst>
            <pc:docMk/>
            <pc:sldMk cId="0" sldId="304"/>
            <ac:picMk id="4906" creationId="{00000000-0000-0000-0000-000000000000}"/>
          </ac:picMkLst>
        </pc:picChg>
        <pc:cxnChg chg="add mod">
          <ac:chgData name="Fivestarly Lathong [Chillibreeze]" userId="479dc9aa-69ea-4a23-b6ea-3a9d26ac15ab" providerId="ADAL" clId="{013ED13C-6829-4378-A6EF-2B6A713739E1}" dt="2024-06-12T14:41:33.585" v="1899"/>
          <ac:cxnSpMkLst>
            <pc:docMk/>
            <pc:sldMk cId="0" sldId="304"/>
            <ac:cxnSpMk id="5" creationId="{7968CCD5-C00D-240E-77FC-0B59D836BDF3}"/>
          </ac:cxnSpMkLst>
        </pc:cxnChg>
      </pc:sldChg>
      <pc:sldChg chg="addSp delSp modSp mod setBg modClrScheme chgLayout">
        <pc:chgData name="Fivestarly Lathong [Chillibreeze]" userId="479dc9aa-69ea-4a23-b6ea-3a9d26ac15ab" providerId="ADAL" clId="{013ED13C-6829-4378-A6EF-2B6A713739E1}" dt="2024-06-12T14:43:21.711" v="1934" actId="21"/>
        <pc:sldMkLst>
          <pc:docMk/>
          <pc:sldMk cId="0" sldId="305"/>
        </pc:sldMkLst>
        <pc:spChg chg="del mod ord">
          <ac:chgData name="Fivestarly Lathong [Chillibreeze]" userId="479dc9aa-69ea-4a23-b6ea-3a9d26ac15ab" providerId="ADAL" clId="{013ED13C-6829-4378-A6EF-2B6A713739E1}" dt="2024-06-12T14:43:08.946" v="1927" actId="700"/>
          <ac:spMkLst>
            <pc:docMk/>
            <pc:sldMk cId="0" sldId="305"/>
            <ac:spMk id="2" creationId="{795BF3BF-08E3-19C9-BA1C-2EA5B5DA327F}"/>
          </ac:spMkLst>
        </pc:spChg>
        <pc:spChg chg="add del">
          <ac:chgData name="Fivestarly Lathong [Chillibreeze]" userId="479dc9aa-69ea-4a23-b6ea-3a9d26ac15ab" providerId="ADAL" clId="{013ED13C-6829-4378-A6EF-2B6A713739E1}" dt="2024-06-12T14:43:00.546" v="1926" actId="21"/>
          <ac:spMkLst>
            <pc:docMk/>
            <pc:sldMk cId="0" sldId="305"/>
            <ac:spMk id="3" creationId="{79F7FFC5-B595-FA26-53C4-E1DCD2122F81}"/>
          </ac:spMkLst>
        </pc:spChg>
        <pc:spChg chg="add mod ord">
          <ac:chgData name="Fivestarly Lathong [Chillibreeze]" userId="479dc9aa-69ea-4a23-b6ea-3a9d26ac15ab" providerId="ADAL" clId="{013ED13C-6829-4378-A6EF-2B6A713739E1}" dt="2024-06-12T14:43:20.288" v="1933" actId="6264"/>
          <ac:spMkLst>
            <pc:docMk/>
            <pc:sldMk cId="0" sldId="305"/>
            <ac:spMk id="4" creationId="{A01266B8-A982-7D5E-31E4-DA737FF96414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43:20.100" v="1932" actId="6264"/>
          <ac:spMkLst>
            <pc:docMk/>
            <pc:sldMk cId="0" sldId="305"/>
            <ac:spMk id="5" creationId="{489B4E05-4D5E-789A-14F7-DB340D247D22}"/>
          </ac:spMkLst>
        </pc:spChg>
        <pc:spChg chg="add del mod">
          <ac:chgData name="Fivestarly Lathong [Chillibreeze]" userId="479dc9aa-69ea-4a23-b6ea-3a9d26ac15ab" providerId="ADAL" clId="{013ED13C-6829-4378-A6EF-2B6A713739E1}" dt="2024-06-12T14:43:20.100" v="1932" actId="6264"/>
          <ac:spMkLst>
            <pc:docMk/>
            <pc:sldMk cId="0" sldId="305"/>
            <ac:spMk id="6" creationId="{DC9C1302-16B8-7F9C-610B-6D44EB4B23B5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43:20.288" v="1933" actId="6264"/>
          <ac:spMkLst>
            <pc:docMk/>
            <pc:sldMk cId="0" sldId="305"/>
            <ac:spMk id="7" creationId="{C734A36D-99AE-8A62-A119-FED3EBDC547F}"/>
          </ac:spMkLst>
        </pc:spChg>
        <pc:spChg chg="add del mod">
          <ac:chgData name="Fivestarly Lathong [Chillibreeze]" userId="479dc9aa-69ea-4a23-b6ea-3a9d26ac15ab" providerId="ADAL" clId="{013ED13C-6829-4378-A6EF-2B6A713739E1}" dt="2024-06-12T14:43:20.288" v="1933" actId="6264"/>
          <ac:spMkLst>
            <pc:docMk/>
            <pc:sldMk cId="0" sldId="305"/>
            <ac:spMk id="8" creationId="{39EEDB2A-C120-041B-09C3-010FAE3A63F0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43:21.711" v="1934" actId="21"/>
          <ac:spMkLst>
            <pc:docMk/>
            <pc:sldMk cId="0" sldId="305"/>
            <ac:spMk id="9" creationId="{2CE24E93-FE2B-9FF9-FA8F-12527FEB139A}"/>
          </ac:spMkLst>
        </pc:spChg>
        <pc:spChg chg="del">
          <ac:chgData name="Fivestarly Lathong [Chillibreeze]" userId="479dc9aa-69ea-4a23-b6ea-3a9d26ac15ab" providerId="ADAL" clId="{013ED13C-6829-4378-A6EF-2B6A713739E1}" dt="2024-06-12T14:43:19.120" v="1931" actId="21"/>
          <ac:spMkLst>
            <pc:docMk/>
            <pc:sldMk cId="0" sldId="305"/>
            <ac:spMk id="4940" creationId="{00000000-0000-0000-0000-000000000000}"/>
          </ac:spMkLst>
        </pc:spChg>
      </pc:sldChg>
      <pc:sldChg chg="addSp delSp modSp mod setBg modClrScheme delAnim modAnim chgLayout">
        <pc:chgData name="Fivestarly Lathong [Chillibreeze]" userId="479dc9aa-69ea-4a23-b6ea-3a9d26ac15ab" providerId="ADAL" clId="{013ED13C-6829-4378-A6EF-2B6A713739E1}" dt="2024-06-12T14:44:13.710" v="1967" actId="21"/>
        <pc:sldMkLst>
          <pc:docMk/>
          <pc:sldMk cId="0" sldId="306"/>
        </pc:sldMkLst>
        <pc:spChg chg="del">
          <ac:chgData name="Fivestarly Lathong [Chillibreeze]" userId="479dc9aa-69ea-4a23-b6ea-3a9d26ac15ab" providerId="ADAL" clId="{013ED13C-6829-4378-A6EF-2B6A713739E1}" dt="2024-06-12T14:43:49.892" v="1939" actId="700"/>
          <ac:spMkLst>
            <pc:docMk/>
            <pc:sldMk cId="0" sldId="306"/>
            <ac:spMk id="2" creationId="{BACBC4C1-3C78-C8BF-3E1D-2D1A3FE75CA3}"/>
          </ac:spMkLst>
        </pc:spChg>
        <pc:spChg chg="del mod">
          <ac:chgData name="Fivestarly Lathong [Chillibreeze]" userId="479dc9aa-69ea-4a23-b6ea-3a9d26ac15ab" providerId="ADAL" clId="{013ED13C-6829-4378-A6EF-2B6A713739E1}" dt="2024-06-12T14:43:47.558" v="1938" actId="478"/>
          <ac:spMkLst>
            <pc:docMk/>
            <pc:sldMk cId="0" sldId="306"/>
            <ac:spMk id="3" creationId="{E8447D17-65AD-8698-7C00-C1DC62162070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43:51.807" v="1940" actId="700"/>
          <ac:spMkLst>
            <pc:docMk/>
            <pc:sldMk cId="0" sldId="306"/>
            <ac:spMk id="4" creationId="{5411D8F4-1A99-F26F-52BA-0765CDD7AF3F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43:53.840" v="1941" actId="700"/>
          <ac:spMkLst>
            <pc:docMk/>
            <pc:sldMk cId="0" sldId="306"/>
            <ac:spMk id="5" creationId="{860BBCF4-57B1-A484-9A5A-3E49ABB487C7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43:53.840" v="1941" actId="700"/>
          <ac:spMkLst>
            <pc:docMk/>
            <pc:sldMk cId="0" sldId="306"/>
            <ac:spMk id="6" creationId="{6D801DA8-5BBD-A0BD-9FA1-1D0700919156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44:09.007" v="1948" actId="21"/>
          <ac:spMkLst>
            <pc:docMk/>
            <pc:sldMk cId="0" sldId="306"/>
            <ac:spMk id="7" creationId="{CF9697E9-6911-4173-8D71-FE6DD88003AB}"/>
          </ac:spMkLst>
        </pc:spChg>
        <pc:spChg chg="add mod ord">
          <ac:chgData name="Fivestarly Lathong [Chillibreeze]" userId="479dc9aa-69ea-4a23-b6ea-3a9d26ac15ab" providerId="ADAL" clId="{013ED13C-6829-4378-A6EF-2B6A713739E1}" dt="2024-06-12T14:44:07.282" v="1947" actId="167"/>
          <ac:spMkLst>
            <pc:docMk/>
            <pc:sldMk cId="0" sldId="306"/>
            <ac:spMk id="8" creationId="{DEC5A6BB-B321-EFCC-26C5-63049C2A2EDB}"/>
          </ac:spMkLst>
        </pc:spChg>
        <pc:spChg chg="del">
          <ac:chgData name="Fivestarly Lathong [Chillibreeze]" userId="479dc9aa-69ea-4a23-b6ea-3a9d26ac15ab" providerId="ADAL" clId="{013ED13C-6829-4378-A6EF-2B6A713739E1}" dt="2024-06-12T14:43:58.536" v="1943" actId="478"/>
          <ac:spMkLst>
            <pc:docMk/>
            <pc:sldMk cId="0" sldId="306"/>
            <ac:spMk id="4945" creationId="{00000000-0000-0000-0000-000000000000}"/>
          </ac:spMkLst>
        </pc:spChg>
        <pc:picChg chg="add mod ord">
          <ac:chgData name="Fivestarly Lathong [Chillibreeze]" userId="479dc9aa-69ea-4a23-b6ea-3a9d26ac15ab" providerId="ADAL" clId="{013ED13C-6829-4378-A6EF-2B6A713739E1}" dt="2024-06-12T14:44:07.282" v="1947" actId="167"/>
          <ac:picMkLst>
            <pc:docMk/>
            <pc:sldMk cId="0" sldId="306"/>
            <ac:picMk id="9" creationId="{57B6DCBD-8710-F8F1-DD01-5952FB79132D}"/>
          </ac:picMkLst>
        </pc:picChg>
        <pc:picChg chg="add del mod ord">
          <ac:chgData name="Fivestarly Lathong [Chillibreeze]" userId="479dc9aa-69ea-4a23-b6ea-3a9d26ac15ab" providerId="ADAL" clId="{013ED13C-6829-4378-A6EF-2B6A713739E1}" dt="2024-06-12T14:44:13.710" v="1967" actId="21"/>
          <ac:picMkLst>
            <pc:docMk/>
            <pc:sldMk cId="0" sldId="306"/>
            <ac:picMk id="10" creationId="{109B9B19-0DC2-6A57-2824-0FED687E01CA}"/>
          </ac:picMkLst>
        </pc:picChg>
        <pc:picChg chg="mod ord">
          <ac:chgData name="Fivestarly Lathong [Chillibreeze]" userId="479dc9aa-69ea-4a23-b6ea-3a9d26ac15ab" providerId="ADAL" clId="{013ED13C-6829-4378-A6EF-2B6A713739E1}" dt="2024-06-12T14:44:12.683" v="1966"/>
          <ac:picMkLst>
            <pc:docMk/>
            <pc:sldMk cId="0" sldId="306"/>
            <ac:picMk id="4946" creationId="{00000000-0000-0000-0000-000000000000}"/>
          </ac:picMkLst>
        </pc:picChg>
      </pc:sldChg>
      <pc:sldChg chg="addSp delSp modSp mod setBg modClrScheme delAnim modAnim chgLayout">
        <pc:chgData name="Fivestarly Lathong [Chillibreeze]" userId="479dc9aa-69ea-4a23-b6ea-3a9d26ac15ab" providerId="ADAL" clId="{013ED13C-6829-4378-A6EF-2B6A713739E1}" dt="2024-06-12T14:44:39.367" v="2005" actId="21"/>
        <pc:sldMkLst>
          <pc:docMk/>
          <pc:sldMk cId="0" sldId="307"/>
        </pc:sldMkLst>
        <pc:spChg chg="del">
          <ac:chgData name="Fivestarly Lathong [Chillibreeze]" userId="479dc9aa-69ea-4a23-b6ea-3a9d26ac15ab" providerId="ADAL" clId="{013ED13C-6829-4378-A6EF-2B6A713739E1}" dt="2024-06-12T14:44:34.458" v="2002" actId="21"/>
          <ac:spMkLst>
            <pc:docMk/>
            <pc:sldMk cId="0" sldId="307"/>
            <ac:spMk id="2" creationId="{703891DE-8F02-0C47-D130-BD9083DC851D}"/>
          </ac:spMkLst>
        </pc:spChg>
        <pc:spChg chg="del mod">
          <ac:chgData name="Fivestarly Lathong [Chillibreeze]" userId="479dc9aa-69ea-4a23-b6ea-3a9d26ac15ab" providerId="ADAL" clId="{013ED13C-6829-4378-A6EF-2B6A713739E1}" dt="2024-06-12T14:44:39.367" v="2005" actId="21"/>
          <ac:spMkLst>
            <pc:docMk/>
            <pc:sldMk cId="0" sldId="307"/>
            <ac:spMk id="3" creationId="{BFDD05F8-C43B-3328-C221-187A6EF68793}"/>
          </ac:spMkLst>
        </pc:spChg>
        <pc:spChg chg="add mod">
          <ac:chgData name="Fivestarly Lathong [Chillibreeze]" userId="479dc9aa-69ea-4a23-b6ea-3a9d26ac15ab" providerId="ADAL" clId="{013ED13C-6829-4378-A6EF-2B6A713739E1}" dt="2024-06-12T14:44:29.558" v="1975"/>
          <ac:spMkLst>
            <pc:docMk/>
            <pc:sldMk cId="0" sldId="307"/>
            <ac:spMk id="4" creationId="{4E32EB0A-43C4-EC72-975A-6793FD380384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44:38.124" v="2004" actId="21"/>
          <ac:spMkLst>
            <pc:docMk/>
            <pc:sldMk cId="0" sldId="307"/>
            <ac:spMk id="7" creationId="{AC0A7016-198B-8AFE-B5EE-983F1902D503}"/>
          </ac:spMkLst>
        </pc:spChg>
        <pc:spChg chg="del">
          <ac:chgData name="Fivestarly Lathong [Chillibreeze]" userId="479dc9aa-69ea-4a23-b6ea-3a9d26ac15ab" providerId="ADAL" clId="{013ED13C-6829-4378-A6EF-2B6A713739E1}" dt="2024-06-12T14:44:21.703" v="1972" actId="21"/>
          <ac:spMkLst>
            <pc:docMk/>
            <pc:sldMk cId="0" sldId="307"/>
            <ac:spMk id="4951" creationId="{00000000-0000-0000-0000-000000000000}"/>
          </ac:spMkLst>
        </pc:spChg>
        <pc:picChg chg="add mod">
          <ac:chgData name="Fivestarly Lathong [Chillibreeze]" userId="479dc9aa-69ea-4a23-b6ea-3a9d26ac15ab" providerId="ADAL" clId="{013ED13C-6829-4378-A6EF-2B6A713739E1}" dt="2024-06-12T14:44:29.558" v="1975"/>
          <ac:picMkLst>
            <pc:docMk/>
            <pc:sldMk cId="0" sldId="307"/>
            <ac:picMk id="5" creationId="{6C61D899-420E-0C5A-07E5-9DDEF4ACA061}"/>
          </ac:picMkLst>
        </pc:picChg>
        <pc:picChg chg="add del mod ord">
          <ac:chgData name="Fivestarly Lathong [Chillibreeze]" userId="479dc9aa-69ea-4a23-b6ea-3a9d26ac15ab" providerId="ADAL" clId="{013ED13C-6829-4378-A6EF-2B6A713739E1}" dt="2024-06-12T14:44:39.367" v="2005" actId="21"/>
          <ac:picMkLst>
            <pc:docMk/>
            <pc:sldMk cId="0" sldId="307"/>
            <ac:picMk id="6" creationId="{C8EC454D-030D-84F9-3326-E15938C3A3B5}"/>
          </ac:picMkLst>
        </pc:picChg>
        <pc:picChg chg="mod ord">
          <ac:chgData name="Fivestarly Lathong [Chillibreeze]" userId="479dc9aa-69ea-4a23-b6ea-3a9d26ac15ab" providerId="ADAL" clId="{013ED13C-6829-4378-A6EF-2B6A713739E1}" dt="2024-06-12T14:44:32.781" v="1989"/>
          <ac:picMkLst>
            <pc:docMk/>
            <pc:sldMk cId="0" sldId="307"/>
            <ac:picMk id="4952" creationId="{00000000-0000-0000-0000-000000000000}"/>
          </ac:picMkLst>
        </pc:picChg>
      </pc:sldChg>
      <pc:sldChg chg="addSp delSp modSp mod setBg modClrScheme chgLayout">
        <pc:chgData name="Fivestarly Lathong [Chillibreeze]" userId="479dc9aa-69ea-4a23-b6ea-3a9d26ac15ab" providerId="ADAL" clId="{013ED13C-6829-4378-A6EF-2B6A713739E1}" dt="2024-06-12T14:47:19.123" v="2065"/>
        <pc:sldMkLst>
          <pc:docMk/>
          <pc:sldMk cId="0" sldId="308"/>
        </pc:sldMkLst>
        <pc:spChg chg="del mod">
          <ac:chgData name="Fivestarly Lathong [Chillibreeze]" userId="479dc9aa-69ea-4a23-b6ea-3a9d26ac15ab" providerId="ADAL" clId="{013ED13C-6829-4378-A6EF-2B6A713739E1}" dt="2024-06-12T14:44:44.599" v="2007" actId="21"/>
          <ac:spMkLst>
            <pc:docMk/>
            <pc:sldMk cId="0" sldId="308"/>
            <ac:spMk id="2" creationId="{4CBCDE69-7C35-5D22-7585-101401316F21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45:16.062" v="2011" actId="700"/>
          <ac:spMkLst>
            <pc:docMk/>
            <pc:sldMk cId="0" sldId="308"/>
            <ac:spMk id="4" creationId="{7FDBE20A-9BD4-5C38-D2C1-B33833418AB2}"/>
          </ac:spMkLst>
        </pc:spChg>
        <pc:spChg chg="add mod ord">
          <ac:chgData name="Fivestarly Lathong [Chillibreeze]" userId="479dc9aa-69ea-4a23-b6ea-3a9d26ac15ab" providerId="ADAL" clId="{013ED13C-6829-4378-A6EF-2B6A713739E1}" dt="2024-06-12T14:45:34.748" v="2014" actId="1076"/>
          <ac:spMkLst>
            <pc:docMk/>
            <pc:sldMk cId="0" sldId="308"/>
            <ac:spMk id="5" creationId="{8DC3D442-634E-9BA9-CCC2-6CDD2DBFF75B}"/>
          </ac:spMkLst>
        </pc:spChg>
        <pc:spChg chg="add mod ord">
          <ac:chgData name="Fivestarly Lathong [Chillibreeze]" userId="479dc9aa-69ea-4a23-b6ea-3a9d26ac15ab" providerId="ADAL" clId="{013ED13C-6829-4378-A6EF-2B6A713739E1}" dt="2024-06-12T14:45:34.748" v="2014" actId="1076"/>
          <ac:spMkLst>
            <pc:docMk/>
            <pc:sldMk cId="0" sldId="308"/>
            <ac:spMk id="6" creationId="{1CC0D6F1-E7EE-3E1E-BA7F-0778470070B2}"/>
          </ac:spMkLst>
        </pc:spChg>
        <pc:spChg chg="add mod ord">
          <ac:chgData name="Fivestarly Lathong [Chillibreeze]" userId="479dc9aa-69ea-4a23-b6ea-3a9d26ac15ab" providerId="ADAL" clId="{013ED13C-6829-4378-A6EF-2B6A713739E1}" dt="2024-06-12T14:45:34.748" v="2014" actId="1076"/>
          <ac:spMkLst>
            <pc:docMk/>
            <pc:sldMk cId="0" sldId="308"/>
            <ac:spMk id="7" creationId="{34DC39A6-19C8-2E37-B217-3C4FD7558ED2}"/>
          </ac:spMkLst>
        </pc:spChg>
        <pc:spChg chg="mod">
          <ac:chgData name="Fivestarly Lathong [Chillibreeze]" userId="479dc9aa-69ea-4a23-b6ea-3a9d26ac15ab" providerId="ADAL" clId="{013ED13C-6829-4378-A6EF-2B6A713739E1}" dt="2024-06-12T14:45:12.400" v="2010"/>
          <ac:spMkLst>
            <pc:docMk/>
            <pc:sldMk cId="0" sldId="308"/>
            <ac:spMk id="9" creationId="{D479ACF1-5758-C48A-918A-D4495457042F}"/>
          </ac:spMkLst>
        </pc:spChg>
        <pc:spChg chg="mod">
          <ac:chgData name="Fivestarly Lathong [Chillibreeze]" userId="479dc9aa-69ea-4a23-b6ea-3a9d26ac15ab" providerId="ADAL" clId="{013ED13C-6829-4378-A6EF-2B6A713739E1}" dt="2024-06-12T14:45:12.400" v="2010"/>
          <ac:spMkLst>
            <pc:docMk/>
            <pc:sldMk cId="0" sldId="308"/>
            <ac:spMk id="10" creationId="{DB69CD4F-6E3A-9042-8D28-D802602093D3}"/>
          </ac:spMkLst>
        </pc:spChg>
        <pc:spChg chg="add mod ord">
          <ac:chgData name="Fivestarly Lathong [Chillibreeze]" userId="479dc9aa-69ea-4a23-b6ea-3a9d26ac15ab" providerId="ADAL" clId="{013ED13C-6829-4378-A6EF-2B6A713739E1}" dt="2024-06-12T14:46:16.340" v="2049" actId="12789"/>
          <ac:spMkLst>
            <pc:docMk/>
            <pc:sldMk cId="0" sldId="308"/>
            <ac:spMk id="11" creationId="{6CDFEE81-8E47-3AD6-7AD9-8E24A21F79E4}"/>
          </ac:spMkLst>
        </pc:spChg>
        <pc:spChg chg="mod">
          <ac:chgData name="Fivestarly Lathong [Chillibreeze]" userId="479dc9aa-69ea-4a23-b6ea-3a9d26ac15ab" providerId="ADAL" clId="{013ED13C-6829-4378-A6EF-2B6A713739E1}" dt="2024-06-12T14:45:12.400" v="2010"/>
          <ac:spMkLst>
            <pc:docMk/>
            <pc:sldMk cId="0" sldId="308"/>
            <ac:spMk id="13" creationId="{C1156D3A-8714-4E1A-659C-B16752ABC12E}"/>
          </ac:spMkLst>
        </pc:spChg>
        <pc:spChg chg="mod">
          <ac:chgData name="Fivestarly Lathong [Chillibreeze]" userId="479dc9aa-69ea-4a23-b6ea-3a9d26ac15ab" providerId="ADAL" clId="{013ED13C-6829-4378-A6EF-2B6A713739E1}" dt="2024-06-12T14:45:12.400" v="2010"/>
          <ac:spMkLst>
            <pc:docMk/>
            <pc:sldMk cId="0" sldId="308"/>
            <ac:spMk id="14" creationId="{A185EB68-6828-33D0-8F94-3B2B3987FBFF}"/>
          </ac:spMkLst>
        </pc:spChg>
        <pc:spChg chg="mod">
          <ac:chgData name="Fivestarly Lathong [Chillibreeze]" userId="479dc9aa-69ea-4a23-b6ea-3a9d26ac15ab" providerId="ADAL" clId="{013ED13C-6829-4378-A6EF-2B6A713739E1}" dt="2024-06-12T14:45:12.400" v="2010"/>
          <ac:spMkLst>
            <pc:docMk/>
            <pc:sldMk cId="0" sldId="308"/>
            <ac:spMk id="15" creationId="{F75FBD1D-DFA2-4943-0F68-ADC35880E5F5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45:55.412" v="2044" actId="21"/>
          <ac:spMkLst>
            <pc:docMk/>
            <pc:sldMk cId="0" sldId="308"/>
            <ac:spMk id="16" creationId="{C2454204-ABEE-4FEC-9682-44537446AE6F}"/>
          </ac:spMkLst>
        </pc:spChg>
        <pc:spChg chg="add mod ord">
          <ac:chgData name="Fivestarly Lathong [Chillibreeze]" userId="479dc9aa-69ea-4a23-b6ea-3a9d26ac15ab" providerId="ADAL" clId="{013ED13C-6829-4378-A6EF-2B6A713739E1}" dt="2024-06-12T14:45:34.748" v="2014" actId="1076"/>
          <ac:spMkLst>
            <pc:docMk/>
            <pc:sldMk cId="0" sldId="308"/>
            <ac:spMk id="17" creationId="{78E4453A-1DD9-1C9E-28C5-38C124B609A7}"/>
          </ac:spMkLst>
        </pc:spChg>
        <pc:spChg chg="add mod ord">
          <ac:chgData name="Fivestarly Lathong [Chillibreeze]" userId="479dc9aa-69ea-4a23-b6ea-3a9d26ac15ab" providerId="ADAL" clId="{013ED13C-6829-4378-A6EF-2B6A713739E1}" dt="2024-06-12T14:46:42.963" v="2059" actId="404"/>
          <ac:spMkLst>
            <pc:docMk/>
            <pc:sldMk cId="0" sldId="308"/>
            <ac:spMk id="18" creationId="{F96A20DE-E07B-C695-7B3B-63E44516DDFF}"/>
          </ac:spMkLst>
        </pc:spChg>
        <pc:spChg chg="add mod ord">
          <ac:chgData name="Fivestarly Lathong [Chillibreeze]" userId="479dc9aa-69ea-4a23-b6ea-3a9d26ac15ab" providerId="ADAL" clId="{013ED13C-6829-4378-A6EF-2B6A713739E1}" dt="2024-06-12T14:47:19.123" v="2065"/>
          <ac:spMkLst>
            <pc:docMk/>
            <pc:sldMk cId="0" sldId="308"/>
            <ac:spMk id="21" creationId="{C21BA13C-84AF-3544-7EAC-051AF7ABE70A}"/>
          </ac:spMkLst>
        </pc:spChg>
        <pc:spChg chg="add del mod">
          <ac:chgData name="Fivestarly Lathong [Chillibreeze]" userId="479dc9aa-69ea-4a23-b6ea-3a9d26ac15ab" providerId="ADAL" clId="{013ED13C-6829-4378-A6EF-2B6A713739E1}" dt="2024-06-12T14:45:48.842" v="2016" actId="6264"/>
          <ac:spMkLst>
            <pc:docMk/>
            <pc:sldMk cId="0" sldId="308"/>
            <ac:spMk id="22" creationId="{FBCC24C0-9C74-115B-FFE8-79CBFB503840}"/>
          </ac:spMkLst>
        </pc:spChg>
        <pc:spChg chg="add del mod">
          <ac:chgData name="Fivestarly Lathong [Chillibreeze]" userId="479dc9aa-69ea-4a23-b6ea-3a9d26ac15ab" providerId="ADAL" clId="{013ED13C-6829-4378-A6EF-2B6A713739E1}" dt="2024-06-12T14:45:49.016" v="2017" actId="6264"/>
          <ac:spMkLst>
            <pc:docMk/>
            <pc:sldMk cId="0" sldId="308"/>
            <ac:spMk id="23" creationId="{6A59FC21-AE6B-1B2E-D039-7F1B863BE7BC}"/>
          </ac:spMkLst>
        </pc:spChg>
        <pc:spChg chg="add del mod">
          <ac:chgData name="Fivestarly Lathong [Chillibreeze]" userId="479dc9aa-69ea-4a23-b6ea-3a9d26ac15ab" providerId="ADAL" clId="{013ED13C-6829-4378-A6EF-2B6A713739E1}" dt="2024-06-12T14:46:46.696" v="2060" actId="21"/>
          <ac:spMkLst>
            <pc:docMk/>
            <pc:sldMk cId="0" sldId="308"/>
            <ac:spMk id="25" creationId="{48E1D562-22B1-9BF9-D9C5-D510B34D6786}"/>
          </ac:spMkLst>
        </pc:spChg>
        <pc:spChg chg="del">
          <ac:chgData name="Fivestarly Lathong [Chillibreeze]" userId="479dc9aa-69ea-4a23-b6ea-3a9d26ac15ab" providerId="ADAL" clId="{013ED13C-6829-4378-A6EF-2B6A713739E1}" dt="2024-06-12T14:44:44.599" v="2007" actId="21"/>
          <ac:spMkLst>
            <pc:docMk/>
            <pc:sldMk cId="0" sldId="308"/>
            <ac:spMk id="4957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4:44.599" v="2007" actId="21"/>
          <ac:spMkLst>
            <pc:docMk/>
            <pc:sldMk cId="0" sldId="308"/>
            <ac:spMk id="4958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4:44.599" v="2007" actId="21"/>
          <ac:spMkLst>
            <pc:docMk/>
            <pc:sldMk cId="0" sldId="308"/>
            <ac:spMk id="4959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4:44.599" v="2007" actId="21"/>
          <ac:spMkLst>
            <pc:docMk/>
            <pc:sldMk cId="0" sldId="308"/>
            <ac:spMk id="4960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4:44.599" v="2007" actId="21"/>
          <ac:spMkLst>
            <pc:docMk/>
            <pc:sldMk cId="0" sldId="308"/>
            <ac:spMk id="4961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4:44.599" v="2007" actId="21"/>
          <ac:spMkLst>
            <pc:docMk/>
            <pc:sldMk cId="0" sldId="308"/>
            <ac:spMk id="4962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4:44.599" v="2007" actId="21"/>
          <ac:spMkLst>
            <pc:docMk/>
            <pc:sldMk cId="0" sldId="308"/>
            <ac:spMk id="4963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4:44.599" v="2007" actId="21"/>
          <ac:spMkLst>
            <pc:docMk/>
            <pc:sldMk cId="0" sldId="308"/>
            <ac:spMk id="4964" creationId="{00000000-0000-0000-0000-000000000000}"/>
          </ac:spMkLst>
        </pc:spChg>
        <pc:grpChg chg="add mod ord">
          <ac:chgData name="Fivestarly Lathong [Chillibreeze]" userId="479dc9aa-69ea-4a23-b6ea-3a9d26ac15ab" providerId="ADAL" clId="{013ED13C-6829-4378-A6EF-2B6A713739E1}" dt="2024-06-12T14:45:34.748" v="2014" actId="1076"/>
          <ac:grpSpMkLst>
            <pc:docMk/>
            <pc:sldMk cId="0" sldId="308"/>
            <ac:grpSpMk id="8" creationId="{F314464D-7192-FF05-3C42-68531B31B139}"/>
          </ac:grpSpMkLst>
        </pc:grpChg>
        <pc:grpChg chg="add mod ord">
          <ac:chgData name="Fivestarly Lathong [Chillibreeze]" userId="479dc9aa-69ea-4a23-b6ea-3a9d26ac15ab" providerId="ADAL" clId="{013ED13C-6829-4378-A6EF-2B6A713739E1}" dt="2024-06-12T14:45:34.748" v="2014" actId="1076"/>
          <ac:grpSpMkLst>
            <pc:docMk/>
            <pc:sldMk cId="0" sldId="308"/>
            <ac:grpSpMk id="12" creationId="{6E3DE023-EB7A-8BA6-CD60-8A26BE5FC2AB}"/>
          </ac:grpSpMkLst>
        </pc:grpChg>
        <pc:picChg chg="add mod ord">
          <ac:chgData name="Fivestarly Lathong [Chillibreeze]" userId="479dc9aa-69ea-4a23-b6ea-3a9d26ac15ab" providerId="ADAL" clId="{013ED13C-6829-4378-A6EF-2B6A713739E1}" dt="2024-06-12T14:45:34.748" v="2014" actId="1076"/>
          <ac:picMkLst>
            <pc:docMk/>
            <pc:sldMk cId="0" sldId="308"/>
            <ac:picMk id="19" creationId="{E2100808-E8A8-6720-3C13-CE78BD1BCA81}"/>
          </ac:picMkLst>
        </pc:picChg>
        <pc:picChg chg="add del mod ord">
          <ac:chgData name="Fivestarly Lathong [Chillibreeze]" userId="479dc9aa-69ea-4a23-b6ea-3a9d26ac15ab" providerId="ADAL" clId="{013ED13C-6829-4378-A6EF-2B6A713739E1}" dt="2024-06-12T14:46:10.730" v="2046" actId="478"/>
          <ac:picMkLst>
            <pc:docMk/>
            <pc:sldMk cId="0" sldId="308"/>
            <ac:picMk id="20" creationId="{721176BB-EE7D-0A31-9DA0-A9B2ED66777F}"/>
          </ac:picMkLst>
        </pc:picChg>
        <pc:picChg chg="add mod">
          <ac:chgData name="Fivestarly Lathong [Chillibreeze]" userId="479dc9aa-69ea-4a23-b6ea-3a9d26ac15ab" providerId="ADAL" clId="{013ED13C-6829-4378-A6EF-2B6A713739E1}" dt="2024-06-12T14:46:16.340" v="2049" actId="12789"/>
          <ac:picMkLst>
            <pc:docMk/>
            <pc:sldMk cId="0" sldId="308"/>
            <ac:picMk id="24" creationId="{D42EECD0-DFFA-6F3E-4AEF-8923E243EEFF}"/>
          </ac:picMkLst>
        </pc:picChg>
        <pc:picChg chg="del">
          <ac:chgData name="Fivestarly Lathong [Chillibreeze]" userId="479dc9aa-69ea-4a23-b6ea-3a9d26ac15ab" providerId="ADAL" clId="{013ED13C-6829-4378-A6EF-2B6A713739E1}" dt="2024-06-12T14:44:44.599" v="2007" actId="21"/>
          <ac:picMkLst>
            <pc:docMk/>
            <pc:sldMk cId="0" sldId="308"/>
            <ac:picMk id="4965" creationId="{00000000-0000-0000-0000-000000000000}"/>
          </ac:picMkLst>
        </pc:picChg>
      </pc:sldChg>
      <pc:sldChg chg="addSp delSp modSp mod setBg modClrScheme chgLayout">
        <pc:chgData name="Fivestarly Lathong [Chillibreeze]" userId="479dc9aa-69ea-4a23-b6ea-3a9d26ac15ab" providerId="ADAL" clId="{013ED13C-6829-4378-A6EF-2B6A713739E1}" dt="2024-06-12T14:49:27.333" v="2122" actId="113"/>
        <pc:sldMkLst>
          <pc:docMk/>
          <pc:sldMk cId="0" sldId="309"/>
        </pc:sldMkLst>
        <pc:spChg chg="del">
          <ac:chgData name="Fivestarly Lathong [Chillibreeze]" userId="479dc9aa-69ea-4a23-b6ea-3a9d26ac15ab" providerId="ADAL" clId="{013ED13C-6829-4378-A6EF-2B6A713739E1}" dt="2024-06-12T14:48:09.983" v="2066" actId="478"/>
          <ac:spMkLst>
            <pc:docMk/>
            <pc:sldMk cId="0" sldId="309"/>
            <ac:spMk id="2" creationId="{7DF187F9-7DC8-119B-393B-30D39FDBD815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48:19.537" v="2072" actId="700"/>
          <ac:spMkLst>
            <pc:docMk/>
            <pc:sldMk cId="0" sldId="309"/>
            <ac:spMk id="4" creationId="{D6798B4E-BEDA-6F4E-FE87-8DF440C4BDAD}"/>
          </ac:spMkLst>
        </pc:spChg>
        <pc:spChg chg="add mod ord">
          <ac:chgData name="Fivestarly Lathong [Chillibreeze]" userId="479dc9aa-69ea-4a23-b6ea-3a9d26ac15ab" providerId="ADAL" clId="{013ED13C-6829-4378-A6EF-2B6A713739E1}" dt="2024-06-12T14:48:17.590" v="2071" actId="167"/>
          <ac:spMkLst>
            <pc:docMk/>
            <pc:sldMk cId="0" sldId="309"/>
            <ac:spMk id="5" creationId="{2F29025A-89DA-E5E5-2062-ED0C88077107}"/>
          </ac:spMkLst>
        </pc:spChg>
        <pc:spChg chg="add mod ord">
          <ac:chgData name="Fivestarly Lathong [Chillibreeze]" userId="479dc9aa-69ea-4a23-b6ea-3a9d26ac15ab" providerId="ADAL" clId="{013ED13C-6829-4378-A6EF-2B6A713739E1}" dt="2024-06-12T14:48:17.590" v="2071" actId="167"/>
          <ac:spMkLst>
            <pc:docMk/>
            <pc:sldMk cId="0" sldId="309"/>
            <ac:spMk id="6" creationId="{32E15A4C-8E1B-CE5C-4DC8-7DC345C6570A}"/>
          </ac:spMkLst>
        </pc:spChg>
        <pc:spChg chg="add mod ord">
          <ac:chgData name="Fivestarly Lathong [Chillibreeze]" userId="479dc9aa-69ea-4a23-b6ea-3a9d26ac15ab" providerId="ADAL" clId="{013ED13C-6829-4378-A6EF-2B6A713739E1}" dt="2024-06-12T14:48:17.590" v="2071" actId="167"/>
          <ac:spMkLst>
            <pc:docMk/>
            <pc:sldMk cId="0" sldId="309"/>
            <ac:spMk id="7" creationId="{0A3D973D-B04F-185F-6872-AC47F6FC77CC}"/>
          </ac:spMkLst>
        </pc:spChg>
        <pc:spChg chg="mod">
          <ac:chgData name="Fivestarly Lathong [Chillibreeze]" userId="479dc9aa-69ea-4a23-b6ea-3a9d26ac15ab" providerId="ADAL" clId="{013ED13C-6829-4378-A6EF-2B6A713739E1}" dt="2024-06-12T14:48:16.044" v="2069"/>
          <ac:spMkLst>
            <pc:docMk/>
            <pc:sldMk cId="0" sldId="309"/>
            <ac:spMk id="9" creationId="{523F8268-6DAC-E957-6B9B-5935538D5DBA}"/>
          </ac:spMkLst>
        </pc:spChg>
        <pc:spChg chg="mod">
          <ac:chgData name="Fivestarly Lathong [Chillibreeze]" userId="479dc9aa-69ea-4a23-b6ea-3a9d26ac15ab" providerId="ADAL" clId="{013ED13C-6829-4378-A6EF-2B6A713739E1}" dt="2024-06-12T14:48:16.044" v="2069"/>
          <ac:spMkLst>
            <pc:docMk/>
            <pc:sldMk cId="0" sldId="309"/>
            <ac:spMk id="10" creationId="{B866C43C-CF51-24DF-963B-966C7EB4AC0E}"/>
          </ac:spMkLst>
        </pc:spChg>
        <pc:spChg chg="add mod ord">
          <ac:chgData name="Fivestarly Lathong [Chillibreeze]" userId="479dc9aa-69ea-4a23-b6ea-3a9d26ac15ab" providerId="ADAL" clId="{013ED13C-6829-4378-A6EF-2B6A713739E1}" dt="2024-06-12T14:48:51.633" v="2111" actId="12788"/>
          <ac:spMkLst>
            <pc:docMk/>
            <pc:sldMk cId="0" sldId="309"/>
            <ac:spMk id="11" creationId="{04FB8BCA-8CB3-899C-9789-89E079A9D221}"/>
          </ac:spMkLst>
        </pc:spChg>
        <pc:spChg chg="mod">
          <ac:chgData name="Fivestarly Lathong [Chillibreeze]" userId="479dc9aa-69ea-4a23-b6ea-3a9d26ac15ab" providerId="ADAL" clId="{013ED13C-6829-4378-A6EF-2B6A713739E1}" dt="2024-06-12T14:48:16.044" v="2069"/>
          <ac:spMkLst>
            <pc:docMk/>
            <pc:sldMk cId="0" sldId="309"/>
            <ac:spMk id="13" creationId="{72029897-F227-BAE9-711F-8BEB8E4621ED}"/>
          </ac:spMkLst>
        </pc:spChg>
        <pc:spChg chg="mod">
          <ac:chgData name="Fivestarly Lathong [Chillibreeze]" userId="479dc9aa-69ea-4a23-b6ea-3a9d26ac15ab" providerId="ADAL" clId="{013ED13C-6829-4378-A6EF-2B6A713739E1}" dt="2024-06-12T14:48:16.044" v="2069"/>
          <ac:spMkLst>
            <pc:docMk/>
            <pc:sldMk cId="0" sldId="309"/>
            <ac:spMk id="14" creationId="{5EAD4CF1-5DE0-9C76-D64A-474242502784}"/>
          </ac:spMkLst>
        </pc:spChg>
        <pc:spChg chg="mod">
          <ac:chgData name="Fivestarly Lathong [Chillibreeze]" userId="479dc9aa-69ea-4a23-b6ea-3a9d26ac15ab" providerId="ADAL" clId="{013ED13C-6829-4378-A6EF-2B6A713739E1}" dt="2024-06-12T14:48:16.044" v="2069"/>
          <ac:spMkLst>
            <pc:docMk/>
            <pc:sldMk cId="0" sldId="309"/>
            <ac:spMk id="15" creationId="{0B50A2CD-E12D-AB86-A2E7-313360356EE3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48:39.922" v="2105" actId="21"/>
          <ac:spMkLst>
            <pc:docMk/>
            <pc:sldMk cId="0" sldId="309"/>
            <ac:spMk id="16" creationId="{25947854-AD1F-9EA1-E51B-74E8C94E3F56}"/>
          </ac:spMkLst>
        </pc:spChg>
        <pc:spChg chg="add mod ord">
          <ac:chgData name="Fivestarly Lathong [Chillibreeze]" userId="479dc9aa-69ea-4a23-b6ea-3a9d26ac15ab" providerId="ADAL" clId="{013ED13C-6829-4378-A6EF-2B6A713739E1}" dt="2024-06-12T14:48:17.590" v="2071" actId="167"/>
          <ac:spMkLst>
            <pc:docMk/>
            <pc:sldMk cId="0" sldId="309"/>
            <ac:spMk id="17" creationId="{F1FE3F90-8F25-002A-4F21-2C5D3D4823F3}"/>
          </ac:spMkLst>
        </pc:spChg>
        <pc:spChg chg="add mod ord">
          <ac:chgData name="Fivestarly Lathong [Chillibreeze]" userId="479dc9aa-69ea-4a23-b6ea-3a9d26ac15ab" providerId="ADAL" clId="{013ED13C-6829-4378-A6EF-2B6A713739E1}" dt="2024-06-12T14:49:27.333" v="2122" actId="113"/>
          <ac:spMkLst>
            <pc:docMk/>
            <pc:sldMk cId="0" sldId="309"/>
            <ac:spMk id="18" creationId="{EE850FB3-92C3-7D15-B00F-1F2533C7C610}"/>
          </ac:spMkLst>
        </pc:spChg>
        <pc:spChg chg="add mod ord">
          <ac:chgData name="Fivestarly Lathong [Chillibreeze]" userId="479dc9aa-69ea-4a23-b6ea-3a9d26ac15ab" providerId="ADAL" clId="{013ED13C-6829-4378-A6EF-2B6A713739E1}" dt="2024-06-12T14:48:41.620" v="2107" actId="6264"/>
          <ac:spMkLst>
            <pc:docMk/>
            <pc:sldMk cId="0" sldId="309"/>
            <ac:spMk id="21" creationId="{513269D2-123B-C2C5-299D-75A9F9E1BC85}"/>
          </ac:spMkLst>
        </pc:spChg>
        <pc:spChg chg="add del mod">
          <ac:chgData name="Fivestarly Lathong [Chillibreeze]" userId="479dc9aa-69ea-4a23-b6ea-3a9d26ac15ab" providerId="ADAL" clId="{013ED13C-6829-4378-A6EF-2B6A713739E1}" dt="2024-06-12T14:48:29.691" v="2074" actId="6264"/>
          <ac:spMkLst>
            <pc:docMk/>
            <pc:sldMk cId="0" sldId="309"/>
            <ac:spMk id="22" creationId="{65697ABE-2199-0E66-82AB-23C8AF32F22F}"/>
          </ac:spMkLst>
        </pc:spChg>
        <pc:spChg chg="add del mod">
          <ac:chgData name="Fivestarly Lathong [Chillibreeze]" userId="479dc9aa-69ea-4a23-b6ea-3a9d26ac15ab" providerId="ADAL" clId="{013ED13C-6829-4378-A6EF-2B6A713739E1}" dt="2024-06-12T14:48:29.881" v="2075" actId="6264"/>
          <ac:spMkLst>
            <pc:docMk/>
            <pc:sldMk cId="0" sldId="309"/>
            <ac:spMk id="23" creationId="{5275545E-239B-5C83-8864-1EE9F5F8F240}"/>
          </ac:spMkLst>
        </pc:spChg>
        <pc:spChg chg="add del mod">
          <ac:chgData name="Fivestarly Lathong [Chillibreeze]" userId="479dc9aa-69ea-4a23-b6ea-3a9d26ac15ab" providerId="ADAL" clId="{013ED13C-6829-4378-A6EF-2B6A713739E1}" dt="2024-06-12T14:48:30.051" v="2076" actId="6264"/>
          <ac:spMkLst>
            <pc:docMk/>
            <pc:sldMk cId="0" sldId="309"/>
            <ac:spMk id="24" creationId="{BED3D47B-14FF-180D-5F75-F8A181178F41}"/>
          </ac:spMkLst>
        </pc:spChg>
        <pc:spChg chg="add del mod">
          <ac:chgData name="Fivestarly Lathong [Chillibreeze]" userId="479dc9aa-69ea-4a23-b6ea-3a9d26ac15ab" providerId="ADAL" clId="{013ED13C-6829-4378-A6EF-2B6A713739E1}" dt="2024-06-12T14:48:41.620" v="2107" actId="6264"/>
          <ac:spMkLst>
            <pc:docMk/>
            <pc:sldMk cId="0" sldId="309"/>
            <ac:spMk id="25" creationId="{1C905859-F523-13E0-C738-3B071E02FEC5}"/>
          </ac:spMkLst>
        </pc:spChg>
        <pc:spChg chg="del">
          <ac:chgData name="Fivestarly Lathong [Chillibreeze]" userId="479dc9aa-69ea-4a23-b6ea-3a9d26ac15ab" providerId="ADAL" clId="{013ED13C-6829-4378-A6EF-2B6A713739E1}" dt="2024-06-12T14:48:09.983" v="2066" actId="478"/>
          <ac:spMkLst>
            <pc:docMk/>
            <pc:sldMk cId="0" sldId="309"/>
            <ac:spMk id="4970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8:09.983" v="2066" actId="478"/>
          <ac:spMkLst>
            <pc:docMk/>
            <pc:sldMk cId="0" sldId="309"/>
            <ac:spMk id="4971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8:09.983" v="2066" actId="478"/>
          <ac:spMkLst>
            <pc:docMk/>
            <pc:sldMk cId="0" sldId="309"/>
            <ac:spMk id="4972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8:09.983" v="2066" actId="478"/>
          <ac:spMkLst>
            <pc:docMk/>
            <pc:sldMk cId="0" sldId="309"/>
            <ac:spMk id="4973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8:09.983" v="2066" actId="478"/>
          <ac:spMkLst>
            <pc:docMk/>
            <pc:sldMk cId="0" sldId="309"/>
            <ac:spMk id="4974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8:09.983" v="2066" actId="478"/>
          <ac:spMkLst>
            <pc:docMk/>
            <pc:sldMk cId="0" sldId="309"/>
            <ac:spMk id="4975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8:09.983" v="2066" actId="478"/>
          <ac:spMkLst>
            <pc:docMk/>
            <pc:sldMk cId="0" sldId="309"/>
            <ac:spMk id="4976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8:09.983" v="2066" actId="478"/>
          <ac:spMkLst>
            <pc:docMk/>
            <pc:sldMk cId="0" sldId="309"/>
            <ac:spMk id="4977" creationId="{00000000-0000-0000-0000-000000000000}"/>
          </ac:spMkLst>
        </pc:spChg>
        <pc:grpChg chg="add mod ord">
          <ac:chgData name="Fivestarly Lathong [Chillibreeze]" userId="479dc9aa-69ea-4a23-b6ea-3a9d26ac15ab" providerId="ADAL" clId="{013ED13C-6829-4378-A6EF-2B6A713739E1}" dt="2024-06-12T14:48:17.590" v="2071" actId="167"/>
          <ac:grpSpMkLst>
            <pc:docMk/>
            <pc:sldMk cId="0" sldId="309"/>
            <ac:grpSpMk id="8" creationId="{1BBEBD5B-4522-DB04-5FC1-CB2D3F0D2322}"/>
          </ac:grpSpMkLst>
        </pc:grpChg>
        <pc:grpChg chg="add mod ord">
          <ac:chgData name="Fivestarly Lathong [Chillibreeze]" userId="479dc9aa-69ea-4a23-b6ea-3a9d26ac15ab" providerId="ADAL" clId="{013ED13C-6829-4378-A6EF-2B6A713739E1}" dt="2024-06-12T14:48:17.590" v="2071" actId="167"/>
          <ac:grpSpMkLst>
            <pc:docMk/>
            <pc:sldMk cId="0" sldId="309"/>
            <ac:grpSpMk id="12" creationId="{63ABA096-9E23-6C8D-60F0-CD4592F6298B}"/>
          </ac:grpSpMkLst>
        </pc:grpChg>
        <pc:picChg chg="add mod ord">
          <ac:chgData name="Fivestarly Lathong [Chillibreeze]" userId="479dc9aa-69ea-4a23-b6ea-3a9d26ac15ab" providerId="ADAL" clId="{013ED13C-6829-4378-A6EF-2B6A713739E1}" dt="2024-06-12T14:48:17.590" v="2071" actId="167"/>
          <ac:picMkLst>
            <pc:docMk/>
            <pc:sldMk cId="0" sldId="309"/>
            <ac:picMk id="19" creationId="{69E2885A-82E7-151B-9DE1-E739AC3E0E8C}"/>
          </ac:picMkLst>
        </pc:picChg>
        <pc:picChg chg="add del mod ord">
          <ac:chgData name="Fivestarly Lathong [Chillibreeze]" userId="479dc9aa-69ea-4a23-b6ea-3a9d26ac15ab" providerId="ADAL" clId="{013ED13C-6829-4378-A6EF-2B6A713739E1}" dt="2024-06-12T14:48:43.942" v="2108" actId="21"/>
          <ac:picMkLst>
            <pc:docMk/>
            <pc:sldMk cId="0" sldId="309"/>
            <ac:picMk id="20" creationId="{1F479BF7-07FE-D3F0-C0F6-E484EB60A39D}"/>
          </ac:picMkLst>
        </pc:picChg>
        <pc:picChg chg="add mod">
          <ac:chgData name="Fivestarly Lathong [Chillibreeze]" userId="479dc9aa-69ea-4a23-b6ea-3a9d26ac15ab" providerId="ADAL" clId="{013ED13C-6829-4378-A6EF-2B6A713739E1}" dt="2024-06-12T14:48:54.665" v="2112" actId="14100"/>
          <ac:picMkLst>
            <pc:docMk/>
            <pc:sldMk cId="0" sldId="309"/>
            <ac:picMk id="26" creationId="{2E5E5C79-88E3-49C8-8313-6A9C926FB3F4}"/>
          </ac:picMkLst>
        </pc:picChg>
        <pc:picChg chg="del">
          <ac:chgData name="Fivestarly Lathong [Chillibreeze]" userId="479dc9aa-69ea-4a23-b6ea-3a9d26ac15ab" providerId="ADAL" clId="{013ED13C-6829-4378-A6EF-2B6A713739E1}" dt="2024-06-12T14:48:09.983" v="2066" actId="478"/>
          <ac:picMkLst>
            <pc:docMk/>
            <pc:sldMk cId="0" sldId="309"/>
            <ac:picMk id="4978" creationId="{00000000-0000-0000-0000-000000000000}"/>
          </ac:picMkLst>
        </pc:picChg>
      </pc:sldChg>
      <pc:sldChg chg="addSp delSp modSp mod modClrScheme chgLayout">
        <pc:chgData name="Fivestarly Lathong [Chillibreeze]" userId="479dc9aa-69ea-4a23-b6ea-3a9d26ac15ab" providerId="ADAL" clId="{013ED13C-6829-4378-A6EF-2B6A713739E1}" dt="2024-06-12T14:50:37.885" v="2148"/>
        <pc:sldMkLst>
          <pc:docMk/>
          <pc:sldMk cId="0" sldId="310"/>
        </pc:sldMkLst>
        <pc:spChg chg="del">
          <ac:chgData name="Fivestarly Lathong [Chillibreeze]" userId="479dc9aa-69ea-4a23-b6ea-3a9d26ac15ab" providerId="ADAL" clId="{013ED13C-6829-4378-A6EF-2B6A713739E1}" dt="2024-06-12T14:49:47.205" v="2125" actId="478"/>
          <ac:spMkLst>
            <pc:docMk/>
            <pc:sldMk cId="0" sldId="310"/>
            <ac:spMk id="2" creationId="{C3CB5A54-31C7-13AD-600D-3DC65F68EE8A}"/>
          </ac:spMkLst>
        </pc:spChg>
        <pc:spChg chg="del mod">
          <ac:chgData name="Fivestarly Lathong [Chillibreeze]" userId="479dc9aa-69ea-4a23-b6ea-3a9d26ac15ab" providerId="ADAL" clId="{013ED13C-6829-4378-A6EF-2B6A713739E1}" dt="2024-06-12T14:49:47.205" v="2125" actId="478"/>
          <ac:spMkLst>
            <pc:docMk/>
            <pc:sldMk cId="0" sldId="310"/>
            <ac:spMk id="3" creationId="{74CFC286-CFBD-0592-6D8A-F8EE6B540BBD}"/>
          </ac:spMkLst>
        </pc:spChg>
        <pc:spChg chg="add del mod">
          <ac:chgData name="Fivestarly Lathong [Chillibreeze]" userId="479dc9aa-69ea-4a23-b6ea-3a9d26ac15ab" providerId="ADAL" clId="{013ED13C-6829-4378-A6EF-2B6A713739E1}" dt="2024-06-12T14:49:55.619" v="2128" actId="21"/>
          <ac:spMkLst>
            <pc:docMk/>
            <pc:sldMk cId="0" sldId="310"/>
            <ac:spMk id="4" creationId="{A5113C9E-74D2-0326-04B5-0145701AD448}"/>
          </ac:spMkLst>
        </pc:spChg>
        <pc:spChg chg="add mod">
          <ac:chgData name="Fivestarly Lathong [Chillibreeze]" userId="479dc9aa-69ea-4a23-b6ea-3a9d26ac15ab" providerId="ADAL" clId="{013ED13C-6829-4378-A6EF-2B6A713739E1}" dt="2024-06-12T14:49:52.184" v="2127"/>
          <ac:spMkLst>
            <pc:docMk/>
            <pc:sldMk cId="0" sldId="310"/>
            <ac:spMk id="5" creationId="{173C26CC-C0A7-9532-C253-28EA395CE8D6}"/>
          </ac:spMkLst>
        </pc:spChg>
        <pc:spChg chg="add mod">
          <ac:chgData name="Fivestarly Lathong [Chillibreeze]" userId="479dc9aa-69ea-4a23-b6ea-3a9d26ac15ab" providerId="ADAL" clId="{013ED13C-6829-4378-A6EF-2B6A713739E1}" dt="2024-06-12T14:49:52.184" v="2127"/>
          <ac:spMkLst>
            <pc:docMk/>
            <pc:sldMk cId="0" sldId="310"/>
            <ac:spMk id="6" creationId="{2BC8A1B9-C897-FB50-6401-4D14352BD90A}"/>
          </ac:spMkLst>
        </pc:spChg>
        <pc:spChg chg="add mod">
          <ac:chgData name="Fivestarly Lathong [Chillibreeze]" userId="479dc9aa-69ea-4a23-b6ea-3a9d26ac15ab" providerId="ADAL" clId="{013ED13C-6829-4378-A6EF-2B6A713739E1}" dt="2024-06-12T14:49:52.184" v="2127"/>
          <ac:spMkLst>
            <pc:docMk/>
            <pc:sldMk cId="0" sldId="310"/>
            <ac:spMk id="7" creationId="{C973A006-CA7B-EF94-D5F3-325A3E34E569}"/>
          </ac:spMkLst>
        </pc:spChg>
        <pc:spChg chg="mod">
          <ac:chgData name="Fivestarly Lathong [Chillibreeze]" userId="479dc9aa-69ea-4a23-b6ea-3a9d26ac15ab" providerId="ADAL" clId="{013ED13C-6829-4378-A6EF-2B6A713739E1}" dt="2024-06-12T14:49:52.184" v="2127"/>
          <ac:spMkLst>
            <pc:docMk/>
            <pc:sldMk cId="0" sldId="310"/>
            <ac:spMk id="9" creationId="{93715CDC-265D-3D7C-D8BC-88EDFD7FC78C}"/>
          </ac:spMkLst>
        </pc:spChg>
        <pc:spChg chg="mod">
          <ac:chgData name="Fivestarly Lathong [Chillibreeze]" userId="479dc9aa-69ea-4a23-b6ea-3a9d26ac15ab" providerId="ADAL" clId="{013ED13C-6829-4378-A6EF-2B6A713739E1}" dt="2024-06-12T14:49:52.184" v="2127"/>
          <ac:spMkLst>
            <pc:docMk/>
            <pc:sldMk cId="0" sldId="310"/>
            <ac:spMk id="10" creationId="{CD673439-BA3E-70EB-A9E4-7FB2F03B9A48}"/>
          </ac:spMkLst>
        </pc:spChg>
        <pc:spChg chg="mod">
          <ac:chgData name="Fivestarly Lathong [Chillibreeze]" userId="479dc9aa-69ea-4a23-b6ea-3a9d26ac15ab" providerId="ADAL" clId="{013ED13C-6829-4378-A6EF-2B6A713739E1}" dt="2024-06-12T14:49:52.184" v="2127"/>
          <ac:spMkLst>
            <pc:docMk/>
            <pc:sldMk cId="0" sldId="310"/>
            <ac:spMk id="11" creationId="{B93A684E-07CA-9E55-9D48-F44F88CAA597}"/>
          </ac:spMkLst>
        </pc:spChg>
        <pc:spChg chg="add mod">
          <ac:chgData name="Fivestarly Lathong [Chillibreeze]" userId="479dc9aa-69ea-4a23-b6ea-3a9d26ac15ab" providerId="ADAL" clId="{013ED13C-6829-4378-A6EF-2B6A713739E1}" dt="2024-06-12T14:49:52.184" v="2127"/>
          <ac:spMkLst>
            <pc:docMk/>
            <pc:sldMk cId="0" sldId="310"/>
            <ac:spMk id="12" creationId="{8DA281CA-FF89-F959-5216-3A12A28C24DE}"/>
          </ac:spMkLst>
        </pc:spChg>
        <pc:spChg chg="add mod">
          <ac:chgData name="Fivestarly Lathong [Chillibreeze]" userId="479dc9aa-69ea-4a23-b6ea-3a9d26ac15ab" providerId="ADAL" clId="{013ED13C-6829-4378-A6EF-2B6A713739E1}" dt="2024-06-12T14:49:52.184" v="2127"/>
          <ac:spMkLst>
            <pc:docMk/>
            <pc:sldMk cId="0" sldId="310"/>
            <ac:spMk id="13" creationId="{905BE1AE-84AF-D455-3E10-878EF604CD27}"/>
          </ac:spMkLst>
        </pc:spChg>
        <pc:spChg chg="add mod">
          <ac:chgData name="Fivestarly Lathong [Chillibreeze]" userId="479dc9aa-69ea-4a23-b6ea-3a9d26ac15ab" providerId="ADAL" clId="{013ED13C-6829-4378-A6EF-2B6A713739E1}" dt="2024-06-12T14:49:52.184" v="2127"/>
          <ac:spMkLst>
            <pc:docMk/>
            <pc:sldMk cId="0" sldId="310"/>
            <ac:spMk id="14" creationId="{1E3D855B-C6DB-6DE5-0B2C-BE51DEA44A3B}"/>
          </ac:spMkLst>
        </pc:spChg>
        <pc:spChg chg="mod">
          <ac:chgData name="Fivestarly Lathong [Chillibreeze]" userId="479dc9aa-69ea-4a23-b6ea-3a9d26ac15ab" providerId="ADAL" clId="{013ED13C-6829-4378-A6EF-2B6A713739E1}" dt="2024-06-12T14:49:52.184" v="2127"/>
          <ac:spMkLst>
            <pc:docMk/>
            <pc:sldMk cId="0" sldId="310"/>
            <ac:spMk id="16" creationId="{8C58F167-ED2E-F929-54C9-D3FC75790950}"/>
          </ac:spMkLst>
        </pc:spChg>
        <pc:spChg chg="mod">
          <ac:chgData name="Fivestarly Lathong [Chillibreeze]" userId="479dc9aa-69ea-4a23-b6ea-3a9d26ac15ab" providerId="ADAL" clId="{013ED13C-6829-4378-A6EF-2B6A713739E1}" dt="2024-06-12T14:49:52.184" v="2127"/>
          <ac:spMkLst>
            <pc:docMk/>
            <pc:sldMk cId="0" sldId="310"/>
            <ac:spMk id="17" creationId="{5008D8C5-C31E-F2A0-635E-2FF2DC567899}"/>
          </ac:spMkLst>
        </pc:spChg>
        <pc:spChg chg="mod">
          <ac:chgData name="Fivestarly Lathong [Chillibreeze]" userId="479dc9aa-69ea-4a23-b6ea-3a9d26ac15ab" providerId="ADAL" clId="{013ED13C-6829-4378-A6EF-2B6A713739E1}" dt="2024-06-12T14:49:52.184" v="2127"/>
          <ac:spMkLst>
            <pc:docMk/>
            <pc:sldMk cId="0" sldId="310"/>
            <ac:spMk id="18" creationId="{53711036-3F45-7A75-754E-A45DBEEDE823}"/>
          </ac:spMkLst>
        </pc:spChg>
        <pc:spChg chg="mod">
          <ac:chgData name="Fivestarly Lathong [Chillibreeze]" userId="479dc9aa-69ea-4a23-b6ea-3a9d26ac15ab" providerId="ADAL" clId="{013ED13C-6829-4378-A6EF-2B6A713739E1}" dt="2024-06-12T14:49:52.184" v="2127"/>
          <ac:spMkLst>
            <pc:docMk/>
            <pc:sldMk cId="0" sldId="310"/>
            <ac:spMk id="20" creationId="{17777AD9-0C34-8B20-FE8B-9BB7A82E4077}"/>
          </ac:spMkLst>
        </pc:spChg>
        <pc:spChg chg="mod">
          <ac:chgData name="Fivestarly Lathong [Chillibreeze]" userId="479dc9aa-69ea-4a23-b6ea-3a9d26ac15ab" providerId="ADAL" clId="{013ED13C-6829-4378-A6EF-2B6A713739E1}" dt="2024-06-12T14:49:52.184" v="2127"/>
          <ac:spMkLst>
            <pc:docMk/>
            <pc:sldMk cId="0" sldId="310"/>
            <ac:spMk id="21" creationId="{614A271C-4188-1812-A42C-F7A64ACF6110}"/>
          </ac:spMkLst>
        </pc:spChg>
        <pc:spChg chg="mod">
          <ac:chgData name="Fivestarly Lathong [Chillibreeze]" userId="479dc9aa-69ea-4a23-b6ea-3a9d26ac15ab" providerId="ADAL" clId="{013ED13C-6829-4378-A6EF-2B6A713739E1}" dt="2024-06-12T14:49:52.184" v="2127"/>
          <ac:spMkLst>
            <pc:docMk/>
            <pc:sldMk cId="0" sldId="310"/>
            <ac:spMk id="22" creationId="{65F29400-60C9-8501-0DC2-0A956DD1FC4A}"/>
          </ac:spMkLst>
        </pc:spChg>
        <pc:spChg chg="add mod">
          <ac:chgData name="Fivestarly Lathong [Chillibreeze]" userId="479dc9aa-69ea-4a23-b6ea-3a9d26ac15ab" providerId="ADAL" clId="{013ED13C-6829-4378-A6EF-2B6A713739E1}" dt="2024-06-12T14:49:52.184" v="2127"/>
          <ac:spMkLst>
            <pc:docMk/>
            <pc:sldMk cId="0" sldId="310"/>
            <ac:spMk id="23" creationId="{D4AD8ACF-0DB5-3D5D-25CE-8FD971146941}"/>
          </ac:spMkLst>
        </pc:spChg>
        <pc:spChg chg="add mod">
          <ac:chgData name="Fivestarly Lathong [Chillibreeze]" userId="479dc9aa-69ea-4a23-b6ea-3a9d26ac15ab" providerId="ADAL" clId="{013ED13C-6829-4378-A6EF-2B6A713739E1}" dt="2024-06-12T14:49:52.184" v="2127"/>
          <ac:spMkLst>
            <pc:docMk/>
            <pc:sldMk cId="0" sldId="310"/>
            <ac:spMk id="24" creationId="{1113F859-8C4E-09EB-A14A-D3C4FF8C90CE}"/>
          </ac:spMkLst>
        </pc:spChg>
        <pc:spChg chg="add mod">
          <ac:chgData name="Fivestarly Lathong [Chillibreeze]" userId="479dc9aa-69ea-4a23-b6ea-3a9d26ac15ab" providerId="ADAL" clId="{013ED13C-6829-4378-A6EF-2B6A713739E1}" dt="2024-06-12T14:50:05.494" v="2131"/>
          <ac:spMkLst>
            <pc:docMk/>
            <pc:sldMk cId="0" sldId="310"/>
            <ac:spMk id="25" creationId="{CE159028-CDDD-95E4-1C41-B82EC3ACA8EF}"/>
          </ac:spMkLst>
        </pc:spChg>
        <pc:spChg chg="add mod">
          <ac:chgData name="Fivestarly Lathong [Chillibreeze]" userId="479dc9aa-69ea-4a23-b6ea-3a9d26ac15ab" providerId="ADAL" clId="{013ED13C-6829-4378-A6EF-2B6A713739E1}" dt="2024-06-12T14:50:09.432" v="2134"/>
          <ac:spMkLst>
            <pc:docMk/>
            <pc:sldMk cId="0" sldId="310"/>
            <ac:spMk id="26" creationId="{01F330F8-B123-954B-1A49-F32276BBC2EC}"/>
          </ac:spMkLst>
        </pc:spChg>
        <pc:spChg chg="add mod">
          <ac:chgData name="Fivestarly Lathong [Chillibreeze]" userId="479dc9aa-69ea-4a23-b6ea-3a9d26ac15ab" providerId="ADAL" clId="{013ED13C-6829-4378-A6EF-2B6A713739E1}" dt="2024-06-12T14:49:52.184" v="2127"/>
          <ac:spMkLst>
            <pc:docMk/>
            <pc:sldMk cId="0" sldId="310"/>
            <ac:spMk id="28" creationId="{0D3894DA-55D2-C3CB-BBCD-B7C49F803387}"/>
          </ac:spMkLst>
        </pc:spChg>
        <pc:spChg chg="add mod">
          <ac:chgData name="Fivestarly Lathong [Chillibreeze]" userId="479dc9aa-69ea-4a23-b6ea-3a9d26ac15ab" providerId="ADAL" clId="{013ED13C-6829-4378-A6EF-2B6A713739E1}" dt="2024-06-12T14:49:52.184" v="2127"/>
          <ac:spMkLst>
            <pc:docMk/>
            <pc:sldMk cId="0" sldId="310"/>
            <ac:spMk id="29" creationId="{8D3B51F5-1071-FA22-4792-1089CB8E6EAE}"/>
          </ac:spMkLst>
        </pc:spChg>
        <pc:spChg chg="add mod">
          <ac:chgData name="Fivestarly Lathong [Chillibreeze]" userId="479dc9aa-69ea-4a23-b6ea-3a9d26ac15ab" providerId="ADAL" clId="{013ED13C-6829-4378-A6EF-2B6A713739E1}" dt="2024-06-12T14:49:52.184" v="2127"/>
          <ac:spMkLst>
            <pc:docMk/>
            <pc:sldMk cId="0" sldId="310"/>
            <ac:spMk id="30" creationId="{87817DBC-577A-46E1-F1B0-7A8F8E90776D}"/>
          </ac:spMkLst>
        </pc:spChg>
        <pc:spChg chg="add mod">
          <ac:chgData name="Fivestarly Lathong [Chillibreeze]" userId="479dc9aa-69ea-4a23-b6ea-3a9d26ac15ab" providerId="ADAL" clId="{013ED13C-6829-4378-A6EF-2B6A713739E1}" dt="2024-06-12T14:50:18.876" v="2138" actId="6549"/>
          <ac:spMkLst>
            <pc:docMk/>
            <pc:sldMk cId="0" sldId="310"/>
            <ac:spMk id="31" creationId="{7B452BE5-E4C1-4C5E-E023-16D1C92546C9}"/>
          </ac:spMkLst>
        </pc:spChg>
        <pc:spChg chg="add mod">
          <ac:chgData name="Fivestarly Lathong [Chillibreeze]" userId="479dc9aa-69ea-4a23-b6ea-3a9d26ac15ab" providerId="ADAL" clId="{013ED13C-6829-4378-A6EF-2B6A713739E1}" dt="2024-06-12T14:49:52.184" v="2127"/>
          <ac:spMkLst>
            <pc:docMk/>
            <pc:sldMk cId="0" sldId="310"/>
            <ac:spMk id="32" creationId="{3524CFDC-D903-1A58-CECE-7AA291BAD93D}"/>
          </ac:spMkLst>
        </pc:spChg>
        <pc:spChg chg="add mod">
          <ac:chgData name="Fivestarly Lathong [Chillibreeze]" userId="479dc9aa-69ea-4a23-b6ea-3a9d26ac15ab" providerId="ADAL" clId="{013ED13C-6829-4378-A6EF-2B6A713739E1}" dt="2024-06-12T14:49:52.184" v="2127"/>
          <ac:spMkLst>
            <pc:docMk/>
            <pc:sldMk cId="0" sldId="310"/>
            <ac:spMk id="33" creationId="{802F44FA-440C-A413-16BA-AA3CB1B618DC}"/>
          </ac:spMkLst>
        </pc:spChg>
        <pc:spChg chg="add mod">
          <ac:chgData name="Fivestarly Lathong [Chillibreeze]" userId="479dc9aa-69ea-4a23-b6ea-3a9d26ac15ab" providerId="ADAL" clId="{013ED13C-6829-4378-A6EF-2B6A713739E1}" dt="2024-06-12T14:50:37.885" v="2148"/>
          <ac:spMkLst>
            <pc:docMk/>
            <pc:sldMk cId="0" sldId="310"/>
            <ac:spMk id="34" creationId="{16C11066-4B7B-5861-1933-D77E775FB92D}"/>
          </ac:spMkLst>
        </pc:spChg>
        <pc:spChg chg="add mod">
          <ac:chgData name="Fivestarly Lathong [Chillibreeze]" userId="479dc9aa-69ea-4a23-b6ea-3a9d26ac15ab" providerId="ADAL" clId="{013ED13C-6829-4378-A6EF-2B6A713739E1}" dt="2024-06-12T14:50:28.321" v="2142" actId="14100"/>
          <ac:spMkLst>
            <pc:docMk/>
            <pc:sldMk cId="0" sldId="310"/>
            <ac:spMk id="35" creationId="{243CC323-3C9E-E882-80B0-5C941078254A}"/>
          </ac:spMkLst>
        </pc:spChg>
        <pc:spChg chg="add mod">
          <ac:chgData name="Fivestarly Lathong [Chillibreeze]" userId="479dc9aa-69ea-4a23-b6ea-3a9d26ac15ab" providerId="ADAL" clId="{013ED13C-6829-4378-A6EF-2B6A713739E1}" dt="2024-06-12T14:50:32.044" v="2145"/>
          <ac:spMkLst>
            <pc:docMk/>
            <pc:sldMk cId="0" sldId="310"/>
            <ac:spMk id="36" creationId="{A18FCFC1-05F1-5B79-27A3-4A9DE8C74815}"/>
          </ac:spMkLst>
        </pc:spChg>
        <pc:spChg chg="del">
          <ac:chgData name="Fivestarly Lathong [Chillibreeze]" userId="479dc9aa-69ea-4a23-b6ea-3a9d26ac15ab" providerId="ADAL" clId="{013ED13C-6829-4378-A6EF-2B6A713739E1}" dt="2024-06-12T14:49:47.205" v="2125" actId="478"/>
          <ac:spMkLst>
            <pc:docMk/>
            <pc:sldMk cId="0" sldId="310"/>
            <ac:spMk id="4985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9:47.205" v="2125" actId="478"/>
          <ac:spMkLst>
            <pc:docMk/>
            <pc:sldMk cId="0" sldId="310"/>
            <ac:spMk id="4986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9:47.205" v="2125" actId="478"/>
          <ac:spMkLst>
            <pc:docMk/>
            <pc:sldMk cId="0" sldId="310"/>
            <ac:spMk id="4988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9:47.205" v="2125" actId="478"/>
          <ac:spMkLst>
            <pc:docMk/>
            <pc:sldMk cId="0" sldId="310"/>
            <ac:spMk id="4989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9:47.205" v="2125" actId="478"/>
          <ac:spMkLst>
            <pc:docMk/>
            <pc:sldMk cId="0" sldId="310"/>
            <ac:spMk id="4993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9:47.205" v="2125" actId="478"/>
          <ac:spMkLst>
            <pc:docMk/>
            <pc:sldMk cId="0" sldId="310"/>
            <ac:spMk id="4994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9:47.205" v="2125" actId="478"/>
          <ac:spMkLst>
            <pc:docMk/>
            <pc:sldMk cId="0" sldId="310"/>
            <ac:spMk id="4995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9:47.205" v="2125" actId="478"/>
          <ac:spMkLst>
            <pc:docMk/>
            <pc:sldMk cId="0" sldId="310"/>
            <ac:spMk id="4996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9:47.205" v="2125" actId="478"/>
          <ac:spMkLst>
            <pc:docMk/>
            <pc:sldMk cId="0" sldId="310"/>
            <ac:spMk id="4998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9:47.205" v="2125" actId="478"/>
          <ac:spMkLst>
            <pc:docMk/>
            <pc:sldMk cId="0" sldId="310"/>
            <ac:spMk id="4999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9:47.205" v="2125" actId="478"/>
          <ac:spMkLst>
            <pc:docMk/>
            <pc:sldMk cId="0" sldId="310"/>
            <ac:spMk id="5000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9:47.205" v="2125" actId="478"/>
          <ac:spMkLst>
            <pc:docMk/>
            <pc:sldMk cId="0" sldId="310"/>
            <ac:spMk id="5001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9:47.205" v="2125" actId="478"/>
          <ac:spMkLst>
            <pc:docMk/>
            <pc:sldMk cId="0" sldId="310"/>
            <ac:spMk id="5002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49:47.205" v="2125" actId="478"/>
          <ac:spMkLst>
            <pc:docMk/>
            <pc:sldMk cId="0" sldId="310"/>
            <ac:spMk id="5003" creationId="{00000000-0000-0000-0000-000000000000}"/>
          </ac:spMkLst>
        </pc:spChg>
        <pc:grpChg chg="add mod">
          <ac:chgData name="Fivestarly Lathong [Chillibreeze]" userId="479dc9aa-69ea-4a23-b6ea-3a9d26ac15ab" providerId="ADAL" clId="{013ED13C-6829-4378-A6EF-2B6A713739E1}" dt="2024-06-12T14:49:52.184" v="2127"/>
          <ac:grpSpMkLst>
            <pc:docMk/>
            <pc:sldMk cId="0" sldId="310"/>
            <ac:grpSpMk id="8" creationId="{B5B32B52-73FF-E75D-FEAF-E694A139D0A0}"/>
          </ac:grpSpMkLst>
        </pc:grpChg>
        <pc:grpChg chg="add mod">
          <ac:chgData name="Fivestarly Lathong [Chillibreeze]" userId="479dc9aa-69ea-4a23-b6ea-3a9d26ac15ab" providerId="ADAL" clId="{013ED13C-6829-4378-A6EF-2B6A713739E1}" dt="2024-06-12T14:49:52.184" v="2127"/>
          <ac:grpSpMkLst>
            <pc:docMk/>
            <pc:sldMk cId="0" sldId="310"/>
            <ac:grpSpMk id="15" creationId="{16B338A0-14BF-AD94-BE32-4BA7A857A1AC}"/>
          </ac:grpSpMkLst>
        </pc:grpChg>
        <pc:grpChg chg="add mod">
          <ac:chgData name="Fivestarly Lathong [Chillibreeze]" userId="479dc9aa-69ea-4a23-b6ea-3a9d26ac15ab" providerId="ADAL" clId="{013ED13C-6829-4378-A6EF-2B6A713739E1}" dt="2024-06-12T14:49:52.184" v="2127"/>
          <ac:grpSpMkLst>
            <pc:docMk/>
            <pc:sldMk cId="0" sldId="310"/>
            <ac:grpSpMk id="19" creationId="{884962B4-AACA-3727-5208-F7C8C8B44150}"/>
          </ac:grpSpMkLst>
        </pc:grpChg>
        <pc:grpChg chg="del">
          <ac:chgData name="Fivestarly Lathong [Chillibreeze]" userId="479dc9aa-69ea-4a23-b6ea-3a9d26ac15ab" providerId="ADAL" clId="{013ED13C-6829-4378-A6EF-2B6A713739E1}" dt="2024-06-12T14:49:47.205" v="2125" actId="478"/>
          <ac:grpSpMkLst>
            <pc:docMk/>
            <pc:sldMk cId="0" sldId="310"/>
            <ac:grpSpMk id="4990" creationId="{00000000-0000-0000-0000-000000000000}"/>
          </ac:grpSpMkLst>
        </pc:grpChg>
        <pc:picChg chg="add mod">
          <ac:chgData name="Fivestarly Lathong [Chillibreeze]" userId="479dc9aa-69ea-4a23-b6ea-3a9d26ac15ab" providerId="ADAL" clId="{013ED13C-6829-4378-A6EF-2B6A713739E1}" dt="2024-06-12T14:49:52.184" v="2127"/>
          <ac:picMkLst>
            <pc:docMk/>
            <pc:sldMk cId="0" sldId="310"/>
            <ac:picMk id="27" creationId="{09B05859-96CE-A179-D6F2-D98F86774599}"/>
          </ac:picMkLst>
        </pc:picChg>
        <pc:picChg chg="del">
          <ac:chgData name="Fivestarly Lathong [Chillibreeze]" userId="479dc9aa-69ea-4a23-b6ea-3a9d26ac15ab" providerId="ADAL" clId="{013ED13C-6829-4378-A6EF-2B6A713739E1}" dt="2024-06-12T14:49:47.205" v="2125" actId="478"/>
          <ac:picMkLst>
            <pc:docMk/>
            <pc:sldMk cId="0" sldId="310"/>
            <ac:picMk id="4983" creationId="{00000000-0000-0000-0000-000000000000}"/>
          </ac:picMkLst>
        </pc:picChg>
        <pc:picChg chg="del">
          <ac:chgData name="Fivestarly Lathong [Chillibreeze]" userId="479dc9aa-69ea-4a23-b6ea-3a9d26ac15ab" providerId="ADAL" clId="{013ED13C-6829-4378-A6EF-2B6A713739E1}" dt="2024-06-12T14:49:47.205" v="2125" actId="478"/>
          <ac:picMkLst>
            <pc:docMk/>
            <pc:sldMk cId="0" sldId="310"/>
            <ac:picMk id="4984" creationId="{00000000-0000-0000-0000-000000000000}"/>
          </ac:picMkLst>
        </pc:picChg>
        <pc:picChg chg="del">
          <ac:chgData name="Fivestarly Lathong [Chillibreeze]" userId="479dc9aa-69ea-4a23-b6ea-3a9d26ac15ab" providerId="ADAL" clId="{013ED13C-6829-4378-A6EF-2B6A713739E1}" dt="2024-06-12T14:49:47.205" v="2125" actId="478"/>
          <ac:picMkLst>
            <pc:docMk/>
            <pc:sldMk cId="0" sldId="310"/>
            <ac:picMk id="4987" creationId="{00000000-0000-0000-0000-000000000000}"/>
          </ac:picMkLst>
        </pc:picChg>
        <pc:picChg chg="del">
          <ac:chgData name="Fivestarly Lathong [Chillibreeze]" userId="479dc9aa-69ea-4a23-b6ea-3a9d26ac15ab" providerId="ADAL" clId="{013ED13C-6829-4378-A6EF-2B6A713739E1}" dt="2024-06-12T14:49:47.205" v="2125" actId="478"/>
          <ac:picMkLst>
            <pc:docMk/>
            <pc:sldMk cId="0" sldId="310"/>
            <ac:picMk id="4997" creationId="{00000000-0000-0000-0000-000000000000}"/>
          </ac:picMkLst>
        </pc:picChg>
      </pc:sldChg>
      <pc:sldChg chg="addSp delSp modSp mod modClrScheme chgLayout">
        <pc:chgData name="Fivestarly Lathong [Chillibreeze]" userId="479dc9aa-69ea-4a23-b6ea-3a9d26ac15ab" providerId="ADAL" clId="{013ED13C-6829-4378-A6EF-2B6A713739E1}" dt="2024-06-12T14:52:03.383" v="2173" actId="20577"/>
        <pc:sldMkLst>
          <pc:docMk/>
          <pc:sldMk cId="0" sldId="311"/>
        </pc:sldMkLst>
        <pc:spChg chg="add mod ord">
          <ac:chgData name="Fivestarly Lathong [Chillibreeze]" userId="479dc9aa-69ea-4a23-b6ea-3a9d26ac15ab" providerId="ADAL" clId="{013ED13C-6829-4378-A6EF-2B6A713739E1}" dt="2024-06-12T14:52:03.383" v="2173" actId="20577"/>
          <ac:spMkLst>
            <pc:docMk/>
            <pc:sldMk cId="0" sldId="311"/>
            <ac:spMk id="2" creationId="{3D408D19-AC09-9434-273D-FA05DA90367C}"/>
          </ac:spMkLst>
        </pc:spChg>
        <pc:spChg chg="add del mod">
          <ac:chgData name="Fivestarly Lathong [Chillibreeze]" userId="479dc9aa-69ea-4a23-b6ea-3a9d26ac15ab" providerId="ADAL" clId="{013ED13C-6829-4378-A6EF-2B6A713739E1}" dt="2024-06-12T14:51:58.295" v="2169" actId="6264"/>
          <ac:spMkLst>
            <pc:docMk/>
            <pc:sldMk cId="0" sldId="311"/>
            <ac:spMk id="3" creationId="{7A9EDFB9-5368-6531-1471-AFC266CC6CD8}"/>
          </ac:spMkLst>
        </pc:spChg>
        <pc:spChg chg="add mod ord">
          <ac:chgData name="Fivestarly Lathong [Chillibreeze]" userId="479dc9aa-69ea-4a23-b6ea-3a9d26ac15ab" providerId="ADAL" clId="{013ED13C-6829-4378-A6EF-2B6A713739E1}" dt="2024-06-12T14:51:59.599" v="2170"/>
          <ac:spMkLst>
            <pc:docMk/>
            <pc:sldMk cId="0" sldId="311"/>
            <ac:spMk id="4" creationId="{5187D840-5A08-0A2C-C570-721D86162E4E}"/>
          </ac:spMkLst>
        </pc:spChg>
        <pc:spChg chg="del mod ord">
          <ac:chgData name="Fivestarly Lathong [Chillibreeze]" userId="479dc9aa-69ea-4a23-b6ea-3a9d26ac15ab" providerId="ADAL" clId="{013ED13C-6829-4378-A6EF-2B6A713739E1}" dt="2024-06-12T14:51:58.295" v="2169" actId="6264"/>
          <ac:spMkLst>
            <pc:docMk/>
            <pc:sldMk cId="0" sldId="311"/>
            <ac:spMk id="5008" creationId="{00000000-0000-0000-0000-000000000000}"/>
          </ac:spMkLst>
        </pc:spChg>
      </pc:sldChg>
      <pc:sldChg chg="addSp delSp modSp mod chgLayout">
        <pc:chgData name="Fivestarly Lathong [Chillibreeze]" userId="479dc9aa-69ea-4a23-b6ea-3a9d26ac15ab" providerId="ADAL" clId="{013ED13C-6829-4378-A6EF-2B6A713739E1}" dt="2024-06-12T14:53:53.095" v="2212" actId="6264"/>
        <pc:sldMkLst>
          <pc:docMk/>
          <pc:sldMk cId="0" sldId="313"/>
        </pc:sldMkLst>
        <pc:spChg chg="add del mod">
          <ac:chgData name="Fivestarly Lathong [Chillibreeze]" userId="479dc9aa-69ea-4a23-b6ea-3a9d26ac15ab" providerId="ADAL" clId="{013ED13C-6829-4378-A6EF-2B6A713739E1}" dt="2024-06-12T14:53:52.735" v="2210" actId="6264"/>
          <ac:spMkLst>
            <pc:docMk/>
            <pc:sldMk cId="0" sldId="313"/>
            <ac:spMk id="2" creationId="{BF8AAF5D-53B7-D9A9-064A-3C547279DFD9}"/>
          </ac:spMkLst>
        </pc:spChg>
        <pc:spChg chg="add del mod">
          <ac:chgData name="Fivestarly Lathong [Chillibreeze]" userId="479dc9aa-69ea-4a23-b6ea-3a9d26ac15ab" providerId="ADAL" clId="{013ED13C-6829-4378-A6EF-2B6A713739E1}" dt="2024-06-12T14:53:52.923" v="2211" actId="6264"/>
          <ac:spMkLst>
            <pc:docMk/>
            <pc:sldMk cId="0" sldId="313"/>
            <ac:spMk id="3" creationId="{CE04B745-6BC0-F45A-0C93-4631CB1AE798}"/>
          </ac:spMkLst>
        </pc:spChg>
        <pc:spChg chg="add del mod">
          <ac:chgData name="Fivestarly Lathong [Chillibreeze]" userId="479dc9aa-69ea-4a23-b6ea-3a9d26ac15ab" providerId="ADAL" clId="{013ED13C-6829-4378-A6EF-2B6A713739E1}" dt="2024-06-12T14:53:53.095" v="2212" actId="6264"/>
          <ac:spMkLst>
            <pc:docMk/>
            <pc:sldMk cId="0" sldId="313"/>
            <ac:spMk id="4" creationId="{35F64524-86A1-5D2B-B6A3-6AD9318A6999}"/>
          </ac:spMkLst>
        </pc:spChg>
        <pc:spChg chg="mod ord">
          <ac:chgData name="Fivestarly Lathong [Chillibreeze]" userId="479dc9aa-69ea-4a23-b6ea-3a9d26ac15ab" providerId="ADAL" clId="{013ED13C-6829-4378-A6EF-2B6A713739E1}" dt="2024-06-12T14:53:53.095" v="2212" actId="6264"/>
          <ac:spMkLst>
            <pc:docMk/>
            <pc:sldMk cId="0" sldId="313"/>
            <ac:spMk id="11" creationId="{D1E7090C-EC29-1E60-58AE-8A0E8E06F9DC}"/>
          </ac:spMkLst>
        </pc:spChg>
      </pc:sldChg>
      <pc:sldChg chg="addSp delSp modSp mod modClrScheme chgLayout">
        <pc:chgData name="Fivestarly Lathong [Chillibreeze]" userId="479dc9aa-69ea-4a23-b6ea-3a9d26ac15ab" providerId="ADAL" clId="{013ED13C-6829-4378-A6EF-2B6A713739E1}" dt="2024-06-12T14:51:08.822" v="2164" actId="20577"/>
        <pc:sldMkLst>
          <pc:docMk/>
          <pc:sldMk cId="0" sldId="319"/>
        </pc:sldMkLst>
        <pc:spChg chg="add mod ord">
          <ac:chgData name="Fivestarly Lathong [Chillibreeze]" userId="479dc9aa-69ea-4a23-b6ea-3a9d26ac15ab" providerId="ADAL" clId="{013ED13C-6829-4378-A6EF-2B6A713739E1}" dt="2024-06-12T14:51:08.822" v="2164" actId="20577"/>
          <ac:spMkLst>
            <pc:docMk/>
            <pc:sldMk cId="0" sldId="319"/>
            <ac:spMk id="2" creationId="{BFCC5CB4-034B-477C-6269-AEF1E95EA57B}"/>
          </ac:spMkLst>
        </pc:spChg>
        <pc:spChg chg="add del mod">
          <ac:chgData name="Fivestarly Lathong [Chillibreeze]" userId="479dc9aa-69ea-4a23-b6ea-3a9d26ac15ab" providerId="ADAL" clId="{013ED13C-6829-4378-A6EF-2B6A713739E1}" dt="2024-06-12T14:50:58.847" v="2152" actId="6264"/>
          <ac:spMkLst>
            <pc:docMk/>
            <pc:sldMk cId="0" sldId="319"/>
            <ac:spMk id="3" creationId="{684CF714-E841-2CF8-5190-E6F3D92BAA24}"/>
          </ac:spMkLst>
        </pc:spChg>
        <pc:spChg chg="add del mod">
          <ac:chgData name="Fivestarly Lathong [Chillibreeze]" userId="479dc9aa-69ea-4a23-b6ea-3a9d26ac15ab" providerId="ADAL" clId="{013ED13C-6829-4378-A6EF-2B6A713739E1}" dt="2024-06-12T14:50:58.847" v="2152" actId="6264"/>
          <ac:spMkLst>
            <pc:docMk/>
            <pc:sldMk cId="0" sldId="319"/>
            <ac:spMk id="4" creationId="{22C3E2BD-8ADF-215B-4C4A-11F91BA15CF5}"/>
          </ac:spMkLst>
        </pc:spChg>
        <pc:spChg chg="add del mod">
          <ac:chgData name="Fivestarly Lathong [Chillibreeze]" userId="479dc9aa-69ea-4a23-b6ea-3a9d26ac15ab" providerId="ADAL" clId="{013ED13C-6829-4378-A6EF-2B6A713739E1}" dt="2024-06-12T14:50:59.020" v="2153" actId="6264"/>
          <ac:spMkLst>
            <pc:docMk/>
            <pc:sldMk cId="0" sldId="319"/>
            <ac:spMk id="5" creationId="{2CE0F877-711E-F580-4690-5576D48F3613}"/>
          </ac:spMkLst>
        </pc:spChg>
        <pc:spChg chg="add del mod">
          <ac:chgData name="Fivestarly Lathong [Chillibreeze]" userId="479dc9aa-69ea-4a23-b6ea-3a9d26ac15ab" providerId="ADAL" clId="{013ED13C-6829-4378-A6EF-2B6A713739E1}" dt="2024-06-12T14:50:59.020" v="2153" actId="6264"/>
          <ac:spMkLst>
            <pc:docMk/>
            <pc:sldMk cId="0" sldId="319"/>
            <ac:spMk id="6" creationId="{84D1D0CD-916B-4549-7053-DEF1251652EB}"/>
          </ac:spMkLst>
        </pc:spChg>
        <pc:spChg chg="add del mod">
          <ac:chgData name="Fivestarly Lathong [Chillibreeze]" userId="479dc9aa-69ea-4a23-b6ea-3a9d26ac15ab" providerId="ADAL" clId="{013ED13C-6829-4378-A6EF-2B6A713739E1}" dt="2024-06-12T14:51:01.498" v="2155" actId="6264"/>
          <ac:spMkLst>
            <pc:docMk/>
            <pc:sldMk cId="0" sldId="319"/>
            <ac:spMk id="7" creationId="{5BF9FD5B-30B9-D05B-9159-6D3A1D858D54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51:01.876" v="2156" actId="6264"/>
          <ac:spMkLst>
            <pc:docMk/>
            <pc:sldMk cId="0" sldId="319"/>
            <ac:spMk id="8" creationId="{A18D4919-7173-2B44-E7E5-6304BE03BB36}"/>
          </ac:spMkLst>
        </pc:spChg>
        <pc:spChg chg="add del mod">
          <ac:chgData name="Fivestarly Lathong [Chillibreeze]" userId="479dc9aa-69ea-4a23-b6ea-3a9d26ac15ab" providerId="ADAL" clId="{013ED13C-6829-4378-A6EF-2B6A713739E1}" dt="2024-06-12T14:51:01.876" v="2156" actId="6264"/>
          <ac:spMkLst>
            <pc:docMk/>
            <pc:sldMk cId="0" sldId="319"/>
            <ac:spMk id="9" creationId="{8589EFF9-8C97-351D-ED88-56A4E095ECE1}"/>
          </ac:spMkLst>
        </pc:spChg>
        <pc:spChg chg="add mod ord">
          <ac:chgData name="Fivestarly Lathong [Chillibreeze]" userId="479dc9aa-69ea-4a23-b6ea-3a9d26ac15ab" providerId="ADAL" clId="{013ED13C-6829-4378-A6EF-2B6A713739E1}" dt="2024-06-12T14:51:06.141" v="2161" actId="20577"/>
          <ac:spMkLst>
            <pc:docMk/>
            <pc:sldMk cId="0" sldId="319"/>
            <ac:spMk id="10" creationId="{6CBE5D10-8EB8-724B-2498-8D8EF2CE26A1}"/>
          </ac:spMkLst>
        </pc:spChg>
        <pc:spChg chg="add del mod">
          <ac:chgData name="Fivestarly Lathong [Chillibreeze]" userId="479dc9aa-69ea-4a23-b6ea-3a9d26ac15ab" providerId="ADAL" clId="{013ED13C-6829-4378-A6EF-2B6A713739E1}" dt="2024-06-12T14:51:04.699" v="2158" actId="6264"/>
          <ac:spMkLst>
            <pc:docMk/>
            <pc:sldMk cId="0" sldId="319"/>
            <ac:spMk id="11" creationId="{40A065E7-0ADE-9F9B-BF38-218E0738A086}"/>
          </ac:spMkLst>
        </pc:spChg>
        <pc:spChg chg="add del mod">
          <ac:chgData name="Fivestarly Lathong [Chillibreeze]" userId="479dc9aa-69ea-4a23-b6ea-3a9d26ac15ab" providerId="ADAL" clId="{013ED13C-6829-4378-A6EF-2B6A713739E1}" dt="2024-06-12T14:51:04.699" v="2158" actId="6264"/>
          <ac:spMkLst>
            <pc:docMk/>
            <pc:sldMk cId="0" sldId="319"/>
            <ac:spMk id="12" creationId="{48A28B9A-4267-25C7-8E2A-40FE68F53F5C}"/>
          </ac:spMkLst>
        </pc:spChg>
        <pc:spChg chg="del mod ord">
          <ac:chgData name="Fivestarly Lathong [Chillibreeze]" userId="479dc9aa-69ea-4a23-b6ea-3a9d26ac15ab" providerId="ADAL" clId="{013ED13C-6829-4378-A6EF-2B6A713739E1}" dt="2024-06-12T14:51:01.498" v="2155" actId="6264"/>
          <ac:spMkLst>
            <pc:docMk/>
            <pc:sldMk cId="0" sldId="319"/>
            <ac:spMk id="5243" creationId="{00000000-0000-0000-0000-000000000000}"/>
          </ac:spMkLst>
        </pc:spChg>
      </pc:sldChg>
      <pc:sldChg chg="addSp delSp modSp mod setBg modClrScheme chgLayout">
        <pc:chgData name="Fivestarly Lathong [Chillibreeze]" userId="479dc9aa-69ea-4a23-b6ea-3a9d26ac15ab" providerId="ADAL" clId="{013ED13C-6829-4378-A6EF-2B6A713739E1}" dt="2024-06-12T15:19:49.294" v="2750" actId="1076"/>
        <pc:sldMkLst>
          <pc:docMk/>
          <pc:sldMk cId="0" sldId="320"/>
        </pc:sldMkLst>
        <pc:spChg chg="add del mod">
          <ac:chgData name="Fivestarly Lathong [Chillibreeze]" userId="479dc9aa-69ea-4a23-b6ea-3a9d26ac15ab" providerId="ADAL" clId="{013ED13C-6829-4378-A6EF-2B6A713739E1}" dt="2024-06-12T15:19:09.306" v="2711" actId="6264"/>
          <ac:spMkLst>
            <pc:docMk/>
            <pc:sldMk cId="0" sldId="320"/>
            <ac:spMk id="2" creationId="{A7778FE5-8DF7-8E23-E994-2E192BC176CC}"/>
          </ac:spMkLst>
        </pc:spChg>
        <pc:spChg chg="add del mod">
          <ac:chgData name="Fivestarly Lathong [Chillibreeze]" userId="479dc9aa-69ea-4a23-b6ea-3a9d26ac15ab" providerId="ADAL" clId="{013ED13C-6829-4378-A6EF-2B6A713739E1}" dt="2024-06-12T15:19:09.467" v="2712" actId="6264"/>
          <ac:spMkLst>
            <pc:docMk/>
            <pc:sldMk cId="0" sldId="320"/>
            <ac:spMk id="3" creationId="{20F6DFA8-98BF-7953-97C6-CE6C1A56F91E}"/>
          </ac:spMkLst>
        </pc:spChg>
        <pc:spChg chg="mod ord">
          <ac:chgData name="Fivestarly Lathong [Chillibreeze]" userId="479dc9aa-69ea-4a23-b6ea-3a9d26ac15ab" providerId="ADAL" clId="{013ED13C-6829-4378-A6EF-2B6A713739E1}" dt="2024-06-12T15:19:09.467" v="2712" actId="6264"/>
          <ac:spMkLst>
            <pc:docMk/>
            <pc:sldMk cId="0" sldId="320"/>
            <ac:spMk id="5248" creationId="{00000000-0000-0000-0000-000000000000}"/>
          </ac:spMkLst>
        </pc:spChg>
        <pc:picChg chg="add mod ord">
          <ac:chgData name="Fivestarly Lathong [Chillibreeze]" userId="479dc9aa-69ea-4a23-b6ea-3a9d26ac15ab" providerId="ADAL" clId="{013ED13C-6829-4378-A6EF-2B6A713739E1}" dt="2024-06-12T15:19:15.231" v="2718" actId="167"/>
          <ac:picMkLst>
            <pc:docMk/>
            <pc:sldMk cId="0" sldId="320"/>
            <ac:picMk id="4" creationId="{6A8B5865-557A-5F34-C553-0FAB2E42310C}"/>
          </ac:picMkLst>
        </pc:picChg>
        <pc:picChg chg="add del mod ord">
          <ac:chgData name="Fivestarly Lathong [Chillibreeze]" userId="479dc9aa-69ea-4a23-b6ea-3a9d26ac15ab" providerId="ADAL" clId="{013ED13C-6829-4378-A6EF-2B6A713739E1}" dt="2024-06-12T15:19:23.038" v="2745" actId="21"/>
          <ac:picMkLst>
            <pc:docMk/>
            <pc:sldMk cId="0" sldId="320"/>
            <ac:picMk id="5" creationId="{E920BF08-4ADA-C74D-681D-DD2DCE720EFE}"/>
          </ac:picMkLst>
        </pc:picChg>
        <pc:picChg chg="mod ord">
          <ac:chgData name="Fivestarly Lathong [Chillibreeze]" userId="479dc9aa-69ea-4a23-b6ea-3a9d26ac15ab" providerId="ADAL" clId="{013ED13C-6829-4378-A6EF-2B6A713739E1}" dt="2024-06-12T15:19:22.048" v="2744"/>
          <ac:picMkLst>
            <pc:docMk/>
            <pc:sldMk cId="0" sldId="320"/>
            <ac:picMk id="5249" creationId="{00000000-0000-0000-0000-000000000000}"/>
          </ac:picMkLst>
        </pc:picChg>
        <pc:picChg chg="mod">
          <ac:chgData name="Fivestarly Lathong [Chillibreeze]" userId="479dc9aa-69ea-4a23-b6ea-3a9d26ac15ab" providerId="ADAL" clId="{013ED13C-6829-4378-A6EF-2B6A713739E1}" dt="2024-06-12T15:19:49.294" v="2750" actId="1076"/>
          <ac:picMkLst>
            <pc:docMk/>
            <pc:sldMk cId="0" sldId="320"/>
            <ac:picMk id="5250" creationId="{00000000-0000-0000-0000-000000000000}"/>
          </ac:picMkLst>
        </pc:picChg>
      </pc:sldChg>
      <pc:sldChg chg="addSp delSp modSp mod modClrScheme chgLayout">
        <pc:chgData name="Fivestarly Lathong [Chillibreeze]" userId="479dc9aa-69ea-4a23-b6ea-3a9d26ac15ab" providerId="ADAL" clId="{013ED13C-6829-4378-A6EF-2B6A713739E1}" dt="2024-06-12T14:52:34.183" v="2189" actId="20577"/>
        <pc:sldMkLst>
          <pc:docMk/>
          <pc:sldMk cId="0" sldId="321"/>
        </pc:sldMkLst>
        <pc:spChg chg="add del mod ord">
          <ac:chgData name="Fivestarly Lathong [Chillibreeze]" userId="479dc9aa-69ea-4a23-b6ea-3a9d26ac15ab" providerId="ADAL" clId="{013ED13C-6829-4378-A6EF-2B6A713739E1}" dt="2024-06-12T14:52:17.501" v="2175" actId="6264"/>
          <ac:spMkLst>
            <pc:docMk/>
            <pc:sldMk cId="0" sldId="321"/>
            <ac:spMk id="2" creationId="{F5EC062E-ABFE-6AB1-1333-C803BE6BECF7}"/>
          </ac:spMkLst>
        </pc:spChg>
        <pc:spChg chg="add del mod">
          <ac:chgData name="Fivestarly Lathong [Chillibreeze]" userId="479dc9aa-69ea-4a23-b6ea-3a9d26ac15ab" providerId="ADAL" clId="{013ED13C-6829-4378-A6EF-2B6A713739E1}" dt="2024-06-12T14:52:17.501" v="2175" actId="6264"/>
          <ac:spMkLst>
            <pc:docMk/>
            <pc:sldMk cId="0" sldId="321"/>
            <ac:spMk id="3" creationId="{9996E062-A95B-617F-AF91-B605ED8F26A2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52:17.716" v="2176" actId="6264"/>
          <ac:spMkLst>
            <pc:docMk/>
            <pc:sldMk cId="0" sldId="321"/>
            <ac:spMk id="4" creationId="{71B675C1-4417-1B75-44D3-304C4900F634}"/>
          </ac:spMkLst>
        </pc:spChg>
        <pc:spChg chg="add del mod">
          <ac:chgData name="Fivestarly Lathong [Chillibreeze]" userId="479dc9aa-69ea-4a23-b6ea-3a9d26ac15ab" providerId="ADAL" clId="{013ED13C-6829-4378-A6EF-2B6A713739E1}" dt="2024-06-12T14:52:17.716" v="2176" actId="6264"/>
          <ac:spMkLst>
            <pc:docMk/>
            <pc:sldMk cId="0" sldId="321"/>
            <ac:spMk id="5" creationId="{A09AC30D-FE93-9581-7369-F3F25DB88321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52:17.917" v="2177" actId="6264"/>
          <ac:spMkLst>
            <pc:docMk/>
            <pc:sldMk cId="0" sldId="321"/>
            <ac:spMk id="6" creationId="{99BDBFDD-CE70-CE13-68B8-D33F2E2F2979}"/>
          </ac:spMkLst>
        </pc:spChg>
        <pc:spChg chg="add del mod">
          <ac:chgData name="Fivestarly Lathong [Chillibreeze]" userId="479dc9aa-69ea-4a23-b6ea-3a9d26ac15ab" providerId="ADAL" clId="{013ED13C-6829-4378-A6EF-2B6A713739E1}" dt="2024-06-12T14:52:17.917" v="2177" actId="6264"/>
          <ac:spMkLst>
            <pc:docMk/>
            <pc:sldMk cId="0" sldId="321"/>
            <ac:spMk id="7" creationId="{860B711C-1541-0A12-3D01-BD8FCED08535}"/>
          </ac:spMkLst>
        </pc:spChg>
        <pc:spChg chg="add mod ord">
          <ac:chgData name="Fivestarly Lathong [Chillibreeze]" userId="479dc9aa-69ea-4a23-b6ea-3a9d26ac15ab" providerId="ADAL" clId="{013ED13C-6829-4378-A6EF-2B6A713739E1}" dt="2024-06-12T14:52:34.183" v="2189" actId="20577"/>
          <ac:spMkLst>
            <pc:docMk/>
            <pc:sldMk cId="0" sldId="321"/>
            <ac:spMk id="8" creationId="{81D35526-B0B4-2872-C57F-3FC9711318F6}"/>
          </ac:spMkLst>
        </pc:spChg>
        <pc:spChg chg="add del mod">
          <ac:chgData name="Fivestarly Lathong [Chillibreeze]" userId="479dc9aa-69ea-4a23-b6ea-3a9d26ac15ab" providerId="ADAL" clId="{013ED13C-6829-4378-A6EF-2B6A713739E1}" dt="2024-06-12T14:52:25.007" v="2181" actId="6264"/>
          <ac:spMkLst>
            <pc:docMk/>
            <pc:sldMk cId="0" sldId="321"/>
            <ac:spMk id="9" creationId="{EA98FB04-72D2-C4A7-AD4F-836A5CEB50DC}"/>
          </ac:spMkLst>
        </pc:spChg>
        <pc:spChg chg="add mod ord">
          <ac:chgData name="Fivestarly Lathong [Chillibreeze]" userId="479dc9aa-69ea-4a23-b6ea-3a9d26ac15ab" providerId="ADAL" clId="{013ED13C-6829-4378-A6EF-2B6A713739E1}" dt="2024-06-12T14:52:30.226" v="2186" actId="115"/>
          <ac:spMkLst>
            <pc:docMk/>
            <pc:sldMk cId="0" sldId="321"/>
            <ac:spMk id="10" creationId="{441DDFDC-9025-DBC3-9E0F-4FB94C66616B}"/>
          </ac:spMkLst>
        </pc:spChg>
        <pc:spChg chg="del mod ord">
          <ac:chgData name="Fivestarly Lathong [Chillibreeze]" userId="479dc9aa-69ea-4a23-b6ea-3a9d26ac15ab" providerId="ADAL" clId="{013ED13C-6829-4378-A6EF-2B6A713739E1}" dt="2024-06-12T14:52:25.007" v="2181" actId="6264"/>
          <ac:spMkLst>
            <pc:docMk/>
            <pc:sldMk cId="0" sldId="321"/>
            <ac:spMk id="5255" creationId="{00000000-0000-0000-0000-000000000000}"/>
          </ac:spMkLst>
        </pc:spChg>
      </pc:sldChg>
      <pc:sldChg chg="addSp delSp modSp mod modClrScheme chgLayout">
        <pc:chgData name="Fivestarly Lathong [Chillibreeze]" userId="479dc9aa-69ea-4a23-b6ea-3a9d26ac15ab" providerId="ADAL" clId="{013ED13C-6829-4378-A6EF-2B6A713739E1}" dt="2024-06-12T15:18:46.907" v="2704" actId="29295"/>
        <pc:sldMkLst>
          <pc:docMk/>
          <pc:sldMk cId="0" sldId="322"/>
        </pc:sldMkLst>
        <pc:spChg chg="add del mod">
          <ac:chgData name="Fivestarly Lathong [Chillibreeze]" userId="479dc9aa-69ea-4a23-b6ea-3a9d26ac15ab" providerId="ADAL" clId="{013ED13C-6829-4378-A6EF-2B6A713739E1}" dt="2024-06-12T15:17:25.096" v="2624" actId="6264"/>
          <ac:spMkLst>
            <pc:docMk/>
            <pc:sldMk cId="0" sldId="322"/>
            <ac:spMk id="2" creationId="{90343484-A750-71AC-379E-0B127766D032}"/>
          </ac:spMkLst>
        </pc:spChg>
        <pc:spChg chg="add del mod">
          <ac:chgData name="Fivestarly Lathong [Chillibreeze]" userId="479dc9aa-69ea-4a23-b6ea-3a9d26ac15ab" providerId="ADAL" clId="{013ED13C-6829-4378-A6EF-2B6A713739E1}" dt="2024-06-12T15:17:25.279" v="2625" actId="6264"/>
          <ac:spMkLst>
            <pc:docMk/>
            <pc:sldMk cId="0" sldId="322"/>
            <ac:spMk id="3" creationId="{B28A4BF4-C3A5-5F91-2545-54B804518F93}"/>
          </ac:spMkLst>
        </pc:spChg>
        <pc:spChg chg="mod ord">
          <ac:chgData name="Fivestarly Lathong [Chillibreeze]" userId="479dc9aa-69ea-4a23-b6ea-3a9d26ac15ab" providerId="ADAL" clId="{013ED13C-6829-4378-A6EF-2B6A713739E1}" dt="2024-06-12T15:17:27.799" v="2626" actId="14100"/>
          <ac:spMkLst>
            <pc:docMk/>
            <pc:sldMk cId="0" sldId="322"/>
            <ac:spMk id="5260" creationId="{00000000-0000-0000-0000-000000000000}"/>
          </ac:spMkLst>
        </pc:spChg>
        <pc:picChg chg="add mod ord modCrop">
          <ac:chgData name="Fivestarly Lathong [Chillibreeze]" userId="479dc9aa-69ea-4a23-b6ea-3a9d26ac15ab" providerId="ADAL" clId="{013ED13C-6829-4378-A6EF-2B6A713739E1}" dt="2024-06-12T15:18:46.907" v="2704" actId="29295"/>
          <ac:picMkLst>
            <pc:docMk/>
            <pc:sldMk cId="0" sldId="322"/>
            <ac:picMk id="17" creationId="{5E8F6EF9-EA2F-E534-0D47-E55F94746256}"/>
          </ac:picMkLst>
        </pc:picChg>
        <pc:picChg chg="mod">
          <ac:chgData name="Fivestarly Lathong [Chillibreeze]" userId="479dc9aa-69ea-4a23-b6ea-3a9d26ac15ab" providerId="ADAL" clId="{013ED13C-6829-4378-A6EF-2B6A713739E1}" dt="2024-06-12T15:18:08.298" v="2640" actId="1036"/>
          <ac:picMkLst>
            <pc:docMk/>
            <pc:sldMk cId="0" sldId="322"/>
            <ac:picMk id="5261" creationId="{00000000-0000-0000-0000-000000000000}"/>
          </ac:picMkLst>
        </pc:picChg>
        <pc:picChg chg="mod">
          <ac:chgData name="Fivestarly Lathong [Chillibreeze]" userId="479dc9aa-69ea-4a23-b6ea-3a9d26ac15ab" providerId="ADAL" clId="{013ED13C-6829-4378-A6EF-2B6A713739E1}" dt="2024-06-12T15:18:27.338" v="2646" actId="1076"/>
          <ac:picMkLst>
            <pc:docMk/>
            <pc:sldMk cId="0" sldId="322"/>
            <ac:picMk id="5262" creationId="{00000000-0000-0000-0000-000000000000}"/>
          </ac:picMkLst>
        </pc:picChg>
      </pc:sldChg>
      <pc:sldChg chg="addSp delSp modSp mod modClrScheme chgLayout">
        <pc:chgData name="Fivestarly Lathong [Chillibreeze]" userId="479dc9aa-69ea-4a23-b6ea-3a9d26ac15ab" providerId="ADAL" clId="{013ED13C-6829-4378-A6EF-2B6A713739E1}" dt="2024-06-12T14:57:30.507" v="2249" actId="14100"/>
        <pc:sldMkLst>
          <pc:docMk/>
          <pc:sldMk cId="0" sldId="323"/>
        </pc:sldMkLst>
        <pc:spChg chg="add del mod ord">
          <ac:chgData name="Fivestarly Lathong [Chillibreeze]" userId="479dc9aa-69ea-4a23-b6ea-3a9d26ac15ab" providerId="ADAL" clId="{013ED13C-6829-4378-A6EF-2B6A713739E1}" dt="2024-06-12T14:53:05.260" v="2192" actId="6264"/>
          <ac:spMkLst>
            <pc:docMk/>
            <pc:sldMk cId="0" sldId="323"/>
            <ac:spMk id="2" creationId="{6428ACD0-281F-94E2-AA5A-BDE9937EB7DA}"/>
          </ac:spMkLst>
        </pc:spChg>
        <pc:spChg chg="add del mod">
          <ac:chgData name="Fivestarly Lathong [Chillibreeze]" userId="479dc9aa-69ea-4a23-b6ea-3a9d26ac15ab" providerId="ADAL" clId="{013ED13C-6829-4378-A6EF-2B6A713739E1}" dt="2024-06-12T14:53:05.260" v="2192" actId="6264"/>
          <ac:spMkLst>
            <pc:docMk/>
            <pc:sldMk cId="0" sldId="323"/>
            <ac:spMk id="3" creationId="{D310F28B-32C7-5B14-19FB-26F836149CF7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53:05.717" v="2193" actId="6264"/>
          <ac:spMkLst>
            <pc:docMk/>
            <pc:sldMk cId="0" sldId="323"/>
            <ac:spMk id="4" creationId="{A8EA1EA6-2A5F-1030-1D42-5528A1091FC7}"/>
          </ac:spMkLst>
        </pc:spChg>
        <pc:spChg chg="add del mod">
          <ac:chgData name="Fivestarly Lathong [Chillibreeze]" userId="479dc9aa-69ea-4a23-b6ea-3a9d26ac15ab" providerId="ADAL" clId="{013ED13C-6829-4378-A6EF-2B6A713739E1}" dt="2024-06-12T14:53:05.717" v="2193" actId="6264"/>
          <ac:spMkLst>
            <pc:docMk/>
            <pc:sldMk cId="0" sldId="323"/>
            <ac:spMk id="5" creationId="{69763B27-5FE3-7B4E-BA98-3F8127CC05DF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53:10.915" v="2195" actId="6264"/>
          <ac:spMkLst>
            <pc:docMk/>
            <pc:sldMk cId="0" sldId="323"/>
            <ac:spMk id="6" creationId="{AF013ED1-B6A0-123B-474E-6ED45ECC3154}"/>
          </ac:spMkLst>
        </pc:spChg>
        <pc:spChg chg="add del mod">
          <ac:chgData name="Fivestarly Lathong [Chillibreeze]" userId="479dc9aa-69ea-4a23-b6ea-3a9d26ac15ab" providerId="ADAL" clId="{013ED13C-6829-4378-A6EF-2B6A713739E1}" dt="2024-06-12T14:53:10.915" v="2195" actId="6264"/>
          <ac:spMkLst>
            <pc:docMk/>
            <pc:sldMk cId="0" sldId="323"/>
            <ac:spMk id="7" creationId="{409EBD64-3997-8657-8C0B-97ED01100D90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53:11.088" v="2196" actId="6264"/>
          <ac:spMkLst>
            <pc:docMk/>
            <pc:sldMk cId="0" sldId="323"/>
            <ac:spMk id="8" creationId="{0060E954-387A-32D2-83A7-825E3E4A9C9E}"/>
          </ac:spMkLst>
        </pc:spChg>
        <pc:spChg chg="add del mod">
          <ac:chgData name="Fivestarly Lathong [Chillibreeze]" userId="479dc9aa-69ea-4a23-b6ea-3a9d26ac15ab" providerId="ADAL" clId="{013ED13C-6829-4378-A6EF-2B6A713739E1}" dt="2024-06-12T14:53:11.088" v="2196" actId="6264"/>
          <ac:spMkLst>
            <pc:docMk/>
            <pc:sldMk cId="0" sldId="323"/>
            <ac:spMk id="9" creationId="{D077C81E-BBD8-A72A-5710-8E13CC499455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53:14.684" v="2200" actId="6264"/>
          <ac:spMkLst>
            <pc:docMk/>
            <pc:sldMk cId="0" sldId="323"/>
            <ac:spMk id="10" creationId="{912EC3C2-FE20-6F54-BAEB-5F0820780C42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53:14.998" v="2201" actId="6264"/>
          <ac:spMkLst>
            <pc:docMk/>
            <pc:sldMk cId="0" sldId="323"/>
            <ac:spMk id="11" creationId="{F9190A1A-D40D-F9B0-4956-BDEAAC639BB8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53:14.998" v="2201" actId="6264"/>
          <ac:spMkLst>
            <pc:docMk/>
            <pc:sldMk cId="0" sldId="323"/>
            <ac:spMk id="12" creationId="{874A0A27-2207-14A8-9DFA-9858E2C10D8D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53:15.029" v="2202" actId="6264"/>
          <ac:spMkLst>
            <pc:docMk/>
            <pc:sldMk cId="0" sldId="323"/>
            <ac:spMk id="13" creationId="{030DAAC6-4802-A136-48F0-0E94032CA02F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53:15.029" v="2202" actId="6264"/>
          <ac:spMkLst>
            <pc:docMk/>
            <pc:sldMk cId="0" sldId="323"/>
            <ac:spMk id="14" creationId="{1253EFBC-F3C7-E4B8-6D98-64F08DF4722D}"/>
          </ac:spMkLst>
        </pc:spChg>
        <pc:spChg chg="add mod ord">
          <ac:chgData name="Fivestarly Lathong [Chillibreeze]" userId="479dc9aa-69ea-4a23-b6ea-3a9d26ac15ab" providerId="ADAL" clId="{013ED13C-6829-4378-A6EF-2B6A713739E1}" dt="2024-06-12T14:53:17.455" v="2205" actId="6264"/>
          <ac:spMkLst>
            <pc:docMk/>
            <pc:sldMk cId="0" sldId="323"/>
            <ac:spMk id="15" creationId="{A23A634B-086B-29F7-CE75-3322C7A64650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53:17.256" v="2204" actId="6264"/>
          <ac:spMkLst>
            <pc:docMk/>
            <pc:sldMk cId="0" sldId="323"/>
            <ac:spMk id="16" creationId="{840CD818-D283-EBAE-7748-A4A66F493012}"/>
          </ac:spMkLst>
        </pc:spChg>
        <pc:spChg chg="add del mod">
          <ac:chgData name="Fivestarly Lathong [Chillibreeze]" userId="479dc9aa-69ea-4a23-b6ea-3a9d26ac15ab" providerId="ADAL" clId="{013ED13C-6829-4378-A6EF-2B6A713739E1}" dt="2024-06-12T14:53:17.256" v="2204" actId="6264"/>
          <ac:spMkLst>
            <pc:docMk/>
            <pc:sldMk cId="0" sldId="323"/>
            <ac:spMk id="17" creationId="{75E2731C-E392-BE84-A84C-87E02FAB9187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53:17.455" v="2205" actId="6264"/>
          <ac:spMkLst>
            <pc:docMk/>
            <pc:sldMk cId="0" sldId="323"/>
            <ac:spMk id="18" creationId="{A763BF33-2ABE-53DD-A9BC-B50BF28794DB}"/>
          </ac:spMkLst>
        </pc:spChg>
        <pc:spChg chg="add del mod">
          <ac:chgData name="Fivestarly Lathong [Chillibreeze]" userId="479dc9aa-69ea-4a23-b6ea-3a9d26ac15ab" providerId="ADAL" clId="{013ED13C-6829-4378-A6EF-2B6A713739E1}" dt="2024-06-12T14:53:17.455" v="2205" actId="6264"/>
          <ac:spMkLst>
            <pc:docMk/>
            <pc:sldMk cId="0" sldId="323"/>
            <ac:spMk id="19" creationId="{227A00C1-13F4-908E-F3FC-784EC8AF19DE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53:21.494" v="2207" actId="21"/>
          <ac:spMkLst>
            <pc:docMk/>
            <pc:sldMk cId="0" sldId="323"/>
            <ac:spMk id="20" creationId="{0D2A730C-16C5-99C9-DC82-795260D82F02}"/>
          </ac:spMkLst>
        </pc:spChg>
        <pc:spChg chg="add del">
          <ac:chgData name="Fivestarly Lathong [Chillibreeze]" userId="479dc9aa-69ea-4a23-b6ea-3a9d26ac15ab" providerId="ADAL" clId="{013ED13C-6829-4378-A6EF-2B6A713739E1}" dt="2024-06-12T14:57:10.414" v="2238" actId="478"/>
          <ac:spMkLst>
            <pc:docMk/>
            <pc:sldMk cId="0" sldId="323"/>
            <ac:spMk id="21" creationId="{2C149DDE-98A3-4B38-5F6D-1CA066946CE6}"/>
          </ac:spMkLst>
        </pc:spChg>
        <pc:spChg chg="add mod">
          <ac:chgData name="Fivestarly Lathong [Chillibreeze]" userId="479dc9aa-69ea-4a23-b6ea-3a9d26ac15ab" providerId="ADAL" clId="{013ED13C-6829-4378-A6EF-2B6A713739E1}" dt="2024-06-12T14:57:30.507" v="2249" actId="14100"/>
          <ac:spMkLst>
            <pc:docMk/>
            <pc:sldMk cId="0" sldId="323"/>
            <ac:spMk id="22" creationId="{2DF5557B-1BB4-F330-DC8C-674B7D3D3063}"/>
          </ac:spMkLst>
        </pc:spChg>
        <pc:spChg chg="del mod ord">
          <ac:chgData name="Fivestarly Lathong [Chillibreeze]" userId="479dc9aa-69ea-4a23-b6ea-3a9d26ac15ab" providerId="ADAL" clId="{013ED13C-6829-4378-A6EF-2B6A713739E1}" dt="2024-06-12T14:53:05.260" v="2192" actId="6264"/>
          <ac:spMkLst>
            <pc:docMk/>
            <pc:sldMk cId="0" sldId="323"/>
            <ac:spMk id="5267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4:53:19.579" v="2206" actId="21"/>
          <ac:spMkLst>
            <pc:docMk/>
            <pc:sldMk cId="0" sldId="323"/>
            <ac:spMk id="5268" creationId="{00000000-0000-0000-0000-000000000000}"/>
          </ac:spMkLst>
        </pc:spChg>
        <pc:spChg chg="del mod ord">
          <ac:chgData name="Fivestarly Lathong [Chillibreeze]" userId="479dc9aa-69ea-4a23-b6ea-3a9d26ac15ab" providerId="ADAL" clId="{013ED13C-6829-4378-A6EF-2B6A713739E1}" dt="2024-06-12T14:53:14.684" v="2200" actId="6264"/>
          <ac:spMkLst>
            <pc:docMk/>
            <pc:sldMk cId="0" sldId="323"/>
            <ac:spMk id="5269" creationId="{00000000-0000-0000-0000-000000000000}"/>
          </ac:spMkLst>
        </pc:spChg>
      </pc:sldChg>
      <pc:sldChg chg="addSp delSp modSp mod modClrScheme chgLayout">
        <pc:chgData name="Fivestarly Lathong [Chillibreeze]" userId="479dc9aa-69ea-4a23-b6ea-3a9d26ac15ab" providerId="ADAL" clId="{013ED13C-6829-4378-A6EF-2B6A713739E1}" dt="2024-06-12T15:18:17.364" v="2642" actId="21"/>
        <pc:sldMkLst>
          <pc:docMk/>
          <pc:sldMk cId="0" sldId="324"/>
        </pc:sldMkLst>
        <pc:spChg chg="add del mod ord">
          <ac:chgData name="Fivestarly Lathong [Chillibreeze]" userId="479dc9aa-69ea-4a23-b6ea-3a9d26ac15ab" providerId="ADAL" clId="{013ED13C-6829-4378-A6EF-2B6A713739E1}" dt="2024-06-12T14:56:26.519" v="2227" actId="21"/>
          <ac:spMkLst>
            <pc:docMk/>
            <pc:sldMk cId="0" sldId="324"/>
            <ac:spMk id="2" creationId="{E338B7DC-0A91-0CB5-8AAE-4796E8406C31}"/>
          </ac:spMkLst>
        </pc:spChg>
        <pc:spChg chg="add del mod">
          <ac:chgData name="Fivestarly Lathong [Chillibreeze]" userId="479dc9aa-69ea-4a23-b6ea-3a9d26ac15ab" providerId="ADAL" clId="{013ED13C-6829-4378-A6EF-2B6A713739E1}" dt="2024-06-12T14:56:27.974" v="2228" actId="6264"/>
          <ac:spMkLst>
            <pc:docMk/>
            <pc:sldMk cId="0" sldId="324"/>
            <ac:spMk id="4" creationId="{909DDB8B-F100-0F21-707B-B25E53E26516}"/>
          </ac:spMkLst>
        </pc:spChg>
        <pc:spChg chg="add mod ord">
          <ac:chgData name="Fivestarly Lathong [Chillibreeze]" userId="479dc9aa-69ea-4a23-b6ea-3a9d26ac15ab" providerId="ADAL" clId="{013ED13C-6829-4378-A6EF-2B6A713739E1}" dt="2024-06-12T14:56:38.971" v="2234" actId="6264"/>
          <ac:spMkLst>
            <pc:docMk/>
            <pc:sldMk cId="0" sldId="324"/>
            <ac:spMk id="5" creationId="{146493C6-2097-5123-BBF5-AE3FDB4E2F0B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56:33.591" v="2230" actId="6264"/>
          <ac:spMkLst>
            <pc:docMk/>
            <pc:sldMk cId="0" sldId="324"/>
            <ac:spMk id="6" creationId="{14A3B495-6BF7-044F-B011-1176126758D9}"/>
          </ac:spMkLst>
        </pc:spChg>
        <pc:spChg chg="add del mod">
          <ac:chgData name="Fivestarly Lathong [Chillibreeze]" userId="479dc9aa-69ea-4a23-b6ea-3a9d26ac15ab" providerId="ADAL" clId="{013ED13C-6829-4378-A6EF-2B6A713739E1}" dt="2024-06-12T14:56:33.591" v="2230" actId="6264"/>
          <ac:spMkLst>
            <pc:docMk/>
            <pc:sldMk cId="0" sldId="324"/>
            <ac:spMk id="7" creationId="{F1750F2D-96BC-CE71-F29F-7F86174C7E2A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56:33.795" v="2231" actId="6264"/>
          <ac:spMkLst>
            <pc:docMk/>
            <pc:sldMk cId="0" sldId="324"/>
            <ac:spMk id="8" creationId="{3C3AD257-AD1F-6E53-4BAE-14FA06068D85}"/>
          </ac:spMkLst>
        </pc:spChg>
        <pc:spChg chg="add del mod">
          <ac:chgData name="Fivestarly Lathong [Chillibreeze]" userId="479dc9aa-69ea-4a23-b6ea-3a9d26ac15ab" providerId="ADAL" clId="{013ED13C-6829-4378-A6EF-2B6A713739E1}" dt="2024-06-12T14:56:33.795" v="2231" actId="6264"/>
          <ac:spMkLst>
            <pc:docMk/>
            <pc:sldMk cId="0" sldId="324"/>
            <ac:spMk id="9" creationId="{9CCE7595-C5C6-1F12-0F70-0493460D3A96}"/>
          </ac:spMkLst>
        </pc:spChg>
        <pc:spChg chg="add mod ord">
          <ac:chgData name="Fivestarly Lathong [Chillibreeze]" userId="479dc9aa-69ea-4a23-b6ea-3a9d26ac15ab" providerId="ADAL" clId="{013ED13C-6829-4378-A6EF-2B6A713739E1}" dt="2024-06-12T14:56:38.971" v="2234" actId="6264"/>
          <ac:spMkLst>
            <pc:docMk/>
            <pc:sldMk cId="0" sldId="324"/>
            <ac:spMk id="10" creationId="{A3334DD9-10EE-E58D-6DD5-F7EA586AE8FC}"/>
          </ac:spMkLst>
        </pc:spChg>
        <pc:spChg chg="add del mod">
          <ac:chgData name="Fivestarly Lathong [Chillibreeze]" userId="479dc9aa-69ea-4a23-b6ea-3a9d26ac15ab" providerId="ADAL" clId="{013ED13C-6829-4378-A6EF-2B6A713739E1}" dt="2024-06-12T14:56:38.782" v="2233" actId="6264"/>
          <ac:spMkLst>
            <pc:docMk/>
            <pc:sldMk cId="0" sldId="324"/>
            <ac:spMk id="11" creationId="{589B66B1-0A0A-753F-8CCD-2735F4DAC761}"/>
          </ac:spMkLst>
        </pc:spChg>
        <pc:spChg chg="add del mod">
          <ac:chgData name="Fivestarly Lathong [Chillibreeze]" userId="479dc9aa-69ea-4a23-b6ea-3a9d26ac15ab" providerId="ADAL" clId="{013ED13C-6829-4378-A6EF-2B6A713739E1}" dt="2024-06-12T14:56:38.782" v="2233" actId="6264"/>
          <ac:spMkLst>
            <pc:docMk/>
            <pc:sldMk cId="0" sldId="324"/>
            <ac:spMk id="12" creationId="{5715531B-B1AF-61EB-88EF-7E342B638A02}"/>
          </ac:spMkLst>
        </pc:spChg>
        <pc:spChg chg="add del mod">
          <ac:chgData name="Fivestarly Lathong [Chillibreeze]" userId="479dc9aa-69ea-4a23-b6ea-3a9d26ac15ab" providerId="ADAL" clId="{013ED13C-6829-4378-A6EF-2B6A713739E1}" dt="2024-06-12T14:56:38.971" v="2234" actId="6264"/>
          <ac:spMkLst>
            <pc:docMk/>
            <pc:sldMk cId="0" sldId="324"/>
            <ac:spMk id="13" creationId="{12A486C2-E717-41B5-F025-E785F583B907}"/>
          </ac:spMkLst>
        </pc:spChg>
        <pc:spChg chg="add del mod">
          <ac:chgData name="Fivestarly Lathong [Chillibreeze]" userId="479dc9aa-69ea-4a23-b6ea-3a9d26ac15ab" providerId="ADAL" clId="{013ED13C-6829-4378-A6EF-2B6A713739E1}" dt="2024-06-12T14:56:38.971" v="2234" actId="6264"/>
          <ac:spMkLst>
            <pc:docMk/>
            <pc:sldMk cId="0" sldId="324"/>
            <ac:spMk id="14" creationId="{D56ACD2B-214F-C8FF-2D81-84FA7B55546F}"/>
          </ac:spMkLst>
        </pc:spChg>
        <pc:spChg chg="add mod">
          <ac:chgData name="Fivestarly Lathong [Chillibreeze]" userId="479dc9aa-69ea-4a23-b6ea-3a9d26ac15ab" providerId="ADAL" clId="{013ED13C-6829-4378-A6EF-2B6A713739E1}" dt="2024-06-12T14:58:42.924" v="2271" actId="14100"/>
          <ac:spMkLst>
            <pc:docMk/>
            <pc:sldMk cId="0" sldId="324"/>
            <ac:spMk id="16" creationId="{65194275-511C-AEE6-D7A2-9B5EFA69F823}"/>
          </ac:spMkLst>
        </pc:spChg>
        <pc:spChg chg="del mod ord">
          <ac:chgData name="Fivestarly Lathong [Chillibreeze]" userId="479dc9aa-69ea-4a23-b6ea-3a9d26ac15ab" providerId="ADAL" clId="{013ED13C-6829-4378-A6EF-2B6A713739E1}" dt="2024-06-12T14:56:26.519" v="2227" actId="21"/>
          <ac:spMkLst>
            <pc:docMk/>
            <pc:sldMk cId="0" sldId="324"/>
            <ac:spMk id="5274" creationId="{00000000-0000-0000-0000-000000000000}"/>
          </ac:spMkLst>
        </pc:spChg>
        <pc:spChg chg="del mod ord">
          <ac:chgData name="Fivestarly Lathong [Chillibreeze]" userId="479dc9aa-69ea-4a23-b6ea-3a9d26ac15ab" providerId="ADAL" clId="{013ED13C-6829-4378-A6EF-2B6A713739E1}" dt="2024-06-12T14:56:26.519" v="2227" actId="21"/>
          <ac:spMkLst>
            <pc:docMk/>
            <pc:sldMk cId="0" sldId="324"/>
            <ac:spMk id="5275" creationId="{00000000-0000-0000-0000-000000000000}"/>
          </ac:spMkLst>
        </pc:spChg>
        <pc:spChg chg="del mod ord">
          <ac:chgData name="Fivestarly Lathong [Chillibreeze]" userId="479dc9aa-69ea-4a23-b6ea-3a9d26ac15ab" providerId="ADAL" clId="{013ED13C-6829-4378-A6EF-2B6A713739E1}" dt="2024-06-12T14:56:26.519" v="2227" actId="21"/>
          <ac:spMkLst>
            <pc:docMk/>
            <pc:sldMk cId="0" sldId="324"/>
            <ac:spMk id="5276" creationId="{00000000-0000-0000-0000-000000000000}"/>
          </ac:spMkLst>
        </pc:spChg>
        <pc:spChg chg="del mod ord">
          <ac:chgData name="Fivestarly Lathong [Chillibreeze]" userId="479dc9aa-69ea-4a23-b6ea-3a9d26ac15ab" providerId="ADAL" clId="{013ED13C-6829-4378-A6EF-2B6A713739E1}" dt="2024-06-12T14:56:26.519" v="2227" actId="21"/>
          <ac:spMkLst>
            <pc:docMk/>
            <pc:sldMk cId="0" sldId="324"/>
            <ac:spMk id="5277" creationId="{00000000-0000-0000-0000-000000000000}"/>
          </ac:spMkLst>
        </pc:spChg>
        <pc:picChg chg="add del mod">
          <ac:chgData name="Fivestarly Lathong [Chillibreeze]" userId="479dc9aa-69ea-4a23-b6ea-3a9d26ac15ab" providerId="ADAL" clId="{013ED13C-6829-4378-A6EF-2B6A713739E1}" dt="2024-06-12T14:58:29.637" v="2266" actId="21"/>
          <ac:picMkLst>
            <pc:docMk/>
            <pc:sldMk cId="0" sldId="324"/>
            <ac:picMk id="15" creationId="{0DCDD6E6-9890-52C6-EB5E-37AD7E3C928A}"/>
          </ac:picMkLst>
        </pc:picChg>
        <pc:picChg chg="add del mod">
          <ac:chgData name="Fivestarly Lathong [Chillibreeze]" userId="479dc9aa-69ea-4a23-b6ea-3a9d26ac15ab" providerId="ADAL" clId="{013ED13C-6829-4378-A6EF-2B6A713739E1}" dt="2024-06-12T15:18:17.364" v="2642" actId="21"/>
          <ac:picMkLst>
            <pc:docMk/>
            <pc:sldMk cId="0" sldId="324"/>
            <ac:picMk id="17" creationId="{5E8F6EF9-EA2F-E534-0D47-E55F94746256}"/>
          </ac:picMkLst>
        </pc:picChg>
        <pc:picChg chg="del">
          <ac:chgData name="Fivestarly Lathong [Chillibreeze]" userId="479dc9aa-69ea-4a23-b6ea-3a9d26ac15ab" providerId="ADAL" clId="{013ED13C-6829-4378-A6EF-2B6A713739E1}" dt="2024-06-12T14:56:26.519" v="2227" actId="21"/>
          <ac:picMkLst>
            <pc:docMk/>
            <pc:sldMk cId="0" sldId="324"/>
            <ac:picMk id="5278" creationId="{00000000-0000-0000-0000-000000000000}"/>
          </ac:picMkLst>
        </pc:picChg>
      </pc:sldChg>
      <pc:sldChg chg="addSp delSp modSp mod ord setBg modClrScheme chgLayout modNotesTx">
        <pc:chgData name="Fivestarly Lathong [Chillibreeze]" userId="479dc9aa-69ea-4a23-b6ea-3a9d26ac15ab" providerId="ADAL" clId="{013ED13C-6829-4378-A6EF-2B6A713739E1}" dt="2024-06-12T15:12:39.106" v="2529" actId="21"/>
        <pc:sldMkLst>
          <pc:docMk/>
          <pc:sldMk cId="0" sldId="325"/>
        </pc:sldMkLst>
        <pc:spChg chg="add del">
          <ac:chgData name="Fivestarly Lathong [Chillibreeze]" userId="479dc9aa-69ea-4a23-b6ea-3a9d26ac15ab" providerId="ADAL" clId="{013ED13C-6829-4378-A6EF-2B6A713739E1}" dt="2024-06-12T15:01:47.652" v="2362" actId="478"/>
          <ac:spMkLst>
            <pc:docMk/>
            <pc:sldMk cId="0" sldId="325"/>
            <ac:spMk id="2" creationId="{DE550325-3274-B076-5F66-2B98A9A93FF1}"/>
          </ac:spMkLst>
        </pc:spChg>
        <pc:spChg chg="add mod">
          <ac:chgData name="Fivestarly Lathong [Chillibreeze]" userId="479dc9aa-69ea-4a23-b6ea-3a9d26ac15ab" providerId="ADAL" clId="{013ED13C-6829-4378-A6EF-2B6A713739E1}" dt="2024-06-12T15:01:53.159" v="2365"/>
          <ac:spMkLst>
            <pc:docMk/>
            <pc:sldMk cId="0" sldId="325"/>
            <ac:spMk id="3" creationId="{BE871233-E224-3871-69A9-6389BED115C9}"/>
          </ac:spMkLst>
        </pc:spChg>
        <pc:spChg chg="add mod">
          <ac:chgData name="Fivestarly Lathong [Chillibreeze]" userId="479dc9aa-69ea-4a23-b6ea-3a9d26ac15ab" providerId="ADAL" clId="{013ED13C-6829-4378-A6EF-2B6A713739E1}" dt="2024-06-12T15:05:54.819" v="2441" actId="555"/>
          <ac:spMkLst>
            <pc:docMk/>
            <pc:sldMk cId="0" sldId="325"/>
            <ac:spMk id="5" creationId="{41F0EC2E-B522-F679-8B61-29B6F8B43D4D}"/>
          </ac:spMkLst>
        </pc:spChg>
        <pc:spChg chg="mod">
          <ac:chgData name="Fivestarly Lathong [Chillibreeze]" userId="479dc9aa-69ea-4a23-b6ea-3a9d26ac15ab" providerId="ADAL" clId="{013ED13C-6829-4378-A6EF-2B6A713739E1}" dt="2024-06-12T15:05:41.883" v="2438" actId="404"/>
          <ac:spMkLst>
            <pc:docMk/>
            <pc:sldMk cId="0" sldId="325"/>
            <ac:spMk id="7" creationId="{95BEF6EB-26FC-0A40-58FE-785F68604884}"/>
          </ac:spMkLst>
        </pc:spChg>
        <pc:spChg chg="mod">
          <ac:chgData name="Fivestarly Lathong [Chillibreeze]" userId="479dc9aa-69ea-4a23-b6ea-3a9d26ac15ab" providerId="ADAL" clId="{013ED13C-6829-4378-A6EF-2B6A713739E1}" dt="2024-06-12T15:05:41.883" v="2438" actId="404"/>
          <ac:spMkLst>
            <pc:docMk/>
            <pc:sldMk cId="0" sldId="325"/>
            <ac:spMk id="8" creationId="{4AE16FE6-942A-37F0-2215-82FA25D23155}"/>
          </ac:spMkLst>
        </pc:spChg>
        <pc:spChg chg="mod">
          <ac:chgData name="Fivestarly Lathong [Chillibreeze]" userId="479dc9aa-69ea-4a23-b6ea-3a9d26ac15ab" providerId="ADAL" clId="{013ED13C-6829-4378-A6EF-2B6A713739E1}" dt="2024-06-12T15:05:41.883" v="2438" actId="404"/>
          <ac:spMkLst>
            <pc:docMk/>
            <pc:sldMk cId="0" sldId="325"/>
            <ac:spMk id="10" creationId="{A5FB76DE-B192-C7C7-20DF-DAEA271A2428}"/>
          </ac:spMkLst>
        </pc:spChg>
        <pc:spChg chg="mod">
          <ac:chgData name="Fivestarly Lathong [Chillibreeze]" userId="479dc9aa-69ea-4a23-b6ea-3a9d26ac15ab" providerId="ADAL" clId="{013ED13C-6829-4378-A6EF-2B6A713739E1}" dt="2024-06-12T15:05:41.883" v="2438" actId="404"/>
          <ac:spMkLst>
            <pc:docMk/>
            <pc:sldMk cId="0" sldId="325"/>
            <ac:spMk id="11" creationId="{3A145435-5C61-9D5B-1BE1-8BC6330FC9F0}"/>
          </ac:spMkLst>
        </pc:spChg>
        <pc:spChg chg="mod">
          <ac:chgData name="Fivestarly Lathong [Chillibreeze]" userId="479dc9aa-69ea-4a23-b6ea-3a9d26ac15ab" providerId="ADAL" clId="{013ED13C-6829-4378-A6EF-2B6A713739E1}" dt="2024-06-12T15:05:41.883" v="2438" actId="404"/>
          <ac:spMkLst>
            <pc:docMk/>
            <pc:sldMk cId="0" sldId="325"/>
            <ac:spMk id="13" creationId="{93F62F07-B8EE-BF2E-0957-94C259744E2F}"/>
          </ac:spMkLst>
        </pc:spChg>
        <pc:spChg chg="mod">
          <ac:chgData name="Fivestarly Lathong [Chillibreeze]" userId="479dc9aa-69ea-4a23-b6ea-3a9d26ac15ab" providerId="ADAL" clId="{013ED13C-6829-4378-A6EF-2B6A713739E1}" dt="2024-06-12T15:05:41.883" v="2438" actId="404"/>
          <ac:spMkLst>
            <pc:docMk/>
            <pc:sldMk cId="0" sldId="325"/>
            <ac:spMk id="14" creationId="{638ABA8C-DD91-5DF9-3CC0-DBD9A6A73FC4}"/>
          </ac:spMkLst>
        </pc:spChg>
        <pc:spChg chg="add mod">
          <ac:chgData name="Fivestarly Lathong [Chillibreeze]" userId="479dc9aa-69ea-4a23-b6ea-3a9d26ac15ab" providerId="ADAL" clId="{013ED13C-6829-4378-A6EF-2B6A713739E1}" dt="2024-06-12T15:03:28.591" v="2382"/>
          <ac:spMkLst>
            <pc:docMk/>
            <pc:sldMk cId="0" sldId="325"/>
            <ac:spMk id="16" creationId="{6FED2740-5054-0ACE-8F5A-6AD006D66034}"/>
          </ac:spMkLst>
        </pc:spChg>
        <pc:spChg chg="add del mod">
          <ac:chgData name="Fivestarly Lathong [Chillibreeze]" userId="479dc9aa-69ea-4a23-b6ea-3a9d26ac15ab" providerId="ADAL" clId="{013ED13C-6829-4378-A6EF-2B6A713739E1}" dt="2024-06-12T15:04:28.121" v="2409" actId="21"/>
          <ac:spMkLst>
            <pc:docMk/>
            <pc:sldMk cId="0" sldId="325"/>
            <ac:spMk id="18" creationId="{6AA6321F-10D7-9296-0825-DEE7FE6C1013}"/>
          </ac:spMkLst>
        </pc:spChg>
        <pc:spChg chg="add mod">
          <ac:chgData name="Fivestarly Lathong [Chillibreeze]" userId="479dc9aa-69ea-4a23-b6ea-3a9d26ac15ab" providerId="ADAL" clId="{013ED13C-6829-4378-A6EF-2B6A713739E1}" dt="2024-06-12T15:05:41.883" v="2438" actId="404"/>
          <ac:spMkLst>
            <pc:docMk/>
            <pc:sldMk cId="0" sldId="325"/>
            <ac:spMk id="19" creationId="{601885E9-9157-3803-D6CE-AE7BCB57FCF0}"/>
          </ac:spMkLst>
        </pc:spChg>
        <pc:spChg chg="add del mod">
          <ac:chgData name="Fivestarly Lathong [Chillibreeze]" userId="479dc9aa-69ea-4a23-b6ea-3a9d26ac15ab" providerId="ADAL" clId="{013ED13C-6829-4378-A6EF-2B6A713739E1}" dt="2024-06-12T15:04:28.121" v="2409" actId="21"/>
          <ac:spMkLst>
            <pc:docMk/>
            <pc:sldMk cId="0" sldId="325"/>
            <ac:spMk id="20" creationId="{1639AC9A-79FA-581B-51CD-CBA0B2BB4DC2}"/>
          </ac:spMkLst>
        </pc:spChg>
        <pc:spChg chg="add mod">
          <ac:chgData name="Fivestarly Lathong [Chillibreeze]" userId="479dc9aa-69ea-4a23-b6ea-3a9d26ac15ab" providerId="ADAL" clId="{013ED13C-6829-4378-A6EF-2B6A713739E1}" dt="2024-06-12T15:05:41.883" v="2438" actId="404"/>
          <ac:spMkLst>
            <pc:docMk/>
            <pc:sldMk cId="0" sldId="325"/>
            <ac:spMk id="21" creationId="{C948F333-CF15-9581-17D9-7D9D1B81B2B1}"/>
          </ac:spMkLst>
        </pc:spChg>
        <pc:spChg chg="add del mod">
          <ac:chgData name="Fivestarly Lathong [Chillibreeze]" userId="479dc9aa-69ea-4a23-b6ea-3a9d26ac15ab" providerId="ADAL" clId="{013ED13C-6829-4378-A6EF-2B6A713739E1}" dt="2024-06-12T15:04:28.121" v="2409" actId="21"/>
          <ac:spMkLst>
            <pc:docMk/>
            <pc:sldMk cId="0" sldId="325"/>
            <ac:spMk id="22" creationId="{7B00A63F-69EF-583E-A431-D082EBBA3441}"/>
          </ac:spMkLst>
        </pc:spChg>
        <pc:spChg chg="add mod">
          <ac:chgData name="Fivestarly Lathong [Chillibreeze]" userId="479dc9aa-69ea-4a23-b6ea-3a9d26ac15ab" providerId="ADAL" clId="{013ED13C-6829-4378-A6EF-2B6A713739E1}" dt="2024-06-12T15:05:41.883" v="2438" actId="404"/>
          <ac:spMkLst>
            <pc:docMk/>
            <pc:sldMk cId="0" sldId="325"/>
            <ac:spMk id="23" creationId="{BA2F5A8C-832E-8BD8-EAB4-5766FED1D4F0}"/>
          </ac:spMkLst>
        </pc:spChg>
        <pc:spChg chg="add mod ord">
          <ac:chgData name="Fivestarly Lathong [Chillibreeze]" userId="479dc9aa-69ea-4a23-b6ea-3a9d26ac15ab" providerId="ADAL" clId="{013ED13C-6829-4378-A6EF-2B6A713739E1}" dt="2024-06-12T15:03:22.271" v="2379" actId="207"/>
          <ac:spMkLst>
            <pc:docMk/>
            <pc:sldMk cId="0" sldId="325"/>
            <ac:spMk id="24" creationId="{A45B5091-E812-9894-D492-002839083E29}"/>
          </ac:spMkLst>
        </pc:spChg>
        <pc:spChg chg="mod">
          <ac:chgData name="Fivestarly Lathong [Chillibreeze]" userId="479dc9aa-69ea-4a23-b6ea-3a9d26ac15ab" providerId="ADAL" clId="{013ED13C-6829-4378-A6EF-2B6A713739E1}" dt="2024-06-12T15:05:41.883" v="2438" actId="404"/>
          <ac:spMkLst>
            <pc:docMk/>
            <pc:sldMk cId="0" sldId="325"/>
            <ac:spMk id="29" creationId="{D4118DE3-65BB-E397-0204-089E14F8E429}"/>
          </ac:spMkLst>
        </pc:spChg>
        <pc:spChg chg="add del mod">
          <ac:chgData name="Fivestarly Lathong [Chillibreeze]" userId="479dc9aa-69ea-4a23-b6ea-3a9d26ac15ab" providerId="ADAL" clId="{013ED13C-6829-4378-A6EF-2B6A713739E1}" dt="2024-06-12T15:03:10.968" v="2373" actId="21"/>
          <ac:spMkLst>
            <pc:docMk/>
            <pc:sldMk cId="0" sldId="325"/>
            <ac:spMk id="30" creationId="{21C430E2-56E1-D5D3-3337-FEFEAEA118B9}"/>
          </ac:spMkLst>
        </pc:spChg>
        <pc:spChg chg="mod">
          <ac:chgData name="Fivestarly Lathong [Chillibreeze]" userId="479dc9aa-69ea-4a23-b6ea-3a9d26ac15ab" providerId="ADAL" clId="{013ED13C-6829-4378-A6EF-2B6A713739E1}" dt="2024-06-12T15:05:41.883" v="2438" actId="404"/>
          <ac:spMkLst>
            <pc:docMk/>
            <pc:sldMk cId="0" sldId="325"/>
            <ac:spMk id="31" creationId="{465756C3-A5BC-4440-C901-9EAE930CCA13}"/>
          </ac:spMkLst>
        </pc:spChg>
        <pc:spChg chg="mod">
          <ac:chgData name="Fivestarly Lathong [Chillibreeze]" userId="479dc9aa-69ea-4a23-b6ea-3a9d26ac15ab" providerId="ADAL" clId="{013ED13C-6829-4378-A6EF-2B6A713739E1}" dt="2024-06-12T15:05:41.883" v="2438" actId="404"/>
          <ac:spMkLst>
            <pc:docMk/>
            <pc:sldMk cId="0" sldId="325"/>
            <ac:spMk id="32" creationId="{02C84ABA-E65B-1A1B-C781-C0B69BE87AB1}"/>
          </ac:spMkLst>
        </pc:spChg>
        <pc:spChg chg="add del mod">
          <ac:chgData name="Fivestarly Lathong [Chillibreeze]" userId="479dc9aa-69ea-4a23-b6ea-3a9d26ac15ab" providerId="ADAL" clId="{013ED13C-6829-4378-A6EF-2B6A713739E1}" dt="2024-06-12T15:12:39.106" v="2529" actId="21"/>
          <ac:spMkLst>
            <pc:docMk/>
            <pc:sldMk cId="0" sldId="325"/>
            <ac:spMk id="36" creationId="{EFCF1D41-7537-44A3-9908-24D72BDD6E89}"/>
          </ac:spMkLst>
        </pc:spChg>
        <pc:spChg chg="add del">
          <ac:chgData name="Fivestarly Lathong [Chillibreeze]" userId="479dc9aa-69ea-4a23-b6ea-3a9d26ac15ab" providerId="ADAL" clId="{013ED13C-6829-4378-A6EF-2B6A713739E1}" dt="2024-06-12T15:01:47.652" v="2362" actId="478"/>
          <ac:spMkLst>
            <pc:docMk/>
            <pc:sldMk cId="0" sldId="325"/>
            <ac:spMk id="5283" creationId="{00000000-0000-0000-0000-000000000000}"/>
          </ac:spMkLst>
        </pc:spChg>
        <pc:spChg chg="add del">
          <ac:chgData name="Fivestarly Lathong [Chillibreeze]" userId="479dc9aa-69ea-4a23-b6ea-3a9d26ac15ab" providerId="ADAL" clId="{013ED13C-6829-4378-A6EF-2B6A713739E1}" dt="2024-06-12T15:01:47.652" v="2362" actId="478"/>
          <ac:spMkLst>
            <pc:docMk/>
            <pc:sldMk cId="0" sldId="325"/>
            <ac:spMk id="5284" creationId="{00000000-0000-0000-0000-000000000000}"/>
          </ac:spMkLst>
        </pc:spChg>
        <pc:spChg chg="add del">
          <ac:chgData name="Fivestarly Lathong [Chillibreeze]" userId="479dc9aa-69ea-4a23-b6ea-3a9d26ac15ab" providerId="ADAL" clId="{013ED13C-6829-4378-A6EF-2B6A713739E1}" dt="2024-06-12T15:01:47.652" v="2362" actId="478"/>
          <ac:spMkLst>
            <pc:docMk/>
            <pc:sldMk cId="0" sldId="325"/>
            <ac:spMk id="5285" creationId="{00000000-0000-0000-0000-000000000000}"/>
          </ac:spMkLst>
        </pc:spChg>
        <pc:spChg chg="add del">
          <ac:chgData name="Fivestarly Lathong [Chillibreeze]" userId="479dc9aa-69ea-4a23-b6ea-3a9d26ac15ab" providerId="ADAL" clId="{013ED13C-6829-4378-A6EF-2B6A713739E1}" dt="2024-06-12T15:01:47.652" v="2362" actId="478"/>
          <ac:spMkLst>
            <pc:docMk/>
            <pc:sldMk cId="0" sldId="325"/>
            <ac:spMk id="5287" creationId="{00000000-0000-0000-0000-000000000000}"/>
          </ac:spMkLst>
        </pc:spChg>
        <pc:spChg chg="add del">
          <ac:chgData name="Fivestarly Lathong [Chillibreeze]" userId="479dc9aa-69ea-4a23-b6ea-3a9d26ac15ab" providerId="ADAL" clId="{013ED13C-6829-4378-A6EF-2B6A713739E1}" dt="2024-06-12T15:01:47.652" v="2362" actId="478"/>
          <ac:spMkLst>
            <pc:docMk/>
            <pc:sldMk cId="0" sldId="325"/>
            <ac:spMk id="5288" creationId="{00000000-0000-0000-0000-000000000000}"/>
          </ac:spMkLst>
        </pc:spChg>
        <pc:spChg chg="add del">
          <ac:chgData name="Fivestarly Lathong [Chillibreeze]" userId="479dc9aa-69ea-4a23-b6ea-3a9d26ac15ab" providerId="ADAL" clId="{013ED13C-6829-4378-A6EF-2B6A713739E1}" dt="2024-06-12T15:01:47.652" v="2362" actId="478"/>
          <ac:spMkLst>
            <pc:docMk/>
            <pc:sldMk cId="0" sldId="325"/>
            <ac:spMk id="5289" creationId="{00000000-0000-0000-0000-000000000000}"/>
          </ac:spMkLst>
        </pc:spChg>
        <pc:spChg chg="add del">
          <ac:chgData name="Fivestarly Lathong [Chillibreeze]" userId="479dc9aa-69ea-4a23-b6ea-3a9d26ac15ab" providerId="ADAL" clId="{013ED13C-6829-4378-A6EF-2B6A713739E1}" dt="2024-06-12T15:01:47.652" v="2362" actId="478"/>
          <ac:spMkLst>
            <pc:docMk/>
            <pc:sldMk cId="0" sldId="325"/>
            <ac:spMk id="5309" creationId="{00000000-0000-0000-0000-000000000000}"/>
          </ac:spMkLst>
        </pc:spChg>
        <pc:spChg chg="add del">
          <ac:chgData name="Fivestarly Lathong [Chillibreeze]" userId="479dc9aa-69ea-4a23-b6ea-3a9d26ac15ab" providerId="ADAL" clId="{013ED13C-6829-4378-A6EF-2B6A713739E1}" dt="2024-06-12T15:01:47.652" v="2362" actId="478"/>
          <ac:spMkLst>
            <pc:docMk/>
            <pc:sldMk cId="0" sldId="325"/>
            <ac:spMk id="5310" creationId="{00000000-0000-0000-0000-000000000000}"/>
          </ac:spMkLst>
        </pc:spChg>
        <pc:spChg chg="add del">
          <ac:chgData name="Fivestarly Lathong [Chillibreeze]" userId="479dc9aa-69ea-4a23-b6ea-3a9d26ac15ab" providerId="ADAL" clId="{013ED13C-6829-4378-A6EF-2B6A713739E1}" dt="2024-06-12T15:01:47.652" v="2362" actId="478"/>
          <ac:spMkLst>
            <pc:docMk/>
            <pc:sldMk cId="0" sldId="325"/>
            <ac:spMk id="5311" creationId="{00000000-0000-0000-0000-000000000000}"/>
          </ac:spMkLst>
        </pc:spChg>
        <pc:spChg chg="add del">
          <ac:chgData name="Fivestarly Lathong [Chillibreeze]" userId="479dc9aa-69ea-4a23-b6ea-3a9d26ac15ab" providerId="ADAL" clId="{013ED13C-6829-4378-A6EF-2B6A713739E1}" dt="2024-06-12T15:01:47.652" v="2362" actId="478"/>
          <ac:spMkLst>
            <pc:docMk/>
            <pc:sldMk cId="0" sldId="325"/>
            <ac:spMk id="5312" creationId="{00000000-0000-0000-0000-000000000000}"/>
          </ac:spMkLst>
        </pc:spChg>
        <pc:spChg chg="add del">
          <ac:chgData name="Fivestarly Lathong [Chillibreeze]" userId="479dc9aa-69ea-4a23-b6ea-3a9d26ac15ab" providerId="ADAL" clId="{013ED13C-6829-4378-A6EF-2B6A713739E1}" dt="2024-06-12T15:01:47.652" v="2362" actId="478"/>
          <ac:spMkLst>
            <pc:docMk/>
            <pc:sldMk cId="0" sldId="325"/>
            <ac:spMk id="5313" creationId="{00000000-0000-0000-0000-000000000000}"/>
          </ac:spMkLst>
        </pc:spChg>
        <pc:spChg chg="add del">
          <ac:chgData name="Fivestarly Lathong [Chillibreeze]" userId="479dc9aa-69ea-4a23-b6ea-3a9d26ac15ab" providerId="ADAL" clId="{013ED13C-6829-4378-A6EF-2B6A713739E1}" dt="2024-06-12T15:01:47.652" v="2362" actId="478"/>
          <ac:spMkLst>
            <pc:docMk/>
            <pc:sldMk cId="0" sldId="325"/>
            <ac:spMk id="5314" creationId="{00000000-0000-0000-0000-000000000000}"/>
          </ac:spMkLst>
        </pc:spChg>
        <pc:spChg chg="add del">
          <ac:chgData name="Fivestarly Lathong [Chillibreeze]" userId="479dc9aa-69ea-4a23-b6ea-3a9d26ac15ab" providerId="ADAL" clId="{013ED13C-6829-4378-A6EF-2B6A713739E1}" dt="2024-06-12T15:01:47.652" v="2362" actId="478"/>
          <ac:spMkLst>
            <pc:docMk/>
            <pc:sldMk cId="0" sldId="325"/>
            <ac:spMk id="5315" creationId="{00000000-0000-0000-0000-000000000000}"/>
          </ac:spMkLst>
        </pc:spChg>
        <pc:grpChg chg="add mod">
          <ac:chgData name="Fivestarly Lathong [Chillibreeze]" userId="479dc9aa-69ea-4a23-b6ea-3a9d26ac15ab" providerId="ADAL" clId="{013ED13C-6829-4378-A6EF-2B6A713739E1}" dt="2024-06-12T15:05:24.981" v="2434" actId="164"/>
          <ac:grpSpMkLst>
            <pc:docMk/>
            <pc:sldMk cId="0" sldId="325"/>
            <ac:grpSpMk id="6" creationId="{53D46360-60AD-559B-F65A-AEAB14251763}"/>
          </ac:grpSpMkLst>
        </pc:grpChg>
        <pc:grpChg chg="add del mod">
          <ac:chgData name="Fivestarly Lathong [Chillibreeze]" userId="479dc9aa-69ea-4a23-b6ea-3a9d26ac15ab" providerId="ADAL" clId="{013ED13C-6829-4378-A6EF-2B6A713739E1}" dt="2024-06-12T15:04:47.418" v="2416" actId="164"/>
          <ac:grpSpMkLst>
            <pc:docMk/>
            <pc:sldMk cId="0" sldId="325"/>
            <ac:grpSpMk id="9" creationId="{721BF4E6-73C1-A0BB-8CCC-A6567E197A0A}"/>
          </ac:grpSpMkLst>
        </pc:grpChg>
        <pc:grpChg chg="add del mod">
          <ac:chgData name="Fivestarly Lathong [Chillibreeze]" userId="479dc9aa-69ea-4a23-b6ea-3a9d26ac15ab" providerId="ADAL" clId="{013ED13C-6829-4378-A6EF-2B6A713739E1}" dt="2024-06-12T15:04:53.340" v="2419" actId="164"/>
          <ac:grpSpMkLst>
            <pc:docMk/>
            <pc:sldMk cId="0" sldId="325"/>
            <ac:grpSpMk id="12" creationId="{C28AD939-1080-FDFC-B89A-3D0048661DB5}"/>
          </ac:grpSpMkLst>
        </pc:grpChg>
        <pc:grpChg chg="add mod">
          <ac:chgData name="Fivestarly Lathong [Chillibreeze]" userId="479dc9aa-69ea-4a23-b6ea-3a9d26ac15ab" providerId="ADAL" clId="{013ED13C-6829-4378-A6EF-2B6A713739E1}" dt="2024-06-12T15:05:57.394" v="2442" actId="465"/>
          <ac:grpSpMkLst>
            <pc:docMk/>
            <pc:sldMk cId="0" sldId="325"/>
            <ac:grpSpMk id="25" creationId="{DCEF7519-AA49-224D-5908-191D75B4935D}"/>
          </ac:grpSpMkLst>
        </pc:grpChg>
        <pc:grpChg chg="add mod">
          <ac:chgData name="Fivestarly Lathong [Chillibreeze]" userId="479dc9aa-69ea-4a23-b6ea-3a9d26ac15ab" providerId="ADAL" clId="{013ED13C-6829-4378-A6EF-2B6A713739E1}" dt="2024-06-12T15:05:57.394" v="2442" actId="465"/>
          <ac:grpSpMkLst>
            <pc:docMk/>
            <pc:sldMk cId="0" sldId="325"/>
            <ac:grpSpMk id="26" creationId="{DB911C4D-DE66-C9CF-0C63-57F79C2E503D}"/>
          </ac:grpSpMkLst>
        </pc:grpChg>
        <pc:grpChg chg="add mod">
          <ac:chgData name="Fivestarly Lathong [Chillibreeze]" userId="479dc9aa-69ea-4a23-b6ea-3a9d26ac15ab" providerId="ADAL" clId="{013ED13C-6829-4378-A6EF-2B6A713739E1}" dt="2024-06-12T15:05:54.819" v="2441" actId="555"/>
          <ac:grpSpMkLst>
            <pc:docMk/>
            <pc:sldMk cId="0" sldId="325"/>
            <ac:grpSpMk id="27" creationId="{910696CA-B2CD-23A9-261B-6BD2EABC0D0B}"/>
          </ac:grpSpMkLst>
        </pc:grpChg>
        <pc:grpChg chg="mod">
          <ac:chgData name="Fivestarly Lathong [Chillibreeze]" userId="479dc9aa-69ea-4a23-b6ea-3a9d26ac15ab" providerId="ADAL" clId="{013ED13C-6829-4378-A6EF-2B6A713739E1}" dt="2024-06-12T15:05:07.408" v="2429"/>
          <ac:grpSpMkLst>
            <pc:docMk/>
            <pc:sldMk cId="0" sldId="325"/>
            <ac:grpSpMk id="28" creationId="{D005A554-CA48-AD32-F676-FB754D46D1EB}"/>
          </ac:grpSpMkLst>
        </pc:grpChg>
        <pc:grpChg chg="add mod">
          <ac:chgData name="Fivestarly Lathong [Chillibreeze]" userId="479dc9aa-69ea-4a23-b6ea-3a9d26ac15ab" providerId="ADAL" clId="{013ED13C-6829-4378-A6EF-2B6A713739E1}" dt="2024-06-12T15:05:24.981" v="2434" actId="164"/>
          <ac:grpSpMkLst>
            <pc:docMk/>
            <pc:sldMk cId="0" sldId="325"/>
            <ac:grpSpMk id="35" creationId="{A18CD075-E72F-609C-45E3-D18591CF1842}"/>
          </ac:grpSpMkLst>
        </pc:grpChg>
        <pc:grpChg chg="add del">
          <ac:chgData name="Fivestarly Lathong [Chillibreeze]" userId="479dc9aa-69ea-4a23-b6ea-3a9d26ac15ab" providerId="ADAL" clId="{013ED13C-6829-4378-A6EF-2B6A713739E1}" dt="2024-06-12T15:01:47.652" v="2362" actId="478"/>
          <ac:grpSpMkLst>
            <pc:docMk/>
            <pc:sldMk cId="0" sldId="325"/>
            <ac:grpSpMk id="5290" creationId="{00000000-0000-0000-0000-000000000000}"/>
          </ac:grpSpMkLst>
        </pc:grpChg>
        <pc:picChg chg="add mod">
          <ac:chgData name="Fivestarly Lathong [Chillibreeze]" userId="479dc9aa-69ea-4a23-b6ea-3a9d26ac15ab" providerId="ADAL" clId="{013ED13C-6829-4378-A6EF-2B6A713739E1}" dt="2024-06-12T15:01:53.159" v="2365"/>
          <ac:picMkLst>
            <pc:docMk/>
            <pc:sldMk cId="0" sldId="325"/>
            <ac:picMk id="15" creationId="{73D6B759-913C-AB11-8848-EC5471A1E4EA}"/>
          </ac:picMkLst>
        </pc:picChg>
        <pc:picChg chg="add mod">
          <ac:chgData name="Fivestarly Lathong [Chillibreeze]" userId="479dc9aa-69ea-4a23-b6ea-3a9d26ac15ab" providerId="ADAL" clId="{013ED13C-6829-4378-A6EF-2B6A713739E1}" dt="2024-06-12T15:01:53.159" v="2365"/>
          <ac:picMkLst>
            <pc:docMk/>
            <pc:sldMk cId="0" sldId="325"/>
            <ac:picMk id="17" creationId="{12CC2F8D-54BF-2B79-8A5A-974376589643}"/>
          </ac:picMkLst>
        </pc:picChg>
        <pc:picChg chg="add del">
          <ac:chgData name="Fivestarly Lathong [Chillibreeze]" userId="479dc9aa-69ea-4a23-b6ea-3a9d26ac15ab" providerId="ADAL" clId="{013ED13C-6829-4378-A6EF-2B6A713739E1}" dt="2024-06-12T15:05:03.782" v="2424" actId="22"/>
          <ac:picMkLst>
            <pc:docMk/>
            <pc:sldMk cId="0" sldId="325"/>
            <ac:picMk id="34" creationId="{1A726476-4AE1-5315-9D07-A9FEED252716}"/>
          </ac:picMkLst>
        </pc:picChg>
        <pc:picChg chg="add del">
          <ac:chgData name="Fivestarly Lathong [Chillibreeze]" userId="479dc9aa-69ea-4a23-b6ea-3a9d26ac15ab" providerId="ADAL" clId="{013ED13C-6829-4378-A6EF-2B6A713739E1}" dt="2024-06-12T15:01:47.652" v="2362" actId="478"/>
          <ac:picMkLst>
            <pc:docMk/>
            <pc:sldMk cId="0" sldId="325"/>
            <ac:picMk id="5286" creationId="{00000000-0000-0000-0000-000000000000}"/>
          </ac:picMkLst>
        </pc:picChg>
        <pc:cxnChg chg="add mod">
          <ac:chgData name="Fivestarly Lathong [Chillibreeze]" userId="479dc9aa-69ea-4a23-b6ea-3a9d26ac15ab" providerId="ADAL" clId="{013ED13C-6829-4378-A6EF-2B6A713739E1}" dt="2024-06-12T15:01:53.159" v="2365"/>
          <ac:cxnSpMkLst>
            <pc:docMk/>
            <pc:sldMk cId="0" sldId="325"/>
            <ac:cxnSpMk id="4" creationId="{EA72C002-0A2E-94B8-576C-1D2AD36A52DF}"/>
          </ac:cxnSpMkLst>
        </pc:cxnChg>
      </pc:sldChg>
      <pc:sldChg chg="addSp delSp modSp mod setBg modClrScheme chgLayout modNotesTx">
        <pc:chgData name="Fivestarly Lathong [Chillibreeze]" userId="479dc9aa-69ea-4a23-b6ea-3a9d26ac15ab" providerId="ADAL" clId="{013ED13C-6829-4378-A6EF-2B6A713739E1}" dt="2024-06-12T15:11:38.373" v="2522" actId="465"/>
        <pc:sldMkLst>
          <pc:docMk/>
          <pc:sldMk cId="0" sldId="326"/>
        </pc:sldMkLst>
        <pc:spChg chg="del">
          <ac:chgData name="Fivestarly Lathong [Chillibreeze]" userId="479dc9aa-69ea-4a23-b6ea-3a9d26ac15ab" providerId="ADAL" clId="{013ED13C-6829-4378-A6EF-2B6A713739E1}" dt="2024-06-12T15:09:41.671" v="2446" actId="21"/>
          <ac:spMkLst>
            <pc:docMk/>
            <pc:sldMk cId="0" sldId="326"/>
            <ac:spMk id="2" creationId="{5C3D149E-7D56-3BD7-D500-3C6C4A8DD1CD}"/>
          </ac:spMkLst>
        </pc:spChg>
        <pc:spChg chg="add mod ord">
          <ac:chgData name="Fivestarly Lathong [Chillibreeze]" userId="479dc9aa-69ea-4a23-b6ea-3a9d26ac15ab" providerId="ADAL" clId="{013ED13C-6829-4378-A6EF-2B6A713739E1}" dt="2024-06-12T15:10:41.588" v="2501" actId="207"/>
          <ac:spMkLst>
            <pc:docMk/>
            <pc:sldMk cId="0" sldId="326"/>
            <ac:spMk id="3" creationId="{D22C4184-C8F0-3879-23D7-6840046573E7}"/>
          </ac:spMkLst>
        </pc:spChg>
        <pc:spChg chg="add mod">
          <ac:chgData name="Fivestarly Lathong [Chillibreeze]" userId="479dc9aa-69ea-4a23-b6ea-3a9d26ac15ab" providerId="ADAL" clId="{013ED13C-6829-4378-A6EF-2B6A713739E1}" dt="2024-06-12T15:10:09.915" v="2451"/>
          <ac:spMkLst>
            <pc:docMk/>
            <pc:sldMk cId="0" sldId="326"/>
            <ac:spMk id="4" creationId="{A30AFEE0-D64B-8CE0-B0B9-EA2185599998}"/>
          </ac:spMkLst>
        </pc:spChg>
        <pc:spChg chg="add mod">
          <ac:chgData name="Fivestarly Lathong [Chillibreeze]" userId="479dc9aa-69ea-4a23-b6ea-3a9d26ac15ab" providerId="ADAL" clId="{013ED13C-6829-4378-A6EF-2B6A713739E1}" dt="2024-06-12T15:11:35.868" v="2521" actId="555"/>
          <ac:spMkLst>
            <pc:docMk/>
            <pc:sldMk cId="0" sldId="326"/>
            <ac:spMk id="6" creationId="{FC4BE4C6-051F-F4F6-8504-3461168B43A2}"/>
          </ac:spMkLst>
        </pc:spChg>
        <pc:spChg chg="add mod">
          <ac:chgData name="Fivestarly Lathong [Chillibreeze]" userId="479dc9aa-69ea-4a23-b6ea-3a9d26ac15ab" providerId="ADAL" clId="{013ED13C-6829-4378-A6EF-2B6A713739E1}" dt="2024-06-12T15:10:09.915" v="2451"/>
          <ac:spMkLst>
            <pc:docMk/>
            <pc:sldMk cId="0" sldId="326"/>
            <ac:spMk id="8" creationId="{2B8D49B1-B12E-5477-19E8-C91CB59E7265}"/>
          </ac:spMkLst>
        </pc:spChg>
        <pc:spChg chg="mod">
          <ac:chgData name="Fivestarly Lathong [Chillibreeze]" userId="479dc9aa-69ea-4a23-b6ea-3a9d26ac15ab" providerId="ADAL" clId="{013ED13C-6829-4378-A6EF-2B6A713739E1}" dt="2024-06-12T15:10:58.642" v="2506"/>
          <ac:spMkLst>
            <pc:docMk/>
            <pc:sldMk cId="0" sldId="326"/>
            <ac:spMk id="12" creationId="{B99D7287-C973-89C0-4A40-55765BC7770D}"/>
          </ac:spMkLst>
        </pc:spChg>
        <pc:spChg chg="mod">
          <ac:chgData name="Fivestarly Lathong [Chillibreeze]" userId="479dc9aa-69ea-4a23-b6ea-3a9d26ac15ab" providerId="ADAL" clId="{013ED13C-6829-4378-A6EF-2B6A713739E1}" dt="2024-06-12T15:10:58.642" v="2506"/>
          <ac:spMkLst>
            <pc:docMk/>
            <pc:sldMk cId="0" sldId="326"/>
            <ac:spMk id="13" creationId="{0F11976C-F16B-F76F-C6DF-76C880781D6C}"/>
          </ac:spMkLst>
        </pc:spChg>
        <pc:spChg chg="mod">
          <ac:chgData name="Fivestarly Lathong [Chillibreeze]" userId="479dc9aa-69ea-4a23-b6ea-3a9d26ac15ab" providerId="ADAL" clId="{013ED13C-6829-4378-A6EF-2B6A713739E1}" dt="2024-06-12T15:10:58.642" v="2506"/>
          <ac:spMkLst>
            <pc:docMk/>
            <pc:sldMk cId="0" sldId="326"/>
            <ac:spMk id="14" creationId="{1C888A36-D0AC-43D4-3C27-18E76B210108}"/>
          </ac:spMkLst>
        </pc:spChg>
        <pc:spChg chg="mod">
          <ac:chgData name="Fivestarly Lathong [Chillibreeze]" userId="479dc9aa-69ea-4a23-b6ea-3a9d26ac15ab" providerId="ADAL" clId="{013ED13C-6829-4378-A6EF-2B6A713739E1}" dt="2024-06-12T15:11:24.311" v="2514"/>
          <ac:spMkLst>
            <pc:docMk/>
            <pc:sldMk cId="0" sldId="326"/>
            <ac:spMk id="17" creationId="{1FC0648B-3C73-FF3C-9DDA-88862BEA0DBB}"/>
          </ac:spMkLst>
        </pc:spChg>
        <pc:spChg chg="mod">
          <ac:chgData name="Fivestarly Lathong [Chillibreeze]" userId="479dc9aa-69ea-4a23-b6ea-3a9d26ac15ab" providerId="ADAL" clId="{013ED13C-6829-4378-A6EF-2B6A713739E1}" dt="2024-06-12T15:10:09.915" v="2451"/>
          <ac:spMkLst>
            <pc:docMk/>
            <pc:sldMk cId="0" sldId="326"/>
            <ac:spMk id="18" creationId="{30C53A9C-7A24-C589-1B09-8A34E438D7CA}"/>
          </ac:spMkLst>
        </pc:spChg>
        <pc:spChg chg="mod">
          <ac:chgData name="Fivestarly Lathong [Chillibreeze]" userId="479dc9aa-69ea-4a23-b6ea-3a9d26ac15ab" providerId="ADAL" clId="{013ED13C-6829-4378-A6EF-2B6A713739E1}" dt="2024-06-12T15:10:09.915" v="2451"/>
          <ac:spMkLst>
            <pc:docMk/>
            <pc:sldMk cId="0" sldId="326"/>
            <ac:spMk id="19" creationId="{8862C80D-7369-A2C5-8F6C-AF8268D2E3D0}"/>
          </ac:spMkLst>
        </pc:spChg>
        <pc:spChg chg="mod">
          <ac:chgData name="Fivestarly Lathong [Chillibreeze]" userId="479dc9aa-69ea-4a23-b6ea-3a9d26ac15ab" providerId="ADAL" clId="{013ED13C-6829-4378-A6EF-2B6A713739E1}" dt="2024-06-12T15:11:32.131" v="2519"/>
          <ac:spMkLst>
            <pc:docMk/>
            <pc:sldMk cId="0" sldId="326"/>
            <ac:spMk id="22" creationId="{A2FC5AD5-3A18-FD2B-C97B-124A52A7CCB4}"/>
          </ac:spMkLst>
        </pc:spChg>
        <pc:spChg chg="mod">
          <ac:chgData name="Fivestarly Lathong [Chillibreeze]" userId="479dc9aa-69ea-4a23-b6ea-3a9d26ac15ab" providerId="ADAL" clId="{013ED13C-6829-4378-A6EF-2B6A713739E1}" dt="2024-06-12T15:11:32.131" v="2519"/>
          <ac:spMkLst>
            <pc:docMk/>
            <pc:sldMk cId="0" sldId="326"/>
            <ac:spMk id="23" creationId="{EB7D3934-9999-1220-83BB-4D6F5D7E85E4}"/>
          </ac:spMkLst>
        </pc:spChg>
        <pc:spChg chg="mod">
          <ac:chgData name="Fivestarly Lathong [Chillibreeze]" userId="479dc9aa-69ea-4a23-b6ea-3a9d26ac15ab" providerId="ADAL" clId="{013ED13C-6829-4378-A6EF-2B6A713739E1}" dt="2024-06-12T15:11:32.131" v="2519"/>
          <ac:spMkLst>
            <pc:docMk/>
            <pc:sldMk cId="0" sldId="326"/>
            <ac:spMk id="24" creationId="{F46E385E-3155-09B6-BFDA-230CE57DA5D9}"/>
          </ac:spMkLst>
        </pc:spChg>
        <pc:spChg chg="add del mod ord">
          <ac:chgData name="Fivestarly Lathong [Chillibreeze]" userId="479dc9aa-69ea-4a23-b6ea-3a9d26ac15ab" providerId="ADAL" clId="{013ED13C-6829-4378-A6EF-2B6A713739E1}" dt="2024-06-12T15:10:31.585" v="2498" actId="21"/>
          <ac:spMkLst>
            <pc:docMk/>
            <pc:sldMk cId="0" sldId="326"/>
            <ac:spMk id="25" creationId="{E447BBAB-3BAC-4C45-5375-5E965715B8B8}"/>
          </ac:spMkLst>
        </pc:spChg>
        <pc:spChg chg="mod">
          <ac:chgData name="Fivestarly Lathong [Chillibreeze]" userId="479dc9aa-69ea-4a23-b6ea-3a9d26ac15ab" providerId="ADAL" clId="{013ED13C-6829-4378-A6EF-2B6A713739E1}" dt="2024-06-12T15:10:09.915" v="2451"/>
          <ac:spMkLst>
            <pc:docMk/>
            <pc:sldMk cId="0" sldId="326"/>
            <ac:spMk id="28" creationId="{DBC594EB-B029-ED84-488A-89DD5CB40422}"/>
          </ac:spMkLst>
        </pc:spChg>
        <pc:spChg chg="mod">
          <ac:chgData name="Fivestarly Lathong [Chillibreeze]" userId="479dc9aa-69ea-4a23-b6ea-3a9d26ac15ab" providerId="ADAL" clId="{013ED13C-6829-4378-A6EF-2B6A713739E1}" dt="2024-06-12T15:10:09.915" v="2451"/>
          <ac:spMkLst>
            <pc:docMk/>
            <pc:sldMk cId="0" sldId="326"/>
            <ac:spMk id="29" creationId="{049BF0F0-37D8-8295-151C-6642CBAE8109}"/>
          </ac:spMkLst>
        </pc:spChg>
        <pc:spChg chg="mod">
          <ac:chgData name="Fivestarly Lathong [Chillibreeze]" userId="479dc9aa-69ea-4a23-b6ea-3a9d26ac15ab" providerId="ADAL" clId="{013ED13C-6829-4378-A6EF-2B6A713739E1}" dt="2024-06-12T15:10:09.915" v="2451"/>
          <ac:spMkLst>
            <pc:docMk/>
            <pc:sldMk cId="0" sldId="326"/>
            <ac:spMk id="30" creationId="{536497DA-52B3-BB77-EABF-465540C10D89}"/>
          </ac:spMkLst>
        </pc:spChg>
        <pc:spChg chg="del">
          <ac:chgData name="Fivestarly Lathong [Chillibreeze]" userId="479dc9aa-69ea-4a23-b6ea-3a9d26ac15ab" providerId="ADAL" clId="{013ED13C-6829-4378-A6EF-2B6A713739E1}" dt="2024-06-12T15:09:41.671" v="2446" actId="21"/>
          <ac:spMkLst>
            <pc:docMk/>
            <pc:sldMk cId="0" sldId="326"/>
            <ac:spMk id="5320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5:09:41.671" v="2446" actId="21"/>
          <ac:spMkLst>
            <pc:docMk/>
            <pc:sldMk cId="0" sldId="326"/>
            <ac:spMk id="5321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5:09:41.671" v="2446" actId="21"/>
          <ac:spMkLst>
            <pc:docMk/>
            <pc:sldMk cId="0" sldId="326"/>
            <ac:spMk id="5322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5:09:41.671" v="2446" actId="21"/>
          <ac:spMkLst>
            <pc:docMk/>
            <pc:sldMk cId="0" sldId="326"/>
            <ac:spMk id="5343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5:09:41.671" v="2446" actId="21"/>
          <ac:spMkLst>
            <pc:docMk/>
            <pc:sldMk cId="0" sldId="326"/>
            <ac:spMk id="5344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5:09:41.671" v="2446" actId="21"/>
          <ac:spMkLst>
            <pc:docMk/>
            <pc:sldMk cId="0" sldId="326"/>
            <ac:spMk id="5345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5:09:41.671" v="2446" actId="21"/>
          <ac:spMkLst>
            <pc:docMk/>
            <pc:sldMk cId="0" sldId="326"/>
            <ac:spMk id="5346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5:09:41.671" v="2446" actId="21"/>
          <ac:spMkLst>
            <pc:docMk/>
            <pc:sldMk cId="0" sldId="326"/>
            <ac:spMk id="5347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5:09:41.671" v="2446" actId="21"/>
          <ac:spMkLst>
            <pc:docMk/>
            <pc:sldMk cId="0" sldId="326"/>
            <ac:spMk id="5348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5:09:41.671" v="2446" actId="21"/>
          <ac:spMkLst>
            <pc:docMk/>
            <pc:sldMk cId="0" sldId="326"/>
            <ac:spMk id="5349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5:09:41.671" v="2446" actId="21"/>
          <ac:spMkLst>
            <pc:docMk/>
            <pc:sldMk cId="0" sldId="326"/>
            <ac:spMk id="5350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5:09:41.671" v="2446" actId="21"/>
          <ac:spMkLst>
            <pc:docMk/>
            <pc:sldMk cId="0" sldId="326"/>
            <ac:spMk id="5351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5:09:41.671" v="2446" actId="21"/>
          <ac:spMkLst>
            <pc:docMk/>
            <pc:sldMk cId="0" sldId="326"/>
            <ac:spMk id="5352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5:09:41.671" v="2446" actId="21"/>
          <ac:spMkLst>
            <pc:docMk/>
            <pc:sldMk cId="0" sldId="326"/>
            <ac:spMk id="5353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5:09:41.671" v="2446" actId="21"/>
          <ac:spMkLst>
            <pc:docMk/>
            <pc:sldMk cId="0" sldId="326"/>
            <ac:spMk id="5354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5:09:41.671" v="2446" actId="21"/>
          <ac:spMkLst>
            <pc:docMk/>
            <pc:sldMk cId="0" sldId="326"/>
            <ac:spMk id="5355" creationId="{00000000-0000-0000-0000-000000000000}"/>
          </ac:spMkLst>
        </pc:spChg>
        <pc:grpChg chg="add mod">
          <ac:chgData name="Fivestarly Lathong [Chillibreeze]" userId="479dc9aa-69ea-4a23-b6ea-3a9d26ac15ab" providerId="ADAL" clId="{013ED13C-6829-4378-A6EF-2B6A713739E1}" dt="2024-06-12T15:10:58.642" v="2506"/>
          <ac:grpSpMkLst>
            <pc:docMk/>
            <pc:sldMk cId="0" sldId="326"/>
            <ac:grpSpMk id="10" creationId="{761F94A1-B557-F130-7BAF-88A9729BE13D}"/>
          </ac:grpSpMkLst>
        </pc:grpChg>
        <pc:grpChg chg="mod">
          <ac:chgData name="Fivestarly Lathong [Chillibreeze]" userId="479dc9aa-69ea-4a23-b6ea-3a9d26ac15ab" providerId="ADAL" clId="{013ED13C-6829-4378-A6EF-2B6A713739E1}" dt="2024-06-12T15:10:58.642" v="2506"/>
          <ac:grpSpMkLst>
            <pc:docMk/>
            <pc:sldMk cId="0" sldId="326"/>
            <ac:grpSpMk id="11" creationId="{C1287889-08F7-7CFF-C171-8112FF93A281}"/>
          </ac:grpSpMkLst>
        </pc:grpChg>
        <pc:grpChg chg="add mod">
          <ac:chgData name="Fivestarly Lathong [Chillibreeze]" userId="479dc9aa-69ea-4a23-b6ea-3a9d26ac15ab" providerId="ADAL" clId="{013ED13C-6829-4378-A6EF-2B6A713739E1}" dt="2024-06-12T15:11:38.373" v="2522" actId="465"/>
          <ac:grpSpMkLst>
            <pc:docMk/>
            <pc:sldMk cId="0" sldId="326"/>
            <ac:grpSpMk id="15" creationId="{B4C62CF3-0161-0741-4706-0CBAAC0395C7}"/>
          </ac:grpSpMkLst>
        </pc:grpChg>
        <pc:grpChg chg="mod">
          <ac:chgData name="Fivestarly Lathong [Chillibreeze]" userId="479dc9aa-69ea-4a23-b6ea-3a9d26ac15ab" providerId="ADAL" clId="{013ED13C-6829-4378-A6EF-2B6A713739E1}" dt="2024-06-12T15:10:09.915" v="2451"/>
          <ac:grpSpMkLst>
            <pc:docMk/>
            <pc:sldMk cId="0" sldId="326"/>
            <ac:grpSpMk id="16" creationId="{D0A1D0A8-2660-D5C6-89C2-ECAEE795F6DE}"/>
          </ac:grpSpMkLst>
        </pc:grpChg>
        <pc:grpChg chg="add mod">
          <ac:chgData name="Fivestarly Lathong [Chillibreeze]" userId="479dc9aa-69ea-4a23-b6ea-3a9d26ac15ab" providerId="ADAL" clId="{013ED13C-6829-4378-A6EF-2B6A713739E1}" dt="2024-06-12T15:11:35.868" v="2521" actId="555"/>
          <ac:grpSpMkLst>
            <pc:docMk/>
            <pc:sldMk cId="0" sldId="326"/>
            <ac:grpSpMk id="20" creationId="{59E70863-AA35-E9FC-B1D6-2375E7171655}"/>
          </ac:grpSpMkLst>
        </pc:grpChg>
        <pc:grpChg chg="mod">
          <ac:chgData name="Fivestarly Lathong [Chillibreeze]" userId="479dc9aa-69ea-4a23-b6ea-3a9d26ac15ab" providerId="ADAL" clId="{013ED13C-6829-4378-A6EF-2B6A713739E1}" dt="2024-06-12T15:11:32.131" v="2519"/>
          <ac:grpSpMkLst>
            <pc:docMk/>
            <pc:sldMk cId="0" sldId="326"/>
            <ac:grpSpMk id="21" creationId="{C1DCB449-77C5-0D1F-2FF8-875E652CBB2C}"/>
          </ac:grpSpMkLst>
        </pc:grpChg>
        <pc:grpChg chg="add del mod">
          <ac:chgData name="Fivestarly Lathong [Chillibreeze]" userId="479dc9aa-69ea-4a23-b6ea-3a9d26ac15ab" providerId="ADAL" clId="{013ED13C-6829-4378-A6EF-2B6A713739E1}" dt="2024-06-12T15:11:33.607" v="2520" actId="21"/>
          <ac:grpSpMkLst>
            <pc:docMk/>
            <pc:sldMk cId="0" sldId="326"/>
            <ac:grpSpMk id="26" creationId="{A18120CE-BDC3-ED2C-5012-40A2777E6A5F}"/>
          </ac:grpSpMkLst>
        </pc:grpChg>
        <pc:grpChg chg="mod">
          <ac:chgData name="Fivestarly Lathong [Chillibreeze]" userId="479dc9aa-69ea-4a23-b6ea-3a9d26ac15ab" providerId="ADAL" clId="{013ED13C-6829-4378-A6EF-2B6A713739E1}" dt="2024-06-12T15:10:09.915" v="2451"/>
          <ac:grpSpMkLst>
            <pc:docMk/>
            <pc:sldMk cId="0" sldId="326"/>
            <ac:grpSpMk id="27" creationId="{9E42FDFD-AEBD-DB16-73DA-DD21910CFB4C}"/>
          </ac:grpSpMkLst>
        </pc:grpChg>
        <pc:grpChg chg="del">
          <ac:chgData name="Fivestarly Lathong [Chillibreeze]" userId="479dc9aa-69ea-4a23-b6ea-3a9d26ac15ab" providerId="ADAL" clId="{013ED13C-6829-4378-A6EF-2B6A713739E1}" dt="2024-06-12T15:09:41.671" v="2446" actId="21"/>
          <ac:grpSpMkLst>
            <pc:docMk/>
            <pc:sldMk cId="0" sldId="326"/>
            <ac:grpSpMk id="5324" creationId="{00000000-0000-0000-0000-000000000000}"/>
          </ac:grpSpMkLst>
        </pc:grpChg>
        <pc:picChg chg="add mod">
          <ac:chgData name="Fivestarly Lathong [Chillibreeze]" userId="479dc9aa-69ea-4a23-b6ea-3a9d26ac15ab" providerId="ADAL" clId="{013ED13C-6829-4378-A6EF-2B6A713739E1}" dt="2024-06-12T15:10:09.915" v="2451"/>
          <ac:picMkLst>
            <pc:docMk/>
            <pc:sldMk cId="0" sldId="326"/>
            <ac:picMk id="7" creationId="{C5D7ED15-16DB-8C26-E441-6523040B6D2B}"/>
          </ac:picMkLst>
        </pc:picChg>
        <pc:picChg chg="add mod">
          <ac:chgData name="Fivestarly Lathong [Chillibreeze]" userId="479dc9aa-69ea-4a23-b6ea-3a9d26ac15ab" providerId="ADAL" clId="{013ED13C-6829-4378-A6EF-2B6A713739E1}" dt="2024-06-12T15:10:09.915" v="2451"/>
          <ac:picMkLst>
            <pc:docMk/>
            <pc:sldMk cId="0" sldId="326"/>
            <ac:picMk id="9" creationId="{DD7E55F9-B179-6EBA-51AA-803848285831}"/>
          </ac:picMkLst>
        </pc:picChg>
        <pc:picChg chg="del">
          <ac:chgData name="Fivestarly Lathong [Chillibreeze]" userId="479dc9aa-69ea-4a23-b6ea-3a9d26ac15ab" providerId="ADAL" clId="{013ED13C-6829-4378-A6EF-2B6A713739E1}" dt="2024-06-12T15:09:41.671" v="2446" actId="21"/>
          <ac:picMkLst>
            <pc:docMk/>
            <pc:sldMk cId="0" sldId="326"/>
            <ac:picMk id="5323" creationId="{00000000-0000-0000-0000-000000000000}"/>
          </ac:picMkLst>
        </pc:picChg>
        <pc:cxnChg chg="add mod">
          <ac:chgData name="Fivestarly Lathong [Chillibreeze]" userId="479dc9aa-69ea-4a23-b6ea-3a9d26ac15ab" providerId="ADAL" clId="{013ED13C-6829-4378-A6EF-2B6A713739E1}" dt="2024-06-12T15:10:09.915" v="2451"/>
          <ac:cxnSpMkLst>
            <pc:docMk/>
            <pc:sldMk cId="0" sldId="326"/>
            <ac:cxnSpMk id="5" creationId="{C53886F9-ABF2-C687-3C8C-56E077D36E94}"/>
          </ac:cxnSpMkLst>
        </pc:cxnChg>
      </pc:sldChg>
      <pc:sldChg chg="addSp delSp modSp mod setBg modClrScheme chgLayout">
        <pc:chgData name="Fivestarly Lathong [Chillibreeze]" userId="479dc9aa-69ea-4a23-b6ea-3a9d26ac15ab" providerId="ADAL" clId="{013ED13C-6829-4378-A6EF-2B6A713739E1}" dt="2024-06-12T15:16:53.220" v="2616" actId="465"/>
        <pc:sldMkLst>
          <pc:docMk/>
          <pc:sldMk cId="0" sldId="327"/>
        </pc:sldMkLst>
        <pc:spChg chg="del">
          <ac:chgData name="Fivestarly Lathong [Chillibreeze]" userId="479dc9aa-69ea-4a23-b6ea-3a9d26ac15ab" providerId="ADAL" clId="{013ED13C-6829-4378-A6EF-2B6A713739E1}" dt="2024-06-12T15:11:52.896" v="2523" actId="478"/>
          <ac:spMkLst>
            <pc:docMk/>
            <pc:sldMk cId="0" sldId="327"/>
            <ac:spMk id="2" creationId="{23A34305-A7D7-9C53-B75D-97F868F2481B}"/>
          </ac:spMkLst>
        </pc:spChg>
        <pc:spChg chg="add mod">
          <ac:chgData name="Fivestarly Lathong [Chillibreeze]" userId="479dc9aa-69ea-4a23-b6ea-3a9d26ac15ab" providerId="ADAL" clId="{013ED13C-6829-4378-A6EF-2B6A713739E1}" dt="2024-06-12T15:11:53.706" v="2524"/>
          <ac:spMkLst>
            <pc:docMk/>
            <pc:sldMk cId="0" sldId="327"/>
            <ac:spMk id="3" creationId="{788D4724-4E83-B7A0-1C31-B8CCB528993B}"/>
          </ac:spMkLst>
        </pc:spChg>
        <pc:spChg chg="add mod">
          <ac:chgData name="Fivestarly Lathong [Chillibreeze]" userId="479dc9aa-69ea-4a23-b6ea-3a9d26ac15ab" providerId="ADAL" clId="{013ED13C-6829-4378-A6EF-2B6A713739E1}" dt="2024-06-12T15:15:10.324" v="2559" actId="555"/>
          <ac:spMkLst>
            <pc:docMk/>
            <pc:sldMk cId="0" sldId="327"/>
            <ac:spMk id="5" creationId="{7A6760C9-FBEE-33C2-B586-A9DC74EB1A15}"/>
          </ac:spMkLst>
        </pc:spChg>
        <pc:spChg chg="add mod">
          <ac:chgData name="Fivestarly Lathong [Chillibreeze]" userId="479dc9aa-69ea-4a23-b6ea-3a9d26ac15ab" providerId="ADAL" clId="{013ED13C-6829-4378-A6EF-2B6A713739E1}" dt="2024-06-12T15:14:17.900" v="2536"/>
          <ac:spMkLst>
            <pc:docMk/>
            <pc:sldMk cId="0" sldId="327"/>
            <ac:spMk id="7" creationId="{91F4B325-A5D1-F9FC-63ED-BF49073B0426}"/>
          </ac:spMkLst>
        </pc:spChg>
        <pc:spChg chg="mod">
          <ac:chgData name="Fivestarly Lathong [Chillibreeze]" userId="479dc9aa-69ea-4a23-b6ea-3a9d26ac15ab" providerId="ADAL" clId="{013ED13C-6829-4378-A6EF-2B6A713739E1}" dt="2024-06-12T15:11:53.706" v="2524"/>
          <ac:spMkLst>
            <pc:docMk/>
            <pc:sldMk cId="0" sldId="327"/>
            <ac:spMk id="11" creationId="{33087678-8738-E99F-9256-5569072B0536}"/>
          </ac:spMkLst>
        </pc:spChg>
        <pc:spChg chg="mod">
          <ac:chgData name="Fivestarly Lathong [Chillibreeze]" userId="479dc9aa-69ea-4a23-b6ea-3a9d26ac15ab" providerId="ADAL" clId="{013ED13C-6829-4378-A6EF-2B6A713739E1}" dt="2024-06-12T15:11:53.706" v="2524"/>
          <ac:spMkLst>
            <pc:docMk/>
            <pc:sldMk cId="0" sldId="327"/>
            <ac:spMk id="12" creationId="{8C5FFAE8-121C-FD21-B7BD-FC46B6869D24}"/>
          </ac:spMkLst>
        </pc:spChg>
        <pc:spChg chg="mod">
          <ac:chgData name="Fivestarly Lathong [Chillibreeze]" userId="479dc9aa-69ea-4a23-b6ea-3a9d26ac15ab" providerId="ADAL" clId="{013ED13C-6829-4378-A6EF-2B6A713739E1}" dt="2024-06-12T15:11:53.706" v="2524"/>
          <ac:spMkLst>
            <pc:docMk/>
            <pc:sldMk cId="0" sldId="327"/>
            <ac:spMk id="13" creationId="{DF9851C3-8059-1E09-530B-9A6968F27F1E}"/>
          </ac:spMkLst>
        </pc:spChg>
        <pc:spChg chg="mod">
          <ac:chgData name="Fivestarly Lathong [Chillibreeze]" userId="479dc9aa-69ea-4a23-b6ea-3a9d26ac15ab" providerId="ADAL" clId="{013ED13C-6829-4378-A6EF-2B6A713739E1}" dt="2024-06-12T15:11:53.706" v="2524"/>
          <ac:spMkLst>
            <pc:docMk/>
            <pc:sldMk cId="0" sldId="327"/>
            <ac:spMk id="16" creationId="{C14E088C-6579-CFCD-1189-EB5299005F20}"/>
          </ac:spMkLst>
        </pc:spChg>
        <pc:spChg chg="mod">
          <ac:chgData name="Fivestarly Lathong [Chillibreeze]" userId="479dc9aa-69ea-4a23-b6ea-3a9d26ac15ab" providerId="ADAL" clId="{013ED13C-6829-4378-A6EF-2B6A713739E1}" dt="2024-06-12T15:11:53.706" v="2524"/>
          <ac:spMkLst>
            <pc:docMk/>
            <pc:sldMk cId="0" sldId="327"/>
            <ac:spMk id="17" creationId="{735C8A80-6D08-4E84-F8D0-EBE06ADF2F62}"/>
          </ac:spMkLst>
        </pc:spChg>
        <pc:spChg chg="mod">
          <ac:chgData name="Fivestarly Lathong [Chillibreeze]" userId="479dc9aa-69ea-4a23-b6ea-3a9d26ac15ab" providerId="ADAL" clId="{013ED13C-6829-4378-A6EF-2B6A713739E1}" dt="2024-06-12T15:11:53.706" v="2524"/>
          <ac:spMkLst>
            <pc:docMk/>
            <pc:sldMk cId="0" sldId="327"/>
            <ac:spMk id="18" creationId="{F9209959-FE4C-C2C3-E3C6-F8C765EADED7}"/>
          </ac:spMkLst>
        </pc:spChg>
        <pc:spChg chg="mod">
          <ac:chgData name="Fivestarly Lathong [Chillibreeze]" userId="479dc9aa-69ea-4a23-b6ea-3a9d26ac15ab" providerId="ADAL" clId="{013ED13C-6829-4378-A6EF-2B6A713739E1}" dt="2024-06-12T15:11:53.706" v="2524"/>
          <ac:spMkLst>
            <pc:docMk/>
            <pc:sldMk cId="0" sldId="327"/>
            <ac:spMk id="21" creationId="{697C7E0C-1BAE-3BC9-75BC-05AD3714F3B4}"/>
          </ac:spMkLst>
        </pc:spChg>
        <pc:spChg chg="mod">
          <ac:chgData name="Fivestarly Lathong [Chillibreeze]" userId="479dc9aa-69ea-4a23-b6ea-3a9d26ac15ab" providerId="ADAL" clId="{013ED13C-6829-4378-A6EF-2B6A713739E1}" dt="2024-06-12T15:11:53.706" v="2524"/>
          <ac:spMkLst>
            <pc:docMk/>
            <pc:sldMk cId="0" sldId="327"/>
            <ac:spMk id="22" creationId="{5E6C8221-BC84-EA6F-DDDA-30DB26BD83BC}"/>
          </ac:spMkLst>
        </pc:spChg>
        <pc:spChg chg="mod">
          <ac:chgData name="Fivestarly Lathong [Chillibreeze]" userId="479dc9aa-69ea-4a23-b6ea-3a9d26ac15ab" providerId="ADAL" clId="{013ED13C-6829-4378-A6EF-2B6A713739E1}" dt="2024-06-12T15:11:53.706" v="2524"/>
          <ac:spMkLst>
            <pc:docMk/>
            <pc:sldMk cId="0" sldId="327"/>
            <ac:spMk id="23" creationId="{2B3DC65B-4A21-4F59-1B25-80EDDA8BF576}"/>
          </ac:spMkLst>
        </pc:spChg>
        <pc:spChg chg="add mod ord">
          <ac:chgData name="Fivestarly Lathong [Chillibreeze]" userId="479dc9aa-69ea-4a23-b6ea-3a9d26ac15ab" providerId="ADAL" clId="{013ED13C-6829-4378-A6EF-2B6A713739E1}" dt="2024-06-12T15:12:43.075" v="2531" actId="555"/>
          <ac:spMkLst>
            <pc:docMk/>
            <pc:sldMk cId="0" sldId="327"/>
            <ac:spMk id="24" creationId="{E71D5F84-24B3-052B-6ABD-FE85BA4A80BD}"/>
          </ac:spMkLst>
        </pc:spChg>
        <pc:spChg chg="mod topLvl">
          <ac:chgData name="Fivestarly Lathong [Chillibreeze]" userId="479dc9aa-69ea-4a23-b6ea-3a9d26ac15ab" providerId="ADAL" clId="{013ED13C-6829-4378-A6EF-2B6A713739E1}" dt="2024-06-12T15:15:57.226" v="2589" actId="12789"/>
          <ac:spMkLst>
            <pc:docMk/>
            <pc:sldMk cId="0" sldId="327"/>
            <ac:spMk id="27" creationId="{2DF4D577-CE7A-0EC8-EEBF-4EF1F7666790}"/>
          </ac:spMkLst>
        </pc:spChg>
        <pc:spChg chg="mod">
          <ac:chgData name="Fivestarly Lathong [Chillibreeze]" userId="479dc9aa-69ea-4a23-b6ea-3a9d26ac15ab" providerId="ADAL" clId="{013ED13C-6829-4378-A6EF-2B6A713739E1}" dt="2024-06-12T15:15:06.615" v="2557" actId="165"/>
          <ac:spMkLst>
            <pc:docMk/>
            <pc:sldMk cId="0" sldId="327"/>
            <ac:spMk id="28" creationId="{92BC40AC-ED87-6A3A-C990-F6253DD5EE18}"/>
          </ac:spMkLst>
        </pc:spChg>
        <pc:spChg chg="mod">
          <ac:chgData name="Fivestarly Lathong [Chillibreeze]" userId="479dc9aa-69ea-4a23-b6ea-3a9d26ac15ab" providerId="ADAL" clId="{013ED13C-6829-4378-A6EF-2B6A713739E1}" dt="2024-06-12T15:15:06.615" v="2557" actId="165"/>
          <ac:spMkLst>
            <pc:docMk/>
            <pc:sldMk cId="0" sldId="327"/>
            <ac:spMk id="29" creationId="{E2E7F16C-876B-D4EA-FDB5-91138F7748A2}"/>
          </ac:spMkLst>
        </pc:spChg>
        <pc:spChg chg="mod topLvl">
          <ac:chgData name="Fivestarly Lathong [Chillibreeze]" userId="479dc9aa-69ea-4a23-b6ea-3a9d26ac15ab" providerId="ADAL" clId="{013ED13C-6829-4378-A6EF-2B6A713739E1}" dt="2024-06-12T15:16:02.501" v="2591" actId="465"/>
          <ac:spMkLst>
            <pc:docMk/>
            <pc:sldMk cId="0" sldId="327"/>
            <ac:spMk id="33" creationId="{A7855B06-E97F-9BBA-4BD6-21CAF73D43A7}"/>
          </ac:spMkLst>
        </pc:spChg>
        <pc:spChg chg="mod">
          <ac:chgData name="Fivestarly Lathong [Chillibreeze]" userId="479dc9aa-69ea-4a23-b6ea-3a9d26ac15ab" providerId="ADAL" clId="{013ED13C-6829-4378-A6EF-2B6A713739E1}" dt="2024-06-12T15:14:52.996" v="2550" actId="165"/>
          <ac:spMkLst>
            <pc:docMk/>
            <pc:sldMk cId="0" sldId="327"/>
            <ac:spMk id="34" creationId="{C331AB5A-2349-591A-92C8-59004AE09FDA}"/>
          </ac:spMkLst>
        </pc:spChg>
        <pc:spChg chg="mod">
          <ac:chgData name="Fivestarly Lathong [Chillibreeze]" userId="479dc9aa-69ea-4a23-b6ea-3a9d26ac15ab" providerId="ADAL" clId="{013ED13C-6829-4378-A6EF-2B6A713739E1}" dt="2024-06-12T15:14:52.996" v="2550" actId="165"/>
          <ac:spMkLst>
            <pc:docMk/>
            <pc:sldMk cId="0" sldId="327"/>
            <ac:spMk id="35" creationId="{F90148D7-067A-D236-6497-E8A28D5FC254}"/>
          </ac:spMkLst>
        </pc:spChg>
        <pc:spChg chg="add del mod">
          <ac:chgData name="Fivestarly Lathong [Chillibreeze]" userId="479dc9aa-69ea-4a23-b6ea-3a9d26ac15ab" providerId="ADAL" clId="{013ED13C-6829-4378-A6EF-2B6A713739E1}" dt="2024-06-12T15:12:44.535" v="2532" actId="21"/>
          <ac:spMkLst>
            <pc:docMk/>
            <pc:sldMk cId="0" sldId="327"/>
            <ac:spMk id="36" creationId="{EFCF1D41-7537-44A3-9908-24D72BDD6E89}"/>
          </ac:spMkLst>
        </pc:spChg>
        <pc:spChg chg="mod topLvl">
          <ac:chgData name="Fivestarly Lathong [Chillibreeze]" userId="479dc9aa-69ea-4a23-b6ea-3a9d26ac15ab" providerId="ADAL" clId="{013ED13C-6829-4378-A6EF-2B6A713739E1}" dt="2024-06-12T15:16:02.501" v="2591" actId="465"/>
          <ac:spMkLst>
            <pc:docMk/>
            <pc:sldMk cId="0" sldId="327"/>
            <ac:spMk id="39" creationId="{966E1B57-5213-5BD5-C9C3-4671115BAD50}"/>
          </ac:spMkLst>
        </pc:spChg>
        <pc:spChg chg="mod">
          <ac:chgData name="Fivestarly Lathong [Chillibreeze]" userId="479dc9aa-69ea-4a23-b6ea-3a9d26ac15ab" providerId="ADAL" clId="{013ED13C-6829-4378-A6EF-2B6A713739E1}" dt="2024-06-12T15:14:52.996" v="2550" actId="165"/>
          <ac:spMkLst>
            <pc:docMk/>
            <pc:sldMk cId="0" sldId="327"/>
            <ac:spMk id="40" creationId="{C413ED65-9849-8977-C081-C6F50D489823}"/>
          </ac:spMkLst>
        </pc:spChg>
        <pc:spChg chg="mod">
          <ac:chgData name="Fivestarly Lathong [Chillibreeze]" userId="479dc9aa-69ea-4a23-b6ea-3a9d26ac15ab" providerId="ADAL" clId="{013ED13C-6829-4378-A6EF-2B6A713739E1}" dt="2024-06-12T15:14:52.996" v="2550" actId="165"/>
          <ac:spMkLst>
            <pc:docMk/>
            <pc:sldMk cId="0" sldId="327"/>
            <ac:spMk id="41" creationId="{F750B92D-3CEC-7EB2-656D-0693F31C3167}"/>
          </ac:spMkLst>
        </pc:spChg>
        <pc:spChg chg="mod topLvl">
          <ac:chgData name="Fivestarly Lathong [Chillibreeze]" userId="479dc9aa-69ea-4a23-b6ea-3a9d26ac15ab" providerId="ADAL" clId="{013ED13C-6829-4378-A6EF-2B6A713739E1}" dt="2024-06-12T15:16:02.501" v="2591" actId="465"/>
          <ac:spMkLst>
            <pc:docMk/>
            <pc:sldMk cId="0" sldId="327"/>
            <ac:spMk id="44" creationId="{B6C11665-8344-1F54-AF45-711128E18ED0}"/>
          </ac:spMkLst>
        </pc:spChg>
        <pc:spChg chg="mod">
          <ac:chgData name="Fivestarly Lathong [Chillibreeze]" userId="479dc9aa-69ea-4a23-b6ea-3a9d26ac15ab" providerId="ADAL" clId="{013ED13C-6829-4378-A6EF-2B6A713739E1}" dt="2024-06-12T15:14:52.996" v="2550" actId="165"/>
          <ac:spMkLst>
            <pc:docMk/>
            <pc:sldMk cId="0" sldId="327"/>
            <ac:spMk id="45" creationId="{D43EB8E6-3A73-A439-AE6F-92F736AA69F5}"/>
          </ac:spMkLst>
        </pc:spChg>
        <pc:spChg chg="mod">
          <ac:chgData name="Fivestarly Lathong [Chillibreeze]" userId="479dc9aa-69ea-4a23-b6ea-3a9d26ac15ab" providerId="ADAL" clId="{013ED13C-6829-4378-A6EF-2B6A713739E1}" dt="2024-06-12T15:14:52.996" v="2550" actId="165"/>
          <ac:spMkLst>
            <pc:docMk/>
            <pc:sldMk cId="0" sldId="327"/>
            <ac:spMk id="46" creationId="{46A75538-C521-7799-95D7-BDD64FC17F3C}"/>
          </ac:spMkLst>
        </pc:spChg>
        <pc:spChg chg="mod topLvl">
          <ac:chgData name="Fivestarly Lathong [Chillibreeze]" userId="479dc9aa-69ea-4a23-b6ea-3a9d26ac15ab" providerId="ADAL" clId="{013ED13C-6829-4378-A6EF-2B6A713739E1}" dt="2024-06-12T15:16:02.501" v="2591" actId="465"/>
          <ac:spMkLst>
            <pc:docMk/>
            <pc:sldMk cId="0" sldId="327"/>
            <ac:spMk id="49" creationId="{75F83133-DB98-386C-2BFB-EB455004F44F}"/>
          </ac:spMkLst>
        </pc:spChg>
        <pc:spChg chg="mod">
          <ac:chgData name="Fivestarly Lathong [Chillibreeze]" userId="479dc9aa-69ea-4a23-b6ea-3a9d26ac15ab" providerId="ADAL" clId="{013ED13C-6829-4378-A6EF-2B6A713739E1}" dt="2024-06-12T15:14:52.996" v="2550" actId="165"/>
          <ac:spMkLst>
            <pc:docMk/>
            <pc:sldMk cId="0" sldId="327"/>
            <ac:spMk id="50" creationId="{C3840248-B5FF-421F-DCE3-9ACB1C352995}"/>
          </ac:spMkLst>
        </pc:spChg>
        <pc:spChg chg="mod">
          <ac:chgData name="Fivestarly Lathong [Chillibreeze]" userId="479dc9aa-69ea-4a23-b6ea-3a9d26ac15ab" providerId="ADAL" clId="{013ED13C-6829-4378-A6EF-2B6A713739E1}" dt="2024-06-12T15:14:52.996" v="2550" actId="165"/>
          <ac:spMkLst>
            <pc:docMk/>
            <pc:sldMk cId="0" sldId="327"/>
            <ac:spMk id="51" creationId="{29CB8903-6A3A-5EBF-70D4-6D846E73A82E}"/>
          </ac:spMkLst>
        </pc:spChg>
        <pc:spChg chg="mod topLvl">
          <ac:chgData name="Fivestarly Lathong [Chillibreeze]" userId="479dc9aa-69ea-4a23-b6ea-3a9d26ac15ab" providerId="ADAL" clId="{013ED13C-6829-4378-A6EF-2B6A713739E1}" dt="2024-06-12T15:16:02.501" v="2591" actId="465"/>
          <ac:spMkLst>
            <pc:docMk/>
            <pc:sldMk cId="0" sldId="327"/>
            <ac:spMk id="54" creationId="{12FF6057-6138-E1EB-4709-7A0C3561E7BE}"/>
          </ac:spMkLst>
        </pc:spChg>
        <pc:spChg chg="mod">
          <ac:chgData name="Fivestarly Lathong [Chillibreeze]" userId="479dc9aa-69ea-4a23-b6ea-3a9d26ac15ab" providerId="ADAL" clId="{013ED13C-6829-4378-A6EF-2B6A713739E1}" dt="2024-06-12T15:14:52.996" v="2550" actId="165"/>
          <ac:spMkLst>
            <pc:docMk/>
            <pc:sldMk cId="0" sldId="327"/>
            <ac:spMk id="55" creationId="{CE6F6F99-F49E-54E7-05CC-E543F1CD6E75}"/>
          </ac:spMkLst>
        </pc:spChg>
        <pc:spChg chg="mod">
          <ac:chgData name="Fivestarly Lathong [Chillibreeze]" userId="479dc9aa-69ea-4a23-b6ea-3a9d26ac15ab" providerId="ADAL" clId="{013ED13C-6829-4378-A6EF-2B6A713739E1}" dt="2024-06-12T15:14:52.996" v="2550" actId="165"/>
          <ac:spMkLst>
            <pc:docMk/>
            <pc:sldMk cId="0" sldId="327"/>
            <ac:spMk id="56" creationId="{7D7A7FD2-582D-174F-84F0-F20D4DB9E595}"/>
          </ac:spMkLst>
        </pc:spChg>
        <pc:spChg chg="mod topLvl">
          <ac:chgData name="Fivestarly Lathong [Chillibreeze]" userId="479dc9aa-69ea-4a23-b6ea-3a9d26ac15ab" providerId="ADAL" clId="{013ED13C-6829-4378-A6EF-2B6A713739E1}" dt="2024-06-12T15:16:02.501" v="2591" actId="465"/>
          <ac:spMkLst>
            <pc:docMk/>
            <pc:sldMk cId="0" sldId="327"/>
            <ac:spMk id="59" creationId="{EEADBE9C-85B2-E394-DAA3-37F39AD2911C}"/>
          </ac:spMkLst>
        </pc:spChg>
        <pc:spChg chg="mod">
          <ac:chgData name="Fivestarly Lathong [Chillibreeze]" userId="479dc9aa-69ea-4a23-b6ea-3a9d26ac15ab" providerId="ADAL" clId="{013ED13C-6829-4378-A6EF-2B6A713739E1}" dt="2024-06-12T15:14:52.996" v="2550" actId="165"/>
          <ac:spMkLst>
            <pc:docMk/>
            <pc:sldMk cId="0" sldId="327"/>
            <ac:spMk id="60" creationId="{E3AA496C-404B-BB7F-B182-B554B76B46C5}"/>
          </ac:spMkLst>
        </pc:spChg>
        <pc:spChg chg="mod">
          <ac:chgData name="Fivestarly Lathong [Chillibreeze]" userId="479dc9aa-69ea-4a23-b6ea-3a9d26ac15ab" providerId="ADAL" clId="{013ED13C-6829-4378-A6EF-2B6A713739E1}" dt="2024-06-12T15:14:52.996" v="2550" actId="165"/>
          <ac:spMkLst>
            <pc:docMk/>
            <pc:sldMk cId="0" sldId="327"/>
            <ac:spMk id="61" creationId="{E716928F-1863-610B-66FD-8603FCAD51E9}"/>
          </ac:spMkLst>
        </pc:spChg>
        <pc:spChg chg="del">
          <ac:chgData name="Fivestarly Lathong [Chillibreeze]" userId="479dc9aa-69ea-4a23-b6ea-3a9d26ac15ab" providerId="ADAL" clId="{013ED13C-6829-4378-A6EF-2B6A713739E1}" dt="2024-06-12T15:11:52.896" v="2523" actId="478"/>
          <ac:spMkLst>
            <pc:docMk/>
            <pc:sldMk cId="0" sldId="327"/>
            <ac:spMk id="5360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5:11:52.896" v="2523" actId="478"/>
          <ac:spMkLst>
            <pc:docMk/>
            <pc:sldMk cId="0" sldId="327"/>
            <ac:spMk id="5361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5:11:52.896" v="2523" actId="478"/>
          <ac:spMkLst>
            <pc:docMk/>
            <pc:sldMk cId="0" sldId="327"/>
            <ac:spMk id="5362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5:11:52.896" v="2523" actId="478"/>
          <ac:spMkLst>
            <pc:docMk/>
            <pc:sldMk cId="0" sldId="327"/>
            <ac:spMk id="5383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5:11:52.896" v="2523" actId="478"/>
          <ac:spMkLst>
            <pc:docMk/>
            <pc:sldMk cId="0" sldId="327"/>
            <ac:spMk id="5387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5:11:52.896" v="2523" actId="478"/>
          <ac:spMkLst>
            <pc:docMk/>
            <pc:sldMk cId="0" sldId="327"/>
            <ac:spMk id="5391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5:11:52.896" v="2523" actId="478"/>
          <ac:spMkLst>
            <pc:docMk/>
            <pc:sldMk cId="0" sldId="327"/>
            <ac:spMk id="5395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5:11:52.896" v="2523" actId="478"/>
          <ac:spMkLst>
            <pc:docMk/>
            <pc:sldMk cId="0" sldId="327"/>
            <ac:spMk id="5399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5:11:52.896" v="2523" actId="478"/>
          <ac:spMkLst>
            <pc:docMk/>
            <pc:sldMk cId="0" sldId="327"/>
            <ac:spMk id="5403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5:11:52.896" v="2523" actId="478"/>
          <ac:spMkLst>
            <pc:docMk/>
            <pc:sldMk cId="0" sldId="327"/>
            <ac:spMk id="5407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5:11:52.896" v="2523" actId="478"/>
          <ac:spMkLst>
            <pc:docMk/>
            <pc:sldMk cId="0" sldId="327"/>
            <ac:spMk id="5411" creationId="{00000000-0000-0000-0000-000000000000}"/>
          </ac:spMkLst>
        </pc:spChg>
        <pc:spChg chg="del">
          <ac:chgData name="Fivestarly Lathong [Chillibreeze]" userId="479dc9aa-69ea-4a23-b6ea-3a9d26ac15ab" providerId="ADAL" clId="{013ED13C-6829-4378-A6EF-2B6A713739E1}" dt="2024-06-12T15:11:52.896" v="2523" actId="478"/>
          <ac:spMkLst>
            <pc:docMk/>
            <pc:sldMk cId="0" sldId="327"/>
            <ac:spMk id="5415" creationId="{00000000-0000-0000-0000-000000000000}"/>
          </ac:spMkLst>
        </pc:spChg>
        <pc:spChg chg="mod topLvl">
          <ac:chgData name="Fivestarly Lathong [Chillibreeze]" userId="479dc9aa-69ea-4a23-b6ea-3a9d26ac15ab" providerId="ADAL" clId="{013ED13C-6829-4378-A6EF-2B6A713739E1}" dt="2024-06-12T15:15:59.768" v="2590" actId="12789"/>
          <ac:spMkLst>
            <pc:docMk/>
            <pc:sldMk cId="0" sldId="327"/>
            <ac:spMk id="5416" creationId="{34D1DFFF-0CCF-08D5-373B-937B9324C959}"/>
          </ac:spMkLst>
        </pc:spChg>
        <pc:spChg chg="mod">
          <ac:chgData name="Fivestarly Lathong [Chillibreeze]" userId="479dc9aa-69ea-4a23-b6ea-3a9d26ac15ab" providerId="ADAL" clId="{013ED13C-6829-4378-A6EF-2B6A713739E1}" dt="2024-06-12T15:15:10.562" v="2560" actId="165"/>
          <ac:spMkLst>
            <pc:docMk/>
            <pc:sldMk cId="0" sldId="327"/>
            <ac:spMk id="5417" creationId="{2303AFA3-F9F6-FAA5-067A-C85637A83993}"/>
          </ac:spMkLst>
        </pc:spChg>
        <pc:spChg chg="mod">
          <ac:chgData name="Fivestarly Lathong [Chillibreeze]" userId="479dc9aa-69ea-4a23-b6ea-3a9d26ac15ab" providerId="ADAL" clId="{013ED13C-6829-4378-A6EF-2B6A713739E1}" dt="2024-06-12T15:15:10.562" v="2560" actId="165"/>
          <ac:spMkLst>
            <pc:docMk/>
            <pc:sldMk cId="0" sldId="327"/>
            <ac:spMk id="5418" creationId="{B238900F-D855-D4F8-F705-264C0ADF637F}"/>
          </ac:spMkLst>
        </pc:spChg>
        <pc:spChg chg="del mod topLvl">
          <ac:chgData name="Fivestarly Lathong [Chillibreeze]" userId="479dc9aa-69ea-4a23-b6ea-3a9d26ac15ab" providerId="ADAL" clId="{013ED13C-6829-4378-A6EF-2B6A713739E1}" dt="2024-06-12T15:16:10.168" v="2594"/>
          <ac:spMkLst>
            <pc:docMk/>
            <pc:sldMk cId="0" sldId="327"/>
            <ac:spMk id="5422" creationId="{DFF4B342-D897-DD7A-2962-4270C93EE1DA}"/>
          </ac:spMkLst>
        </pc:spChg>
        <pc:spChg chg="del mod topLvl">
          <ac:chgData name="Fivestarly Lathong [Chillibreeze]" userId="479dc9aa-69ea-4a23-b6ea-3a9d26ac15ab" providerId="ADAL" clId="{013ED13C-6829-4378-A6EF-2B6A713739E1}" dt="2024-06-12T15:16:10.168" v="2594"/>
          <ac:spMkLst>
            <pc:docMk/>
            <pc:sldMk cId="0" sldId="327"/>
            <ac:spMk id="5423" creationId="{6607BD69-8191-6B13-D370-6D198F4080AC}"/>
          </ac:spMkLst>
        </pc:spChg>
        <pc:spChg chg="mod">
          <ac:chgData name="Fivestarly Lathong [Chillibreeze]" userId="479dc9aa-69ea-4a23-b6ea-3a9d26ac15ab" providerId="ADAL" clId="{013ED13C-6829-4378-A6EF-2B6A713739E1}" dt="2024-06-12T15:16:18.392" v="2599" actId="12788"/>
          <ac:spMkLst>
            <pc:docMk/>
            <pc:sldMk cId="0" sldId="327"/>
            <ac:spMk id="5424" creationId="{B8205AA4-1BDC-E745-5722-BE5BC5519E76}"/>
          </ac:spMkLst>
        </pc:spChg>
        <pc:spChg chg="add mod">
          <ac:chgData name="Fivestarly Lathong [Chillibreeze]" userId="479dc9aa-69ea-4a23-b6ea-3a9d26ac15ab" providerId="ADAL" clId="{013ED13C-6829-4378-A6EF-2B6A713739E1}" dt="2024-06-12T15:16:53.220" v="2616" actId="465"/>
          <ac:spMkLst>
            <pc:docMk/>
            <pc:sldMk cId="0" sldId="327"/>
            <ac:spMk id="5425" creationId="{CF24DD36-041D-941B-ADCA-E0C09EE9C39E}"/>
          </ac:spMkLst>
        </pc:spChg>
        <pc:spChg chg="add mod">
          <ac:chgData name="Fivestarly Lathong [Chillibreeze]" userId="479dc9aa-69ea-4a23-b6ea-3a9d26ac15ab" providerId="ADAL" clId="{013ED13C-6829-4378-A6EF-2B6A713739E1}" dt="2024-06-12T15:16:53.220" v="2616" actId="465"/>
          <ac:spMkLst>
            <pc:docMk/>
            <pc:sldMk cId="0" sldId="327"/>
            <ac:spMk id="5426" creationId="{6B470249-5DA1-6A27-13DB-E3CCC2540191}"/>
          </ac:spMkLst>
        </pc:spChg>
        <pc:spChg chg="add mod">
          <ac:chgData name="Fivestarly Lathong [Chillibreeze]" userId="479dc9aa-69ea-4a23-b6ea-3a9d26ac15ab" providerId="ADAL" clId="{013ED13C-6829-4378-A6EF-2B6A713739E1}" dt="2024-06-12T15:16:53.220" v="2616" actId="465"/>
          <ac:spMkLst>
            <pc:docMk/>
            <pc:sldMk cId="0" sldId="327"/>
            <ac:spMk id="5427" creationId="{816EBCE3-AB1A-D0C8-4716-FF456DA473F2}"/>
          </ac:spMkLst>
        </pc:spChg>
        <pc:spChg chg="mod">
          <ac:chgData name="Fivestarly Lathong [Chillibreeze]" userId="479dc9aa-69ea-4a23-b6ea-3a9d26ac15ab" providerId="ADAL" clId="{013ED13C-6829-4378-A6EF-2B6A713739E1}" dt="2024-06-12T15:16:33.493" v="2611" actId="571"/>
          <ac:spMkLst>
            <pc:docMk/>
            <pc:sldMk cId="0" sldId="327"/>
            <ac:spMk id="5429" creationId="{188BB075-17EA-AB22-EE82-3642AC269554}"/>
          </ac:spMkLst>
        </pc:spChg>
        <pc:spChg chg="mod">
          <ac:chgData name="Fivestarly Lathong [Chillibreeze]" userId="479dc9aa-69ea-4a23-b6ea-3a9d26ac15ab" providerId="ADAL" clId="{013ED13C-6829-4378-A6EF-2B6A713739E1}" dt="2024-06-12T15:16:33.493" v="2611" actId="571"/>
          <ac:spMkLst>
            <pc:docMk/>
            <pc:sldMk cId="0" sldId="327"/>
            <ac:spMk id="5430" creationId="{F8DA8BF9-EE92-4BF7-BF13-EEF957D25E03}"/>
          </ac:spMkLst>
        </pc:spChg>
        <pc:spChg chg="add mod">
          <ac:chgData name="Fivestarly Lathong [Chillibreeze]" userId="479dc9aa-69ea-4a23-b6ea-3a9d26ac15ab" providerId="ADAL" clId="{013ED13C-6829-4378-A6EF-2B6A713739E1}" dt="2024-06-12T15:16:53.220" v="2616" actId="465"/>
          <ac:spMkLst>
            <pc:docMk/>
            <pc:sldMk cId="0" sldId="327"/>
            <ac:spMk id="5431" creationId="{C1FF9973-D64B-2F17-F418-BB2B9182264F}"/>
          </ac:spMkLst>
        </pc:spChg>
        <pc:spChg chg="add mod">
          <ac:chgData name="Fivestarly Lathong [Chillibreeze]" userId="479dc9aa-69ea-4a23-b6ea-3a9d26ac15ab" providerId="ADAL" clId="{013ED13C-6829-4378-A6EF-2B6A713739E1}" dt="2024-06-12T15:16:53.220" v="2616" actId="465"/>
          <ac:spMkLst>
            <pc:docMk/>
            <pc:sldMk cId="0" sldId="327"/>
            <ac:spMk id="5432" creationId="{AEB9329E-28A9-E6C3-8B20-29B087FCAF81}"/>
          </ac:spMkLst>
        </pc:spChg>
        <pc:spChg chg="add mod">
          <ac:chgData name="Fivestarly Lathong [Chillibreeze]" userId="479dc9aa-69ea-4a23-b6ea-3a9d26ac15ab" providerId="ADAL" clId="{013ED13C-6829-4378-A6EF-2B6A713739E1}" dt="2024-06-12T15:16:53.220" v="2616" actId="465"/>
          <ac:spMkLst>
            <pc:docMk/>
            <pc:sldMk cId="0" sldId="327"/>
            <ac:spMk id="5433" creationId="{AC1FC78B-6CDF-7F11-36BA-31196D624200}"/>
          </ac:spMkLst>
        </pc:spChg>
        <pc:spChg chg="add mod">
          <ac:chgData name="Fivestarly Lathong [Chillibreeze]" userId="479dc9aa-69ea-4a23-b6ea-3a9d26ac15ab" providerId="ADAL" clId="{013ED13C-6829-4378-A6EF-2B6A713739E1}" dt="2024-06-12T15:16:48.943" v="2615" actId="12788"/>
          <ac:spMkLst>
            <pc:docMk/>
            <pc:sldMk cId="0" sldId="327"/>
            <ac:spMk id="5434" creationId="{6A7F298E-9B62-869F-C789-FCFD85A48F67}"/>
          </ac:spMkLst>
        </pc:spChg>
        <pc:grpChg chg="add del mod">
          <ac:chgData name="Fivestarly Lathong [Chillibreeze]" userId="479dc9aa-69ea-4a23-b6ea-3a9d26ac15ab" providerId="ADAL" clId="{013ED13C-6829-4378-A6EF-2B6A713739E1}" dt="2024-06-12T15:12:51.606" v="2533" actId="21"/>
          <ac:grpSpMkLst>
            <pc:docMk/>
            <pc:sldMk cId="0" sldId="327"/>
            <ac:grpSpMk id="9" creationId="{706FED00-DA97-D010-791E-6E79F66D1683}"/>
          </ac:grpSpMkLst>
        </pc:grpChg>
        <pc:grpChg chg="mod">
          <ac:chgData name="Fivestarly Lathong [Chillibreeze]" userId="479dc9aa-69ea-4a23-b6ea-3a9d26ac15ab" providerId="ADAL" clId="{013ED13C-6829-4378-A6EF-2B6A713739E1}" dt="2024-06-12T15:11:53.706" v="2524"/>
          <ac:grpSpMkLst>
            <pc:docMk/>
            <pc:sldMk cId="0" sldId="327"/>
            <ac:grpSpMk id="10" creationId="{74F3F4D1-4B59-ECF5-3834-9A741D2F76E6}"/>
          </ac:grpSpMkLst>
        </pc:grpChg>
        <pc:grpChg chg="add del mod">
          <ac:chgData name="Fivestarly Lathong [Chillibreeze]" userId="479dc9aa-69ea-4a23-b6ea-3a9d26ac15ab" providerId="ADAL" clId="{013ED13C-6829-4378-A6EF-2B6A713739E1}" dt="2024-06-12T15:12:51.606" v="2533" actId="21"/>
          <ac:grpSpMkLst>
            <pc:docMk/>
            <pc:sldMk cId="0" sldId="327"/>
            <ac:grpSpMk id="14" creationId="{B9F93127-37A3-B56C-FE6E-ABFDB5046F57}"/>
          </ac:grpSpMkLst>
        </pc:grpChg>
        <pc:grpChg chg="mod">
          <ac:chgData name="Fivestarly Lathong [Chillibreeze]" userId="479dc9aa-69ea-4a23-b6ea-3a9d26ac15ab" providerId="ADAL" clId="{013ED13C-6829-4378-A6EF-2B6A713739E1}" dt="2024-06-12T15:11:53.706" v="2524"/>
          <ac:grpSpMkLst>
            <pc:docMk/>
            <pc:sldMk cId="0" sldId="327"/>
            <ac:grpSpMk id="15" creationId="{7290B533-0A68-984D-9EF1-1C601D670CB5}"/>
          </ac:grpSpMkLst>
        </pc:grpChg>
        <pc:grpChg chg="add del mod">
          <ac:chgData name="Fivestarly Lathong [Chillibreeze]" userId="479dc9aa-69ea-4a23-b6ea-3a9d26ac15ab" providerId="ADAL" clId="{013ED13C-6829-4378-A6EF-2B6A713739E1}" dt="2024-06-12T15:12:51.606" v="2533" actId="21"/>
          <ac:grpSpMkLst>
            <pc:docMk/>
            <pc:sldMk cId="0" sldId="327"/>
            <ac:grpSpMk id="19" creationId="{7EB2CD35-E9FD-8B82-4C8D-137B5767C952}"/>
          </ac:grpSpMkLst>
        </pc:grpChg>
        <pc:grpChg chg="mod">
          <ac:chgData name="Fivestarly Lathong [Chillibreeze]" userId="479dc9aa-69ea-4a23-b6ea-3a9d26ac15ab" providerId="ADAL" clId="{013ED13C-6829-4378-A6EF-2B6A713739E1}" dt="2024-06-12T15:11:53.706" v="2524"/>
          <ac:grpSpMkLst>
            <pc:docMk/>
            <pc:sldMk cId="0" sldId="327"/>
            <ac:grpSpMk id="20" creationId="{A288F3EA-783D-065B-4303-CA4C17AFFBD6}"/>
          </ac:grpSpMkLst>
        </pc:grpChg>
        <pc:grpChg chg="add del mod">
          <ac:chgData name="Fivestarly Lathong [Chillibreeze]" userId="479dc9aa-69ea-4a23-b6ea-3a9d26ac15ab" providerId="ADAL" clId="{013ED13C-6829-4378-A6EF-2B6A713739E1}" dt="2024-06-12T15:14:26.133" v="2538" actId="165"/>
          <ac:grpSpMkLst>
            <pc:docMk/>
            <pc:sldMk cId="0" sldId="327"/>
            <ac:grpSpMk id="25" creationId="{C54D7990-B02F-1448-9452-3D8A4F65C06B}"/>
          </ac:grpSpMkLst>
        </pc:grpChg>
        <pc:grpChg chg="mod topLvl">
          <ac:chgData name="Fivestarly Lathong [Chillibreeze]" userId="479dc9aa-69ea-4a23-b6ea-3a9d26ac15ab" providerId="ADAL" clId="{013ED13C-6829-4378-A6EF-2B6A713739E1}" dt="2024-06-12T15:16:18.392" v="2599" actId="12788"/>
          <ac:grpSpMkLst>
            <pc:docMk/>
            <pc:sldMk cId="0" sldId="327"/>
            <ac:grpSpMk id="26" creationId="{A251D168-FDE7-5DD0-3C51-CF7D5F451BBB}"/>
          </ac:grpSpMkLst>
        </pc:grpChg>
        <pc:grpChg chg="add del mod">
          <ac:chgData name="Fivestarly Lathong [Chillibreeze]" userId="479dc9aa-69ea-4a23-b6ea-3a9d26ac15ab" providerId="ADAL" clId="{013ED13C-6829-4378-A6EF-2B6A713739E1}" dt="2024-06-12T15:14:52.996" v="2550" actId="165"/>
          <ac:grpSpMkLst>
            <pc:docMk/>
            <pc:sldMk cId="0" sldId="327"/>
            <ac:grpSpMk id="30" creationId="{C500B653-7718-F702-CBF4-1AADD8DED5C6}"/>
          </ac:grpSpMkLst>
        </pc:grpChg>
        <pc:grpChg chg="add del mod">
          <ac:chgData name="Fivestarly Lathong [Chillibreeze]" userId="479dc9aa-69ea-4a23-b6ea-3a9d26ac15ab" providerId="ADAL" clId="{013ED13C-6829-4378-A6EF-2B6A713739E1}" dt="2024-06-12T15:14:52.996" v="2550" actId="165"/>
          <ac:grpSpMkLst>
            <pc:docMk/>
            <pc:sldMk cId="0" sldId="327"/>
            <ac:grpSpMk id="31" creationId="{A0664C3B-113F-4702-1305-9DAEFACAECCD}"/>
          </ac:grpSpMkLst>
        </pc:grpChg>
        <pc:grpChg chg="mod topLvl">
          <ac:chgData name="Fivestarly Lathong [Chillibreeze]" userId="479dc9aa-69ea-4a23-b6ea-3a9d26ac15ab" providerId="ADAL" clId="{013ED13C-6829-4378-A6EF-2B6A713739E1}" dt="2024-06-12T15:16:22.276" v="2602" actId="12789"/>
          <ac:grpSpMkLst>
            <pc:docMk/>
            <pc:sldMk cId="0" sldId="327"/>
            <ac:grpSpMk id="32" creationId="{21A61157-14BB-2F8E-8C69-3EA4BA05075F}"/>
          </ac:grpSpMkLst>
        </pc:grpChg>
        <pc:grpChg chg="add del mod">
          <ac:chgData name="Fivestarly Lathong [Chillibreeze]" userId="479dc9aa-69ea-4a23-b6ea-3a9d26ac15ab" providerId="ADAL" clId="{013ED13C-6829-4378-A6EF-2B6A713739E1}" dt="2024-06-12T15:14:52.996" v="2550" actId="165"/>
          <ac:grpSpMkLst>
            <pc:docMk/>
            <pc:sldMk cId="0" sldId="327"/>
            <ac:grpSpMk id="37" creationId="{087DD317-20B6-8CDB-3DE3-065B68749F33}"/>
          </ac:grpSpMkLst>
        </pc:grpChg>
        <pc:grpChg chg="mod topLvl">
          <ac:chgData name="Fivestarly Lathong [Chillibreeze]" userId="479dc9aa-69ea-4a23-b6ea-3a9d26ac15ab" providerId="ADAL" clId="{013ED13C-6829-4378-A6EF-2B6A713739E1}" dt="2024-06-12T15:16:27.144" v="2606" actId="12789"/>
          <ac:grpSpMkLst>
            <pc:docMk/>
            <pc:sldMk cId="0" sldId="327"/>
            <ac:grpSpMk id="38" creationId="{0EC1E055-B739-294B-D73C-BFC4FAEFAEB7}"/>
          </ac:grpSpMkLst>
        </pc:grpChg>
        <pc:grpChg chg="add del mod">
          <ac:chgData name="Fivestarly Lathong [Chillibreeze]" userId="479dc9aa-69ea-4a23-b6ea-3a9d26ac15ab" providerId="ADAL" clId="{013ED13C-6829-4378-A6EF-2B6A713739E1}" dt="2024-06-12T15:14:52.996" v="2550" actId="165"/>
          <ac:grpSpMkLst>
            <pc:docMk/>
            <pc:sldMk cId="0" sldId="327"/>
            <ac:grpSpMk id="42" creationId="{619BC349-0AF7-9E7E-413D-39326A4186A7}"/>
          </ac:grpSpMkLst>
        </pc:grpChg>
        <pc:grpChg chg="mod topLvl">
          <ac:chgData name="Fivestarly Lathong [Chillibreeze]" userId="479dc9aa-69ea-4a23-b6ea-3a9d26ac15ab" providerId="ADAL" clId="{013ED13C-6829-4378-A6EF-2B6A713739E1}" dt="2024-06-12T15:15:13.408" v="2561" actId="465"/>
          <ac:grpSpMkLst>
            <pc:docMk/>
            <pc:sldMk cId="0" sldId="327"/>
            <ac:grpSpMk id="43" creationId="{B8335510-0EF7-C7F1-5D22-827971A374F1}"/>
          </ac:grpSpMkLst>
        </pc:grpChg>
        <pc:grpChg chg="add del mod">
          <ac:chgData name="Fivestarly Lathong [Chillibreeze]" userId="479dc9aa-69ea-4a23-b6ea-3a9d26ac15ab" providerId="ADAL" clId="{013ED13C-6829-4378-A6EF-2B6A713739E1}" dt="2024-06-12T15:14:52.996" v="2550" actId="165"/>
          <ac:grpSpMkLst>
            <pc:docMk/>
            <pc:sldMk cId="0" sldId="327"/>
            <ac:grpSpMk id="47" creationId="{2C692284-A534-10CB-3239-DBF5C90A7843}"/>
          </ac:grpSpMkLst>
        </pc:grpChg>
        <pc:grpChg chg="mod topLvl">
          <ac:chgData name="Fivestarly Lathong [Chillibreeze]" userId="479dc9aa-69ea-4a23-b6ea-3a9d26ac15ab" providerId="ADAL" clId="{013ED13C-6829-4378-A6EF-2B6A713739E1}" dt="2024-06-12T15:16:30.911" v="2609" actId="12789"/>
          <ac:grpSpMkLst>
            <pc:docMk/>
            <pc:sldMk cId="0" sldId="327"/>
            <ac:grpSpMk id="48" creationId="{AA0818D4-D0CF-E437-60B7-B40CCE908244}"/>
          </ac:grpSpMkLst>
        </pc:grpChg>
        <pc:grpChg chg="add del mod">
          <ac:chgData name="Fivestarly Lathong [Chillibreeze]" userId="479dc9aa-69ea-4a23-b6ea-3a9d26ac15ab" providerId="ADAL" clId="{013ED13C-6829-4378-A6EF-2B6A713739E1}" dt="2024-06-12T15:14:52.996" v="2550" actId="165"/>
          <ac:grpSpMkLst>
            <pc:docMk/>
            <pc:sldMk cId="0" sldId="327"/>
            <ac:grpSpMk id="52" creationId="{0D4E7FB6-9E16-2583-D188-0D8ACAAF151A}"/>
          </ac:grpSpMkLst>
        </pc:grpChg>
        <pc:grpChg chg="mod topLvl">
          <ac:chgData name="Fivestarly Lathong [Chillibreeze]" userId="479dc9aa-69ea-4a23-b6ea-3a9d26ac15ab" providerId="ADAL" clId="{013ED13C-6829-4378-A6EF-2B6A713739E1}" dt="2024-06-12T15:15:13.408" v="2561" actId="465"/>
          <ac:grpSpMkLst>
            <pc:docMk/>
            <pc:sldMk cId="0" sldId="327"/>
            <ac:grpSpMk id="53" creationId="{010C0444-DA2A-192B-50F6-496FB3B57687}"/>
          </ac:grpSpMkLst>
        </pc:grpChg>
        <pc:grpChg chg="add del mod">
          <ac:chgData name="Fivestarly Lathong [Chillibreeze]" userId="479dc9aa-69ea-4a23-b6ea-3a9d26ac15ab" providerId="ADAL" clId="{013ED13C-6829-4378-A6EF-2B6A713739E1}" dt="2024-06-12T15:14:52.996" v="2550" actId="165"/>
          <ac:grpSpMkLst>
            <pc:docMk/>
            <pc:sldMk cId="0" sldId="327"/>
            <ac:grpSpMk id="57" creationId="{BD7B42B6-803A-54CB-9458-DF25F09674CA}"/>
          </ac:grpSpMkLst>
        </pc:grpChg>
        <pc:grpChg chg="mod topLvl">
          <ac:chgData name="Fivestarly Lathong [Chillibreeze]" userId="479dc9aa-69ea-4a23-b6ea-3a9d26ac15ab" providerId="ADAL" clId="{013ED13C-6829-4378-A6EF-2B6A713739E1}" dt="2024-06-12T15:15:13.408" v="2561" actId="465"/>
          <ac:grpSpMkLst>
            <pc:docMk/>
            <pc:sldMk cId="0" sldId="327"/>
            <ac:grpSpMk id="58" creationId="{6B847F0F-72AA-C222-CF06-906763982A97}"/>
          </ac:grpSpMkLst>
        </pc:grpChg>
        <pc:grpChg chg="add del mod">
          <ac:chgData name="Fivestarly Lathong [Chillibreeze]" userId="479dc9aa-69ea-4a23-b6ea-3a9d26ac15ab" providerId="ADAL" clId="{013ED13C-6829-4378-A6EF-2B6A713739E1}" dt="2024-06-12T15:14:52.996" v="2550" actId="165"/>
          <ac:grpSpMkLst>
            <pc:docMk/>
            <pc:sldMk cId="0" sldId="327"/>
            <ac:grpSpMk id="62" creationId="{689FD1DF-9BA4-7B0B-58B2-61BBC896A3D3}"/>
          </ac:grpSpMkLst>
        </pc:grpChg>
        <pc:grpChg chg="mod topLvl">
          <ac:chgData name="Fivestarly Lathong [Chillibreeze]" userId="479dc9aa-69ea-4a23-b6ea-3a9d26ac15ab" providerId="ADAL" clId="{013ED13C-6829-4378-A6EF-2B6A713739E1}" dt="2024-06-12T15:16:48.943" v="2615" actId="12788"/>
          <ac:grpSpMkLst>
            <pc:docMk/>
            <pc:sldMk cId="0" sldId="327"/>
            <ac:grpSpMk id="63" creationId="{CADACD67-1334-0CE0-FD32-FE3789E799C9}"/>
          </ac:grpSpMkLst>
        </pc:grpChg>
        <pc:grpChg chg="del">
          <ac:chgData name="Fivestarly Lathong [Chillibreeze]" userId="479dc9aa-69ea-4a23-b6ea-3a9d26ac15ab" providerId="ADAL" clId="{013ED13C-6829-4378-A6EF-2B6A713739E1}" dt="2024-06-12T15:11:52.896" v="2523" actId="478"/>
          <ac:grpSpMkLst>
            <pc:docMk/>
            <pc:sldMk cId="0" sldId="327"/>
            <ac:grpSpMk id="5364" creationId="{00000000-0000-0000-0000-000000000000}"/>
          </ac:grpSpMkLst>
        </pc:grpChg>
        <pc:grpChg chg="del">
          <ac:chgData name="Fivestarly Lathong [Chillibreeze]" userId="479dc9aa-69ea-4a23-b6ea-3a9d26ac15ab" providerId="ADAL" clId="{013ED13C-6829-4378-A6EF-2B6A713739E1}" dt="2024-06-12T15:11:52.896" v="2523" actId="478"/>
          <ac:grpSpMkLst>
            <pc:docMk/>
            <pc:sldMk cId="0" sldId="327"/>
            <ac:grpSpMk id="5384" creationId="{00000000-0000-0000-0000-000000000000}"/>
          </ac:grpSpMkLst>
        </pc:grpChg>
        <pc:grpChg chg="del">
          <ac:chgData name="Fivestarly Lathong [Chillibreeze]" userId="479dc9aa-69ea-4a23-b6ea-3a9d26ac15ab" providerId="ADAL" clId="{013ED13C-6829-4378-A6EF-2B6A713739E1}" dt="2024-06-12T15:11:52.896" v="2523" actId="478"/>
          <ac:grpSpMkLst>
            <pc:docMk/>
            <pc:sldMk cId="0" sldId="327"/>
            <ac:grpSpMk id="5388" creationId="{00000000-0000-0000-0000-000000000000}"/>
          </ac:grpSpMkLst>
        </pc:grpChg>
        <pc:grpChg chg="del">
          <ac:chgData name="Fivestarly Lathong [Chillibreeze]" userId="479dc9aa-69ea-4a23-b6ea-3a9d26ac15ab" providerId="ADAL" clId="{013ED13C-6829-4378-A6EF-2B6A713739E1}" dt="2024-06-12T15:11:52.896" v="2523" actId="478"/>
          <ac:grpSpMkLst>
            <pc:docMk/>
            <pc:sldMk cId="0" sldId="327"/>
            <ac:grpSpMk id="5392" creationId="{00000000-0000-0000-0000-000000000000}"/>
          </ac:grpSpMkLst>
        </pc:grpChg>
        <pc:grpChg chg="del">
          <ac:chgData name="Fivestarly Lathong [Chillibreeze]" userId="479dc9aa-69ea-4a23-b6ea-3a9d26ac15ab" providerId="ADAL" clId="{013ED13C-6829-4378-A6EF-2B6A713739E1}" dt="2024-06-12T15:11:52.896" v="2523" actId="478"/>
          <ac:grpSpMkLst>
            <pc:docMk/>
            <pc:sldMk cId="0" sldId="327"/>
            <ac:grpSpMk id="5396" creationId="{00000000-0000-0000-0000-000000000000}"/>
          </ac:grpSpMkLst>
        </pc:grpChg>
        <pc:grpChg chg="del">
          <ac:chgData name="Fivestarly Lathong [Chillibreeze]" userId="479dc9aa-69ea-4a23-b6ea-3a9d26ac15ab" providerId="ADAL" clId="{013ED13C-6829-4378-A6EF-2B6A713739E1}" dt="2024-06-12T15:11:52.896" v="2523" actId="478"/>
          <ac:grpSpMkLst>
            <pc:docMk/>
            <pc:sldMk cId="0" sldId="327"/>
            <ac:grpSpMk id="5400" creationId="{00000000-0000-0000-0000-000000000000}"/>
          </ac:grpSpMkLst>
        </pc:grpChg>
        <pc:grpChg chg="del">
          <ac:chgData name="Fivestarly Lathong [Chillibreeze]" userId="479dc9aa-69ea-4a23-b6ea-3a9d26ac15ab" providerId="ADAL" clId="{013ED13C-6829-4378-A6EF-2B6A713739E1}" dt="2024-06-12T15:11:52.896" v="2523" actId="478"/>
          <ac:grpSpMkLst>
            <pc:docMk/>
            <pc:sldMk cId="0" sldId="327"/>
            <ac:grpSpMk id="5404" creationId="{00000000-0000-0000-0000-000000000000}"/>
          </ac:grpSpMkLst>
        </pc:grpChg>
        <pc:grpChg chg="del">
          <ac:chgData name="Fivestarly Lathong [Chillibreeze]" userId="479dc9aa-69ea-4a23-b6ea-3a9d26ac15ab" providerId="ADAL" clId="{013ED13C-6829-4378-A6EF-2B6A713739E1}" dt="2024-06-12T15:11:52.896" v="2523" actId="478"/>
          <ac:grpSpMkLst>
            <pc:docMk/>
            <pc:sldMk cId="0" sldId="327"/>
            <ac:grpSpMk id="5408" creationId="{00000000-0000-0000-0000-000000000000}"/>
          </ac:grpSpMkLst>
        </pc:grpChg>
        <pc:grpChg chg="del">
          <ac:chgData name="Fivestarly Lathong [Chillibreeze]" userId="479dc9aa-69ea-4a23-b6ea-3a9d26ac15ab" providerId="ADAL" clId="{013ED13C-6829-4378-A6EF-2B6A713739E1}" dt="2024-06-12T15:11:52.896" v="2523" actId="478"/>
          <ac:grpSpMkLst>
            <pc:docMk/>
            <pc:sldMk cId="0" sldId="327"/>
            <ac:grpSpMk id="5412" creationId="{00000000-0000-0000-0000-000000000000}"/>
          </ac:grpSpMkLst>
        </pc:grpChg>
        <pc:grpChg chg="add del mod">
          <ac:chgData name="Fivestarly Lathong [Chillibreeze]" userId="479dc9aa-69ea-4a23-b6ea-3a9d26ac15ab" providerId="ADAL" clId="{013ED13C-6829-4378-A6EF-2B6A713739E1}" dt="2024-06-12T15:15:06.615" v="2557" actId="165"/>
          <ac:grpSpMkLst>
            <pc:docMk/>
            <pc:sldMk cId="0" sldId="327"/>
            <ac:grpSpMk id="5419" creationId="{8118712B-B6A6-9BD8-4C8E-832C80BF3752}"/>
          </ac:grpSpMkLst>
        </pc:grpChg>
        <pc:grpChg chg="add del mod">
          <ac:chgData name="Fivestarly Lathong [Chillibreeze]" userId="479dc9aa-69ea-4a23-b6ea-3a9d26ac15ab" providerId="ADAL" clId="{013ED13C-6829-4378-A6EF-2B6A713739E1}" dt="2024-06-12T15:15:10.562" v="2560" actId="165"/>
          <ac:grpSpMkLst>
            <pc:docMk/>
            <pc:sldMk cId="0" sldId="327"/>
            <ac:grpSpMk id="5420" creationId="{BAE29E17-E989-D8BF-ACED-CBE4A8B1001A}"/>
          </ac:grpSpMkLst>
        </pc:grpChg>
        <pc:grpChg chg="add del mod">
          <ac:chgData name="Fivestarly Lathong [Chillibreeze]" userId="479dc9aa-69ea-4a23-b6ea-3a9d26ac15ab" providerId="ADAL" clId="{013ED13C-6829-4378-A6EF-2B6A713739E1}" dt="2024-06-12T15:16:08.067" v="2593" actId="165"/>
          <ac:grpSpMkLst>
            <pc:docMk/>
            <pc:sldMk cId="0" sldId="327"/>
            <ac:grpSpMk id="5421" creationId="{4C09BB79-F70F-C4E7-7D71-EE0F8BD527E9}"/>
          </ac:grpSpMkLst>
        </pc:grpChg>
        <pc:grpChg chg="add mod">
          <ac:chgData name="Fivestarly Lathong [Chillibreeze]" userId="479dc9aa-69ea-4a23-b6ea-3a9d26ac15ab" providerId="ADAL" clId="{013ED13C-6829-4378-A6EF-2B6A713739E1}" dt="2024-06-12T15:16:33.493" v="2611" actId="571"/>
          <ac:grpSpMkLst>
            <pc:docMk/>
            <pc:sldMk cId="0" sldId="327"/>
            <ac:grpSpMk id="5428" creationId="{B2AA291E-76C6-003C-8B85-216885B04200}"/>
          </ac:grpSpMkLst>
        </pc:grpChg>
        <pc:picChg chg="add mod">
          <ac:chgData name="Fivestarly Lathong [Chillibreeze]" userId="479dc9aa-69ea-4a23-b6ea-3a9d26ac15ab" providerId="ADAL" clId="{013ED13C-6829-4378-A6EF-2B6A713739E1}" dt="2024-06-12T15:11:53.706" v="2524"/>
          <ac:picMkLst>
            <pc:docMk/>
            <pc:sldMk cId="0" sldId="327"/>
            <ac:picMk id="6" creationId="{A3C9941F-5090-7AA1-1028-21A10EBE44EF}"/>
          </ac:picMkLst>
        </pc:picChg>
        <pc:picChg chg="add mod">
          <ac:chgData name="Fivestarly Lathong [Chillibreeze]" userId="479dc9aa-69ea-4a23-b6ea-3a9d26ac15ab" providerId="ADAL" clId="{013ED13C-6829-4378-A6EF-2B6A713739E1}" dt="2024-06-12T15:11:53.706" v="2524"/>
          <ac:picMkLst>
            <pc:docMk/>
            <pc:sldMk cId="0" sldId="327"/>
            <ac:picMk id="8" creationId="{C2C66E90-4D45-2F76-41F5-EECEA2C75FD2}"/>
          </ac:picMkLst>
        </pc:picChg>
        <pc:picChg chg="del">
          <ac:chgData name="Fivestarly Lathong [Chillibreeze]" userId="479dc9aa-69ea-4a23-b6ea-3a9d26ac15ab" providerId="ADAL" clId="{013ED13C-6829-4378-A6EF-2B6A713739E1}" dt="2024-06-12T15:11:52.896" v="2523" actId="478"/>
          <ac:picMkLst>
            <pc:docMk/>
            <pc:sldMk cId="0" sldId="327"/>
            <ac:picMk id="5363" creationId="{00000000-0000-0000-0000-000000000000}"/>
          </ac:picMkLst>
        </pc:picChg>
        <pc:cxnChg chg="add mod">
          <ac:chgData name="Fivestarly Lathong [Chillibreeze]" userId="479dc9aa-69ea-4a23-b6ea-3a9d26ac15ab" providerId="ADAL" clId="{013ED13C-6829-4378-A6EF-2B6A713739E1}" dt="2024-06-12T15:11:53.706" v="2524"/>
          <ac:cxnSpMkLst>
            <pc:docMk/>
            <pc:sldMk cId="0" sldId="327"/>
            <ac:cxnSpMk id="4" creationId="{B1E78BC7-C675-B24F-65BD-A1FF1BAD4EA9}"/>
          </ac:cxnSpMkLst>
        </pc:cxnChg>
      </pc:sldChg>
      <pc:sldChg chg="addSp delSp modSp mod setBg modClrScheme chgLayout">
        <pc:chgData name="Fivestarly Lathong [Chillibreeze]" userId="479dc9aa-69ea-4a23-b6ea-3a9d26ac15ab" providerId="ADAL" clId="{013ED13C-6829-4378-A6EF-2B6A713739E1}" dt="2024-06-12T15:00:59.924" v="2359" actId="21"/>
        <pc:sldMkLst>
          <pc:docMk/>
          <pc:sldMk cId="0" sldId="333"/>
        </pc:sldMkLst>
        <pc:spChg chg="add mod ord">
          <ac:chgData name="Fivestarly Lathong [Chillibreeze]" userId="479dc9aa-69ea-4a23-b6ea-3a9d26ac15ab" providerId="ADAL" clId="{013ED13C-6829-4378-A6EF-2B6A713739E1}" dt="2024-06-12T14:59:22.270" v="2277" actId="167"/>
          <ac:spMkLst>
            <pc:docMk/>
            <pc:sldMk cId="0" sldId="333"/>
            <ac:spMk id="3" creationId="{66B5A1F8-1017-39DD-8D08-D16FE269C50F}"/>
          </ac:spMkLst>
        </pc:spChg>
        <pc:spChg chg="add mod ord">
          <ac:chgData name="Fivestarly Lathong [Chillibreeze]" userId="479dc9aa-69ea-4a23-b6ea-3a9d26ac15ab" providerId="ADAL" clId="{013ED13C-6829-4378-A6EF-2B6A713739E1}" dt="2024-06-12T14:59:22.270" v="2277" actId="167"/>
          <ac:spMkLst>
            <pc:docMk/>
            <pc:sldMk cId="0" sldId="333"/>
            <ac:spMk id="4" creationId="{58588D58-E537-FF2F-8B3F-F0E1307DBD1B}"/>
          </ac:spMkLst>
        </pc:spChg>
        <pc:spChg chg="add mod ord">
          <ac:chgData name="Fivestarly Lathong [Chillibreeze]" userId="479dc9aa-69ea-4a23-b6ea-3a9d26ac15ab" providerId="ADAL" clId="{013ED13C-6829-4378-A6EF-2B6A713739E1}" dt="2024-06-12T14:59:22.270" v="2277" actId="167"/>
          <ac:spMkLst>
            <pc:docMk/>
            <pc:sldMk cId="0" sldId="333"/>
            <ac:spMk id="5" creationId="{92A99131-5500-67A8-635B-439C5D33D547}"/>
          </ac:spMkLst>
        </pc:spChg>
        <pc:spChg chg="mod">
          <ac:chgData name="Fivestarly Lathong [Chillibreeze]" userId="479dc9aa-69ea-4a23-b6ea-3a9d26ac15ab" providerId="ADAL" clId="{013ED13C-6829-4378-A6EF-2B6A713739E1}" dt="2024-06-12T14:59:16.634" v="2276"/>
          <ac:spMkLst>
            <pc:docMk/>
            <pc:sldMk cId="0" sldId="333"/>
            <ac:spMk id="7" creationId="{23DA2F4A-C527-54CE-2FAC-4C08B30F5497}"/>
          </ac:spMkLst>
        </pc:spChg>
        <pc:spChg chg="mod">
          <ac:chgData name="Fivestarly Lathong [Chillibreeze]" userId="479dc9aa-69ea-4a23-b6ea-3a9d26ac15ab" providerId="ADAL" clId="{013ED13C-6829-4378-A6EF-2B6A713739E1}" dt="2024-06-12T14:59:16.634" v="2276"/>
          <ac:spMkLst>
            <pc:docMk/>
            <pc:sldMk cId="0" sldId="333"/>
            <ac:spMk id="8" creationId="{BCD2C453-DEF3-A929-7291-2D650C769B6A}"/>
          </ac:spMkLst>
        </pc:spChg>
        <pc:spChg chg="add mod ord">
          <ac:chgData name="Fivestarly Lathong [Chillibreeze]" userId="479dc9aa-69ea-4a23-b6ea-3a9d26ac15ab" providerId="ADAL" clId="{013ED13C-6829-4378-A6EF-2B6A713739E1}" dt="2024-06-12T14:59:56.630" v="2332" actId="12788"/>
          <ac:spMkLst>
            <pc:docMk/>
            <pc:sldMk cId="0" sldId="333"/>
            <ac:spMk id="9" creationId="{C80243C7-9C59-A648-BCD9-8E7F4637F98B}"/>
          </ac:spMkLst>
        </pc:spChg>
        <pc:spChg chg="mod">
          <ac:chgData name="Fivestarly Lathong [Chillibreeze]" userId="479dc9aa-69ea-4a23-b6ea-3a9d26ac15ab" providerId="ADAL" clId="{013ED13C-6829-4378-A6EF-2B6A713739E1}" dt="2024-06-12T14:59:16.634" v="2276"/>
          <ac:spMkLst>
            <pc:docMk/>
            <pc:sldMk cId="0" sldId="333"/>
            <ac:spMk id="11" creationId="{D424B5C9-566C-7A94-6005-18882B79C274}"/>
          </ac:spMkLst>
        </pc:spChg>
        <pc:spChg chg="mod ord">
          <ac:chgData name="Fivestarly Lathong [Chillibreeze]" userId="479dc9aa-69ea-4a23-b6ea-3a9d26ac15ab" providerId="ADAL" clId="{013ED13C-6829-4378-A6EF-2B6A713739E1}" dt="2024-06-12T14:59:41.938" v="2324" actId="1076"/>
          <ac:spMkLst>
            <pc:docMk/>
            <pc:sldMk cId="0" sldId="333"/>
            <ac:spMk id="12" creationId="{F5F16749-375D-C1A6-DF95-A21FC54A2B0E}"/>
          </ac:spMkLst>
        </pc:spChg>
        <pc:spChg chg="del mod">
          <ac:chgData name="Fivestarly Lathong [Chillibreeze]" userId="479dc9aa-69ea-4a23-b6ea-3a9d26ac15ab" providerId="ADAL" clId="{013ED13C-6829-4378-A6EF-2B6A713739E1}" dt="2024-06-12T15:00:59.924" v="2359" actId="21"/>
          <ac:spMkLst>
            <pc:docMk/>
            <pc:sldMk cId="0" sldId="333"/>
            <ac:spMk id="13" creationId="{19851D40-3552-358A-4BB1-5E8F1306BD0F}"/>
          </ac:spMkLst>
        </pc:spChg>
        <pc:spChg chg="del mod">
          <ac:chgData name="Fivestarly Lathong [Chillibreeze]" userId="479dc9aa-69ea-4a23-b6ea-3a9d26ac15ab" providerId="ADAL" clId="{013ED13C-6829-4378-A6EF-2B6A713739E1}" dt="2024-06-12T15:00:59.924" v="2359" actId="21"/>
          <ac:spMkLst>
            <pc:docMk/>
            <pc:sldMk cId="0" sldId="333"/>
            <ac:spMk id="14" creationId="{78E91FA5-D854-222C-CF5D-A5AB743B2993}"/>
          </ac:spMkLst>
        </pc:spChg>
        <pc:spChg chg="mod">
          <ac:chgData name="Fivestarly Lathong [Chillibreeze]" userId="479dc9aa-69ea-4a23-b6ea-3a9d26ac15ab" providerId="ADAL" clId="{013ED13C-6829-4378-A6EF-2B6A713739E1}" dt="2024-06-12T14:59:16.634" v="2276"/>
          <ac:spMkLst>
            <pc:docMk/>
            <pc:sldMk cId="0" sldId="333"/>
            <ac:spMk id="15" creationId="{B8008EF4-2DD3-5CCA-4B56-4A4A82253E2D}"/>
          </ac:spMkLst>
        </pc:spChg>
        <pc:spChg chg="mod">
          <ac:chgData name="Fivestarly Lathong [Chillibreeze]" userId="479dc9aa-69ea-4a23-b6ea-3a9d26ac15ab" providerId="ADAL" clId="{013ED13C-6829-4378-A6EF-2B6A713739E1}" dt="2024-06-12T14:59:16.634" v="2276"/>
          <ac:spMkLst>
            <pc:docMk/>
            <pc:sldMk cId="0" sldId="333"/>
            <ac:spMk id="16" creationId="{FC361205-1030-78D0-A552-A5847C9269D3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59:31.896" v="2322" actId="21"/>
          <ac:spMkLst>
            <pc:docMk/>
            <pc:sldMk cId="0" sldId="333"/>
            <ac:spMk id="17" creationId="{D9AF48E0-C6BC-6A97-A65A-43400F64E468}"/>
          </ac:spMkLst>
        </pc:spChg>
        <pc:spChg chg="add mod ord">
          <ac:chgData name="Fivestarly Lathong [Chillibreeze]" userId="479dc9aa-69ea-4a23-b6ea-3a9d26ac15ab" providerId="ADAL" clId="{013ED13C-6829-4378-A6EF-2B6A713739E1}" dt="2024-06-12T14:59:22.270" v="2277" actId="167"/>
          <ac:spMkLst>
            <pc:docMk/>
            <pc:sldMk cId="0" sldId="333"/>
            <ac:spMk id="37" creationId="{62641477-9C31-4810-C34C-35A67A6E7FF7}"/>
          </ac:spMkLst>
        </pc:spChg>
        <pc:spChg chg="del mod">
          <ac:chgData name="Fivestarly Lathong [Chillibreeze]" userId="479dc9aa-69ea-4a23-b6ea-3a9d26ac15ab" providerId="ADAL" clId="{013ED13C-6829-4378-A6EF-2B6A713739E1}" dt="2024-06-12T15:00:59.924" v="2359" actId="21"/>
          <ac:spMkLst>
            <pc:docMk/>
            <pc:sldMk cId="0" sldId="333"/>
            <ac:spMk id="38" creationId="{7D1AD4BA-3712-DF34-0BBC-8D60E1A59990}"/>
          </ac:spMkLst>
        </pc:spChg>
        <pc:spChg chg="add mod ord">
          <ac:chgData name="Fivestarly Lathong [Chillibreeze]" userId="479dc9aa-69ea-4a23-b6ea-3a9d26ac15ab" providerId="ADAL" clId="{013ED13C-6829-4378-A6EF-2B6A713739E1}" dt="2024-06-12T15:00:55.147" v="2358" actId="255"/>
          <ac:spMkLst>
            <pc:docMk/>
            <pc:sldMk cId="0" sldId="333"/>
            <ac:spMk id="39" creationId="{602A9E5D-35EE-24B7-6362-1AB667D207F7}"/>
          </ac:spMkLst>
        </pc:spChg>
        <pc:grpChg chg="add mod ord">
          <ac:chgData name="Fivestarly Lathong [Chillibreeze]" userId="479dc9aa-69ea-4a23-b6ea-3a9d26ac15ab" providerId="ADAL" clId="{013ED13C-6829-4378-A6EF-2B6A713739E1}" dt="2024-06-12T14:59:22.270" v="2277" actId="167"/>
          <ac:grpSpMkLst>
            <pc:docMk/>
            <pc:sldMk cId="0" sldId="333"/>
            <ac:grpSpMk id="6" creationId="{C061FE68-6384-3508-5B6A-B657972FEC97}"/>
          </ac:grpSpMkLst>
        </pc:grpChg>
        <pc:grpChg chg="add mod ord">
          <ac:chgData name="Fivestarly Lathong [Chillibreeze]" userId="479dc9aa-69ea-4a23-b6ea-3a9d26ac15ab" providerId="ADAL" clId="{013ED13C-6829-4378-A6EF-2B6A713739E1}" dt="2024-06-12T14:59:22.270" v="2277" actId="167"/>
          <ac:grpSpMkLst>
            <pc:docMk/>
            <pc:sldMk cId="0" sldId="333"/>
            <ac:grpSpMk id="10" creationId="{954DE6EE-EB60-37A9-775B-412D515F3313}"/>
          </ac:grpSpMkLst>
        </pc:grpChg>
        <pc:grpChg chg="mod">
          <ac:chgData name="Fivestarly Lathong [Chillibreeze]" userId="479dc9aa-69ea-4a23-b6ea-3a9d26ac15ab" providerId="ADAL" clId="{013ED13C-6829-4378-A6EF-2B6A713739E1}" dt="2024-06-12T15:00:00.488" v="2333" actId="14100"/>
          <ac:grpSpMkLst>
            <pc:docMk/>
            <pc:sldMk cId="0" sldId="333"/>
            <ac:grpSpMk id="18" creationId="{472502EA-2CE1-324B-922A-A9EC26D055A8}"/>
          </ac:grpSpMkLst>
        </pc:grpChg>
        <pc:picChg chg="add mod ord">
          <ac:chgData name="Fivestarly Lathong [Chillibreeze]" userId="479dc9aa-69ea-4a23-b6ea-3a9d26ac15ab" providerId="ADAL" clId="{013ED13C-6829-4378-A6EF-2B6A713739E1}" dt="2024-06-12T14:59:22.270" v="2277" actId="167"/>
          <ac:picMkLst>
            <pc:docMk/>
            <pc:sldMk cId="0" sldId="333"/>
            <ac:picMk id="40" creationId="{A2EC0780-4DD6-F831-F823-8395F33DCD5C}"/>
          </ac:picMkLst>
        </pc:picChg>
        <pc:picChg chg="add del mod ord">
          <ac:chgData name="Fivestarly Lathong [Chillibreeze]" userId="479dc9aa-69ea-4a23-b6ea-3a9d26ac15ab" providerId="ADAL" clId="{013ED13C-6829-4378-A6EF-2B6A713739E1}" dt="2024-06-12T14:59:44.636" v="2325" actId="21"/>
          <ac:picMkLst>
            <pc:docMk/>
            <pc:sldMk cId="0" sldId="333"/>
            <ac:picMk id="41" creationId="{71A4A99B-EBFE-1DD5-3485-55EEB90A3906}"/>
          </ac:picMkLst>
        </pc:picChg>
      </pc:sldChg>
      <pc:sldChg chg="del">
        <pc:chgData name="Fivestarly Lathong [Chillibreeze]" userId="479dc9aa-69ea-4a23-b6ea-3a9d26ac15ab" providerId="ADAL" clId="{013ED13C-6829-4378-A6EF-2B6A713739E1}" dt="2024-06-12T14:55:46.513" v="2223" actId="47"/>
        <pc:sldMkLst>
          <pc:docMk/>
          <pc:sldMk cId="0" sldId="334"/>
        </pc:sldMkLst>
      </pc:sldChg>
      <pc:sldChg chg="addSp delSp modSp mod modClrScheme chgLayout">
        <pc:chgData name="Fivestarly Lathong [Chillibreeze]" userId="479dc9aa-69ea-4a23-b6ea-3a9d26ac15ab" providerId="ADAL" clId="{013ED13C-6829-4378-A6EF-2B6A713739E1}" dt="2024-06-12T14:54:04.909" v="2219"/>
        <pc:sldMkLst>
          <pc:docMk/>
          <pc:sldMk cId="3819318977" sldId="336"/>
        </pc:sldMkLst>
        <pc:spChg chg="add del mod">
          <ac:chgData name="Fivestarly Lathong [Chillibreeze]" userId="479dc9aa-69ea-4a23-b6ea-3a9d26ac15ab" providerId="ADAL" clId="{013ED13C-6829-4378-A6EF-2B6A713739E1}" dt="2024-06-12T14:53:49.970" v="2208" actId="6264"/>
          <ac:spMkLst>
            <pc:docMk/>
            <pc:sldMk cId="3819318977" sldId="336"/>
            <ac:spMk id="26" creationId="{A187823B-230B-88FE-C841-57EF7B99A707}"/>
          </ac:spMkLst>
        </pc:spChg>
        <pc:spChg chg="add del mod">
          <ac:chgData name="Fivestarly Lathong [Chillibreeze]" userId="479dc9aa-69ea-4a23-b6ea-3a9d26ac15ab" providerId="ADAL" clId="{013ED13C-6829-4378-A6EF-2B6A713739E1}" dt="2024-06-12T14:53:50.174" v="2209" actId="6264"/>
          <ac:spMkLst>
            <pc:docMk/>
            <pc:sldMk cId="3819318977" sldId="336"/>
            <ac:spMk id="27" creationId="{E6548038-FE78-51F2-AABD-77EEE46AA903}"/>
          </ac:spMkLst>
        </pc:spChg>
        <pc:spChg chg="add del mod">
          <ac:chgData name="Fivestarly Lathong [Chillibreeze]" userId="479dc9aa-69ea-4a23-b6ea-3a9d26ac15ab" providerId="ADAL" clId="{013ED13C-6829-4378-A6EF-2B6A713739E1}" dt="2024-06-12T14:54:02.019" v="2214" actId="6264"/>
          <ac:spMkLst>
            <pc:docMk/>
            <pc:sldMk cId="3819318977" sldId="336"/>
            <ac:spMk id="28" creationId="{D38E12CC-B4BA-5390-0A4E-BD3A8CCC69B6}"/>
          </ac:spMkLst>
        </pc:spChg>
        <pc:spChg chg="add del mod">
          <ac:chgData name="Fivestarly Lathong [Chillibreeze]" userId="479dc9aa-69ea-4a23-b6ea-3a9d26ac15ab" providerId="ADAL" clId="{013ED13C-6829-4378-A6EF-2B6A713739E1}" dt="2024-06-12T14:54:02.223" v="2215" actId="6264"/>
          <ac:spMkLst>
            <pc:docMk/>
            <pc:sldMk cId="3819318977" sldId="336"/>
            <ac:spMk id="29" creationId="{63A8DE9A-FF24-8E43-C087-3CFE644D7587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54:04.139" v="2218" actId="6264"/>
          <ac:spMkLst>
            <pc:docMk/>
            <pc:sldMk cId="3819318977" sldId="336"/>
            <ac:spMk id="30" creationId="{1BB79ABC-EE91-39C0-F4CB-DCEB59E6786E}"/>
          </ac:spMkLst>
        </pc:spChg>
        <pc:spChg chg="add mod ord">
          <ac:chgData name="Fivestarly Lathong [Chillibreeze]" userId="479dc9aa-69ea-4a23-b6ea-3a9d26ac15ab" providerId="ADAL" clId="{013ED13C-6829-4378-A6EF-2B6A713739E1}" dt="2024-06-12T14:54:04.909" v="2219"/>
          <ac:spMkLst>
            <pc:docMk/>
            <pc:sldMk cId="3819318977" sldId="336"/>
            <ac:spMk id="31" creationId="{732F5FBD-0C97-2CE7-8E54-0FD1C6C2E61D}"/>
          </ac:spMkLst>
        </pc:spChg>
        <pc:spChg chg="del mod ord">
          <ac:chgData name="Fivestarly Lathong [Chillibreeze]" userId="479dc9aa-69ea-4a23-b6ea-3a9d26ac15ab" providerId="ADAL" clId="{013ED13C-6829-4378-A6EF-2B6A713739E1}" dt="2024-06-12T14:54:03.777" v="2217" actId="6264"/>
          <ac:spMkLst>
            <pc:docMk/>
            <pc:sldMk cId="3819318977" sldId="336"/>
            <ac:spMk id="5021" creationId="{00000000-0000-0000-0000-000000000000}"/>
          </ac:spMkLst>
        </pc:spChg>
      </pc:sldChg>
      <pc:sldChg chg="del">
        <pc:chgData name="Fivestarly Lathong [Chillibreeze]" userId="479dc9aa-69ea-4a23-b6ea-3a9d26ac15ab" providerId="ADAL" clId="{013ED13C-6829-4378-A6EF-2B6A713739E1}" dt="2024-06-12T12:59:22.153" v="97" actId="2696"/>
        <pc:sldMkLst>
          <pc:docMk/>
          <pc:sldMk cId="3703766703" sldId="337"/>
        </pc:sldMkLst>
      </pc:sldChg>
      <pc:sldChg chg="addSp delSp modSp add mod modClrScheme chgLayout modNotesTx">
        <pc:chgData name="Fivestarly Lathong [Chillibreeze]" userId="479dc9aa-69ea-4a23-b6ea-3a9d26ac15ab" providerId="ADAL" clId="{013ED13C-6829-4378-A6EF-2B6A713739E1}" dt="2024-06-12T14:19:42.483" v="1361"/>
        <pc:sldMkLst>
          <pc:docMk/>
          <pc:sldMk cId="0" sldId="2147482411"/>
        </pc:sldMkLst>
        <pc:spChg chg="add del mod ord">
          <ac:chgData name="Fivestarly Lathong [Chillibreeze]" userId="479dc9aa-69ea-4a23-b6ea-3a9d26ac15ab" providerId="ADAL" clId="{013ED13C-6829-4378-A6EF-2B6A713739E1}" dt="2024-06-12T14:18:48.302" v="1348" actId="6264"/>
          <ac:spMkLst>
            <pc:docMk/>
            <pc:sldMk cId="0" sldId="2147482411"/>
            <ac:spMk id="2" creationId="{4A436B0C-EA92-21C2-855F-F56E3966AF4A}"/>
          </ac:spMkLst>
        </pc:spChg>
        <pc:spChg chg="add del mod">
          <ac:chgData name="Fivestarly Lathong [Chillibreeze]" userId="479dc9aa-69ea-4a23-b6ea-3a9d26ac15ab" providerId="ADAL" clId="{013ED13C-6829-4378-A6EF-2B6A713739E1}" dt="2024-06-12T14:18:48.302" v="1348" actId="6264"/>
          <ac:spMkLst>
            <pc:docMk/>
            <pc:sldMk cId="0" sldId="2147482411"/>
            <ac:spMk id="3" creationId="{AE52260B-5AD7-58E3-92E0-22F146F346C1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18:48.553" v="1349" actId="6264"/>
          <ac:spMkLst>
            <pc:docMk/>
            <pc:sldMk cId="0" sldId="2147482411"/>
            <ac:spMk id="4" creationId="{B3B08127-11D8-086A-DBA3-3073F6669BAE}"/>
          </ac:spMkLst>
        </pc:spChg>
        <pc:spChg chg="add del mod">
          <ac:chgData name="Fivestarly Lathong [Chillibreeze]" userId="479dc9aa-69ea-4a23-b6ea-3a9d26ac15ab" providerId="ADAL" clId="{013ED13C-6829-4378-A6EF-2B6A713739E1}" dt="2024-06-12T14:18:48.553" v="1349" actId="6264"/>
          <ac:spMkLst>
            <pc:docMk/>
            <pc:sldMk cId="0" sldId="2147482411"/>
            <ac:spMk id="5" creationId="{CBA8A8A3-C33C-1150-98C9-C48E64E25BCE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18:48.682" v="1350" actId="6264"/>
          <ac:spMkLst>
            <pc:docMk/>
            <pc:sldMk cId="0" sldId="2147482411"/>
            <ac:spMk id="6" creationId="{2A3677A9-EABC-13D7-D53F-C43D40F36600}"/>
          </ac:spMkLst>
        </pc:spChg>
        <pc:spChg chg="add del mod">
          <ac:chgData name="Fivestarly Lathong [Chillibreeze]" userId="479dc9aa-69ea-4a23-b6ea-3a9d26ac15ab" providerId="ADAL" clId="{013ED13C-6829-4378-A6EF-2B6A713739E1}" dt="2024-06-12T14:18:48.682" v="1350" actId="6264"/>
          <ac:spMkLst>
            <pc:docMk/>
            <pc:sldMk cId="0" sldId="2147482411"/>
            <ac:spMk id="7" creationId="{A4F8C3E4-F823-D34D-6CAB-C48F21C2F262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18:48.854" v="1351" actId="6264"/>
          <ac:spMkLst>
            <pc:docMk/>
            <pc:sldMk cId="0" sldId="2147482411"/>
            <ac:spMk id="8" creationId="{2673043B-F8CC-AA75-5A3F-FACCCDB83EE4}"/>
          </ac:spMkLst>
        </pc:spChg>
        <pc:spChg chg="add del mod">
          <ac:chgData name="Fivestarly Lathong [Chillibreeze]" userId="479dc9aa-69ea-4a23-b6ea-3a9d26ac15ab" providerId="ADAL" clId="{013ED13C-6829-4378-A6EF-2B6A713739E1}" dt="2024-06-12T14:18:48.854" v="1351" actId="6264"/>
          <ac:spMkLst>
            <pc:docMk/>
            <pc:sldMk cId="0" sldId="2147482411"/>
            <ac:spMk id="9" creationId="{6A3A951C-DDBF-996E-3D42-124FD167764C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18:49.087" v="1352" actId="6264"/>
          <ac:spMkLst>
            <pc:docMk/>
            <pc:sldMk cId="0" sldId="2147482411"/>
            <ac:spMk id="10" creationId="{C217D399-5F43-600E-D336-7A43C7DC6267}"/>
          </ac:spMkLst>
        </pc:spChg>
        <pc:spChg chg="add del mod">
          <ac:chgData name="Fivestarly Lathong [Chillibreeze]" userId="479dc9aa-69ea-4a23-b6ea-3a9d26ac15ab" providerId="ADAL" clId="{013ED13C-6829-4378-A6EF-2B6A713739E1}" dt="2024-06-12T14:18:49.087" v="1352" actId="6264"/>
          <ac:spMkLst>
            <pc:docMk/>
            <pc:sldMk cId="0" sldId="2147482411"/>
            <ac:spMk id="11" creationId="{5DD1CC4D-63A8-CE3A-583D-37FBAAACC36F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18:56.498" v="1353" actId="700"/>
          <ac:spMkLst>
            <pc:docMk/>
            <pc:sldMk cId="0" sldId="2147482411"/>
            <ac:spMk id="12" creationId="{977EF3B8-DF10-59F8-567A-FA1CB8EFC6C4}"/>
          </ac:spMkLst>
        </pc:spChg>
        <pc:spChg chg="add del mod ord">
          <ac:chgData name="Fivestarly Lathong [Chillibreeze]" userId="479dc9aa-69ea-4a23-b6ea-3a9d26ac15ab" providerId="ADAL" clId="{013ED13C-6829-4378-A6EF-2B6A713739E1}" dt="2024-06-12T14:18:59.420" v="1354" actId="478"/>
          <ac:spMkLst>
            <pc:docMk/>
            <pc:sldMk cId="0" sldId="2147482411"/>
            <ac:spMk id="13" creationId="{B172BC4A-CB80-9B69-2948-EA2E95235F29}"/>
          </ac:spMkLst>
        </pc:spChg>
        <pc:spChg chg="mod ord">
          <ac:chgData name="Fivestarly Lathong [Chillibreeze]" userId="479dc9aa-69ea-4a23-b6ea-3a9d26ac15ab" providerId="ADAL" clId="{013ED13C-6829-4378-A6EF-2B6A713739E1}" dt="2024-06-12T14:19:07.530" v="1355" actId="207"/>
          <ac:spMkLst>
            <pc:docMk/>
            <pc:sldMk cId="0" sldId="2147482411"/>
            <ac:spMk id="21" creationId="{89A93FDB-22F2-DB88-E3D9-E79458EE0E89}"/>
          </ac:spMkLst>
        </pc:spChg>
        <pc:spChg chg="del mod">
          <ac:chgData name="Fivestarly Lathong [Chillibreeze]" userId="479dc9aa-69ea-4a23-b6ea-3a9d26ac15ab" providerId="ADAL" clId="{013ED13C-6829-4378-A6EF-2B6A713739E1}" dt="2024-06-12T14:18:42.041" v="1346" actId="21"/>
          <ac:spMkLst>
            <pc:docMk/>
            <pc:sldMk cId="0" sldId="2147482411"/>
            <ac:spMk id="42" creationId="{3C4299AB-4345-C9FF-DB56-F607C69AF27F}"/>
          </ac:spMkLst>
        </pc:spChg>
        <pc:grpChg chg="del">
          <ac:chgData name="Fivestarly Lathong [Chillibreeze]" userId="479dc9aa-69ea-4a23-b6ea-3a9d26ac15ab" providerId="ADAL" clId="{013ED13C-6829-4378-A6EF-2B6A713739E1}" dt="2024-06-12T14:18:59.420" v="1354" actId="478"/>
          <ac:grpSpMkLst>
            <pc:docMk/>
            <pc:sldMk cId="0" sldId="2147482411"/>
            <ac:grpSpMk id="59" creationId="{9C4D2FBC-E742-1420-625F-48964F741AA1}"/>
          </ac:grpSpMkLst>
        </pc:grpChg>
        <pc:picChg chg="add mod">
          <ac:chgData name="Fivestarly Lathong [Chillibreeze]" userId="479dc9aa-69ea-4a23-b6ea-3a9d26ac15ab" providerId="ADAL" clId="{013ED13C-6829-4378-A6EF-2B6A713739E1}" dt="2024-06-12T14:19:29.431" v="1360" actId="1076"/>
          <ac:picMkLst>
            <pc:docMk/>
            <pc:sldMk cId="0" sldId="2147482411"/>
            <ac:picMk id="14" creationId="{78C39ABD-6775-8F45-45A9-4CD880DB66F9}"/>
          </ac:picMkLst>
        </pc:picChg>
        <pc:picChg chg="del mod">
          <ac:chgData name="Fivestarly Lathong [Chillibreeze]" userId="479dc9aa-69ea-4a23-b6ea-3a9d26ac15ab" providerId="ADAL" clId="{013ED13C-6829-4378-A6EF-2B6A713739E1}" dt="2024-06-12T14:18:46.401" v="1347" actId="21"/>
          <ac:picMkLst>
            <pc:docMk/>
            <pc:sldMk cId="0" sldId="2147482411"/>
            <ac:picMk id="15" creationId="{78C39ABD-6775-8F45-45A9-4CD880DB66F9}"/>
          </ac:picMkLst>
        </pc:picChg>
        <pc:picChg chg="del mod">
          <ac:chgData name="Fivestarly Lathong [Chillibreeze]" userId="479dc9aa-69ea-4a23-b6ea-3a9d26ac15ab" providerId="ADAL" clId="{013ED13C-6829-4378-A6EF-2B6A713739E1}" dt="2024-06-12T14:18:46.401" v="1347" actId="21"/>
          <ac:picMkLst>
            <pc:docMk/>
            <pc:sldMk cId="0" sldId="2147482411"/>
            <ac:picMk id="16" creationId="{00000000-0000-0000-0000-000000000000}"/>
          </ac:picMkLst>
        </pc:picChg>
        <pc:picChg chg="add mod">
          <ac:chgData name="Fivestarly Lathong [Chillibreeze]" userId="479dc9aa-69ea-4a23-b6ea-3a9d26ac15ab" providerId="ADAL" clId="{013ED13C-6829-4378-A6EF-2B6A713739E1}" dt="2024-06-12T14:19:29.431" v="1360" actId="1076"/>
          <ac:picMkLst>
            <pc:docMk/>
            <pc:sldMk cId="0" sldId="2147482411"/>
            <ac:picMk id="17" creationId="{00000000-0000-0000-0000-000000000000}"/>
          </ac:picMkLst>
        </pc:picChg>
        <pc:picChg chg="mod modCrop">
          <ac:chgData name="Fivestarly Lathong [Chillibreeze]" userId="479dc9aa-69ea-4a23-b6ea-3a9d26ac15ab" providerId="ADAL" clId="{013ED13C-6829-4378-A6EF-2B6A713739E1}" dt="2024-06-12T14:18:13.878" v="1343" actId="552"/>
          <ac:picMkLst>
            <pc:docMk/>
            <pc:sldMk cId="0" sldId="2147482411"/>
            <ac:picMk id="44" creationId="{12A5B2D8-4C4E-3EAC-4C65-5F945B50AC5B}"/>
          </ac:picMkLst>
        </pc:picChg>
        <pc:picChg chg="mod modCrop">
          <ac:chgData name="Fivestarly Lathong [Chillibreeze]" userId="479dc9aa-69ea-4a23-b6ea-3a9d26ac15ab" providerId="ADAL" clId="{013ED13C-6829-4378-A6EF-2B6A713739E1}" dt="2024-06-12T14:18:11.884" v="1342" actId="553"/>
          <ac:picMkLst>
            <pc:docMk/>
            <pc:sldMk cId="0" sldId="2147482411"/>
            <ac:picMk id="45" creationId="{57FB5E5B-EEF6-DE1D-A135-C25733F13E51}"/>
          </ac:picMkLst>
        </pc:picChg>
      </pc:sldChg>
      <pc:sldChg chg="modSp add mod modNotesTx">
        <pc:chgData name="Fivestarly Lathong [Chillibreeze]" userId="479dc9aa-69ea-4a23-b6ea-3a9d26ac15ab" providerId="ADAL" clId="{013ED13C-6829-4378-A6EF-2B6A713739E1}" dt="2024-06-12T14:22:30.785" v="1406" actId="20577"/>
        <pc:sldMkLst>
          <pc:docMk/>
          <pc:sldMk cId="0" sldId="2147482413"/>
        </pc:sldMkLst>
        <pc:spChg chg="mod">
          <ac:chgData name="Fivestarly Lathong [Chillibreeze]" userId="479dc9aa-69ea-4a23-b6ea-3a9d26ac15ab" providerId="ADAL" clId="{013ED13C-6829-4378-A6EF-2B6A713739E1}" dt="2024-06-12T14:21:09.898" v="1393"/>
          <ac:spMkLst>
            <pc:docMk/>
            <pc:sldMk cId="0" sldId="2147482413"/>
            <ac:spMk id="18" creationId="{00000000-0000-0000-0000-000000000000}"/>
          </ac:spMkLst>
        </pc:spChg>
        <pc:spChg chg="mod">
          <ac:chgData name="Fivestarly Lathong [Chillibreeze]" userId="479dc9aa-69ea-4a23-b6ea-3a9d26ac15ab" providerId="ADAL" clId="{013ED13C-6829-4378-A6EF-2B6A713739E1}" dt="2024-06-12T14:22:14.380" v="1399"/>
          <ac:spMkLst>
            <pc:docMk/>
            <pc:sldMk cId="0" sldId="2147482413"/>
            <ac:spMk id="20" creationId="{00000000-0000-0000-0000-000000000000}"/>
          </ac:spMkLst>
        </pc:spChg>
        <pc:spChg chg="mod">
          <ac:chgData name="Fivestarly Lathong [Chillibreeze]" userId="479dc9aa-69ea-4a23-b6ea-3a9d26ac15ab" providerId="ADAL" clId="{013ED13C-6829-4378-A6EF-2B6A713739E1}" dt="2024-06-12T14:22:30.785" v="1406" actId="20577"/>
          <ac:spMkLst>
            <pc:docMk/>
            <pc:sldMk cId="0" sldId="2147482413"/>
            <ac:spMk id="23" creationId="{00000000-0000-0000-0000-000000000000}"/>
          </ac:spMkLst>
        </pc:spChg>
      </pc:sldChg>
      <pc:sldChg chg="modSp add mod modNotesTx">
        <pc:chgData name="Fivestarly Lathong [Chillibreeze]" userId="479dc9aa-69ea-4a23-b6ea-3a9d26ac15ab" providerId="ADAL" clId="{013ED13C-6829-4378-A6EF-2B6A713739E1}" dt="2024-06-12T14:23:16.698" v="1432"/>
        <pc:sldMkLst>
          <pc:docMk/>
          <pc:sldMk cId="4156249660" sldId="2147482414"/>
        </pc:sldMkLst>
        <pc:spChg chg="mod">
          <ac:chgData name="Fivestarly Lathong [Chillibreeze]" userId="479dc9aa-69ea-4a23-b6ea-3a9d26ac15ab" providerId="ADAL" clId="{013ED13C-6829-4378-A6EF-2B6A713739E1}" dt="2024-06-12T14:22:55.767" v="1418"/>
          <ac:spMkLst>
            <pc:docMk/>
            <pc:sldMk cId="4156249660" sldId="2147482414"/>
            <ac:spMk id="18" creationId="{00000000-0000-0000-0000-000000000000}"/>
          </ac:spMkLst>
        </pc:spChg>
        <pc:spChg chg="mod">
          <ac:chgData name="Fivestarly Lathong [Chillibreeze]" userId="479dc9aa-69ea-4a23-b6ea-3a9d26ac15ab" providerId="ADAL" clId="{013ED13C-6829-4378-A6EF-2B6A713739E1}" dt="2024-06-12T14:23:07.191" v="1425"/>
          <ac:spMkLst>
            <pc:docMk/>
            <pc:sldMk cId="4156249660" sldId="2147482414"/>
            <ac:spMk id="20" creationId="{00000000-0000-0000-0000-000000000000}"/>
          </ac:spMkLst>
        </pc:spChg>
        <pc:spChg chg="mod">
          <ac:chgData name="Fivestarly Lathong [Chillibreeze]" userId="479dc9aa-69ea-4a23-b6ea-3a9d26ac15ab" providerId="ADAL" clId="{013ED13C-6829-4378-A6EF-2B6A713739E1}" dt="2024-06-12T14:23:16.698" v="1432"/>
          <ac:spMkLst>
            <pc:docMk/>
            <pc:sldMk cId="4156249660" sldId="2147482414"/>
            <ac:spMk id="23" creationId="{00000000-0000-0000-0000-000000000000}"/>
          </ac:spMkLst>
        </pc:spChg>
      </pc:sldChg>
      <pc:sldChg chg="modSp add mod modNotesTx">
        <pc:chgData name="Fivestarly Lathong [Chillibreeze]" userId="479dc9aa-69ea-4a23-b6ea-3a9d26ac15ab" providerId="ADAL" clId="{013ED13C-6829-4378-A6EF-2B6A713739E1}" dt="2024-06-12T14:56:01.021" v="2225" actId="732"/>
        <pc:sldMkLst>
          <pc:docMk/>
          <pc:sldMk cId="0" sldId="2147482415"/>
        </pc:sldMkLst>
        <pc:picChg chg="mod modCrop">
          <ac:chgData name="Fivestarly Lathong [Chillibreeze]" userId="479dc9aa-69ea-4a23-b6ea-3a9d26ac15ab" providerId="ADAL" clId="{013ED13C-6829-4378-A6EF-2B6A713739E1}" dt="2024-06-12T14:55:56.467" v="2224" actId="732"/>
          <ac:picMkLst>
            <pc:docMk/>
            <pc:sldMk cId="0" sldId="2147482415"/>
            <ac:picMk id="44" creationId="{12A5B2D8-4C4E-3EAC-4C65-5F945B50AC5B}"/>
          </ac:picMkLst>
        </pc:picChg>
        <pc:picChg chg="mod modCrop">
          <ac:chgData name="Fivestarly Lathong [Chillibreeze]" userId="479dc9aa-69ea-4a23-b6ea-3a9d26ac15ab" providerId="ADAL" clId="{013ED13C-6829-4378-A6EF-2B6A713739E1}" dt="2024-06-12T14:56:01.021" v="2225" actId="732"/>
          <ac:picMkLst>
            <pc:docMk/>
            <pc:sldMk cId="0" sldId="2147482415"/>
            <ac:picMk id="45" creationId="{57FB5E5B-EEF6-DE1D-A135-C25733F13E51}"/>
          </ac:picMkLst>
        </pc:picChg>
      </pc:sldChg>
      <pc:sldMasterChg chg="modSldLayout">
        <pc:chgData name="Fivestarly Lathong [Chillibreeze]" userId="479dc9aa-69ea-4a23-b6ea-3a9d26ac15ab" providerId="ADAL" clId="{013ED13C-6829-4378-A6EF-2B6A713739E1}" dt="2024-06-12T15:24:47.929" v="2852" actId="1076"/>
        <pc:sldMasterMkLst>
          <pc:docMk/>
          <pc:sldMasterMk cId="3812057535" sldId="2147484018"/>
        </pc:sldMasterMkLst>
        <pc:sldLayoutChg chg="modSp mod">
          <pc:chgData name="Fivestarly Lathong [Chillibreeze]" userId="479dc9aa-69ea-4a23-b6ea-3a9d26ac15ab" providerId="ADAL" clId="{013ED13C-6829-4378-A6EF-2B6A713739E1}" dt="2024-06-12T15:24:47.929" v="2852" actId="1076"/>
          <pc:sldLayoutMkLst>
            <pc:docMk/>
            <pc:sldMasterMk cId="3812057535" sldId="2147484018"/>
            <pc:sldLayoutMk cId="3641159727" sldId="2147484035"/>
          </pc:sldLayoutMkLst>
          <pc:spChg chg="mod">
            <ac:chgData name="Fivestarly Lathong [Chillibreeze]" userId="479dc9aa-69ea-4a23-b6ea-3a9d26ac15ab" providerId="ADAL" clId="{013ED13C-6829-4378-A6EF-2B6A713739E1}" dt="2024-06-12T15:24:47.929" v="2852" actId="1076"/>
            <ac:spMkLst>
              <pc:docMk/>
              <pc:sldMasterMk cId="3812057535" sldId="2147484018"/>
              <pc:sldLayoutMk cId="3641159727" sldId="2147484035"/>
              <ac:spMk id="290" creationId="{00000000-0000-0000-0000-000000000000}"/>
            </ac:spMkLst>
          </pc:spChg>
          <pc:spChg chg="mod">
            <ac:chgData name="Fivestarly Lathong [Chillibreeze]" userId="479dc9aa-69ea-4a23-b6ea-3a9d26ac15ab" providerId="ADAL" clId="{013ED13C-6829-4378-A6EF-2B6A713739E1}" dt="2024-06-12T15:24:47.929" v="2852" actId="1076"/>
            <ac:spMkLst>
              <pc:docMk/>
              <pc:sldMasterMk cId="3812057535" sldId="2147484018"/>
              <pc:sldLayoutMk cId="3641159727" sldId="2147484035"/>
              <ac:spMk id="293" creationId="{00000000-0000-0000-0000-000000000000}"/>
            </ac:spMkLst>
          </pc:spChg>
          <pc:spChg chg="mod">
            <ac:chgData name="Fivestarly Lathong [Chillibreeze]" userId="479dc9aa-69ea-4a23-b6ea-3a9d26ac15ab" providerId="ADAL" clId="{013ED13C-6829-4378-A6EF-2B6A713739E1}" dt="2024-06-12T15:24:47.929" v="2852" actId="1076"/>
            <ac:spMkLst>
              <pc:docMk/>
              <pc:sldMasterMk cId="3812057535" sldId="2147484018"/>
              <pc:sldLayoutMk cId="3641159727" sldId="2147484035"/>
              <ac:spMk id="294" creationId="{00000000-0000-0000-0000-000000000000}"/>
            </ac:spMkLst>
          </pc:spChg>
          <pc:spChg chg="mod">
            <ac:chgData name="Fivestarly Lathong [Chillibreeze]" userId="479dc9aa-69ea-4a23-b6ea-3a9d26ac15ab" providerId="ADAL" clId="{013ED13C-6829-4378-A6EF-2B6A713739E1}" dt="2024-06-12T15:24:47.929" v="2852" actId="1076"/>
            <ac:spMkLst>
              <pc:docMk/>
              <pc:sldMasterMk cId="3812057535" sldId="2147484018"/>
              <pc:sldLayoutMk cId="3641159727" sldId="2147484035"/>
              <ac:spMk id="298" creationId="{00000000-0000-0000-0000-000000000000}"/>
            </ac:spMkLst>
          </pc:spChg>
          <pc:grpChg chg="mod">
            <ac:chgData name="Fivestarly Lathong [Chillibreeze]" userId="479dc9aa-69ea-4a23-b6ea-3a9d26ac15ab" providerId="ADAL" clId="{013ED13C-6829-4378-A6EF-2B6A713739E1}" dt="2024-06-12T15:24:47.929" v="2852" actId="1076"/>
            <ac:grpSpMkLst>
              <pc:docMk/>
              <pc:sldMasterMk cId="3812057535" sldId="2147484018"/>
              <pc:sldLayoutMk cId="3641159727" sldId="2147484035"/>
              <ac:grpSpMk id="4" creationId="{16929EEF-EB45-38DD-B459-54368DB9CE16}"/>
            </ac:grpSpMkLst>
          </pc:grpChg>
        </pc:sldLayoutChg>
      </pc:sldMasterChg>
    </pc:docChg>
  </pc:docChgLst>
  <pc:docChgLst>
    <pc:chgData name="Caleb McKee" userId="5145c54b-3bee-44b2-9bd9-11a2e34ae4b9" providerId="ADAL" clId="{D6216E3A-8633-40FD-9C43-1DB998BC919B}"/>
    <pc:docChg chg="modSld">
      <pc:chgData name="Caleb McKee" userId="5145c54b-3bee-44b2-9bd9-11a2e34ae4b9" providerId="ADAL" clId="{D6216E3A-8633-40FD-9C43-1DB998BC919B}" dt="2024-06-14T21:02:21.050" v="50" actId="20577"/>
      <pc:docMkLst>
        <pc:docMk/>
      </pc:docMkLst>
      <pc:sldChg chg="modSp mod">
        <pc:chgData name="Caleb McKee" userId="5145c54b-3bee-44b2-9bd9-11a2e34ae4b9" providerId="ADAL" clId="{D6216E3A-8633-40FD-9C43-1DB998BC919B}" dt="2024-06-14T21:01:44.018" v="47" actId="20577"/>
        <pc:sldMkLst>
          <pc:docMk/>
          <pc:sldMk cId="2206910207" sldId="2147478516"/>
        </pc:sldMkLst>
        <pc:graphicFrameChg chg="modGraphic">
          <ac:chgData name="Caleb McKee" userId="5145c54b-3bee-44b2-9bd9-11a2e34ae4b9" providerId="ADAL" clId="{D6216E3A-8633-40FD-9C43-1DB998BC919B}" dt="2024-06-14T21:01:44.018" v="47" actId="20577"/>
          <ac:graphicFrameMkLst>
            <pc:docMk/>
            <pc:sldMk cId="2206910207" sldId="2147478516"/>
            <ac:graphicFrameMk id="2" creationId="{2E68E14A-E4C7-AAED-C5E8-FD220EBC8A7C}"/>
          </ac:graphicFrameMkLst>
        </pc:graphicFrameChg>
      </pc:sldChg>
      <pc:sldChg chg="modSp mod">
        <pc:chgData name="Caleb McKee" userId="5145c54b-3bee-44b2-9bd9-11a2e34ae4b9" providerId="ADAL" clId="{D6216E3A-8633-40FD-9C43-1DB998BC919B}" dt="2024-06-14T21:02:21.050" v="50" actId="20577"/>
        <pc:sldMkLst>
          <pc:docMk/>
          <pc:sldMk cId="3833654110" sldId="2147481233"/>
        </pc:sldMkLst>
        <pc:spChg chg="mod">
          <ac:chgData name="Caleb McKee" userId="5145c54b-3bee-44b2-9bd9-11a2e34ae4b9" providerId="ADAL" clId="{D6216E3A-8633-40FD-9C43-1DB998BC919B}" dt="2024-06-14T21:02:21.050" v="50" actId="20577"/>
          <ac:spMkLst>
            <pc:docMk/>
            <pc:sldMk cId="3833654110" sldId="2147481233"/>
            <ac:spMk id="4" creationId="{3AB2ED87-9123-61A1-C5C9-709FE9B6B601}"/>
          </ac:spMkLst>
        </pc:spChg>
      </pc:sldChg>
    </pc:docChg>
  </pc:docChgLst>
  <pc:docChgLst>
    <pc:chgData name="Longkoi H [Probationer]" userId="d4e83e2c-c7d3-4fe6-ab74-6155d2bb8c63" providerId="ADAL" clId="{85C4EBEC-404E-46BC-B68B-D507855FBC7A}"/>
    <pc:docChg chg="undo redo custSel addSld delSld modSld sldOrd modMainMaster">
      <pc:chgData name="Longkoi H [Probationer]" userId="d4e83e2c-c7d3-4fe6-ab74-6155d2bb8c63" providerId="ADAL" clId="{85C4EBEC-404E-46BC-B68B-D507855FBC7A}" dt="2024-06-12T15:00:45.031" v="4582"/>
      <pc:docMkLst>
        <pc:docMk/>
      </pc:docMkLst>
      <pc:sldChg chg="addSp delSp modSp del mod chgLayout">
        <pc:chgData name="Longkoi H [Probationer]" userId="d4e83e2c-c7d3-4fe6-ab74-6155d2bb8c63" providerId="ADAL" clId="{85C4EBEC-404E-46BC-B68B-D507855FBC7A}" dt="2024-06-12T12:24:52.843" v="1218" actId="47"/>
        <pc:sldMkLst>
          <pc:docMk/>
          <pc:sldMk cId="0" sldId="312"/>
        </pc:sldMkLst>
        <pc:spChg chg="add del mod">
          <ac:chgData name="Longkoi H [Probationer]" userId="d4e83e2c-c7d3-4fe6-ab74-6155d2bb8c63" providerId="ADAL" clId="{85C4EBEC-404E-46BC-B68B-D507855FBC7A}" dt="2024-06-12T11:15:48.617" v="5" actId="6264"/>
          <ac:spMkLst>
            <pc:docMk/>
            <pc:sldMk cId="0" sldId="312"/>
            <ac:spMk id="2" creationId="{BAD3725F-CAEC-0B8B-8219-E18D7B823A00}"/>
          </ac:spMkLst>
        </pc:spChg>
        <pc:spChg chg="add del mod">
          <ac:chgData name="Longkoi H [Probationer]" userId="d4e83e2c-c7d3-4fe6-ab74-6155d2bb8c63" providerId="ADAL" clId="{85C4EBEC-404E-46BC-B68B-D507855FBC7A}" dt="2024-06-12T11:15:48.769" v="6" actId="6264"/>
          <ac:spMkLst>
            <pc:docMk/>
            <pc:sldMk cId="0" sldId="312"/>
            <ac:spMk id="3" creationId="{C379C2F2-BE8C-0E14-62EC-D1BF0000ED63}"/>
          </ac:spMkLst>
        </pc:spChg>
        <pc:spChg chg="add del mod">
          <ac:chgData name="Longkoi H [Probationer]" userId="d4e83e2c-c7d3-4fe6-ab74-6155d2bb8c63" providerId="ADAL" clId="{85C4EBEC-404E-46BC-B68B-D507855FBC7A}" dt="2024-06-12T11:15:59.576" v="8" actId="6264"/>
          <ac:spMkLst>
            <pc:docMk/>
            <pc:sldMk cId="0" sldId="312"/>
            <ac:spMk id="4" creationId="{AD9F49D4-2ADF-7826-AD0B-8935596374EF}"/>
          </ac:spMkLst>
        </pc:spChg>
        <pc:spChg chg="add del mod">
          <ac:chgData name="Longkoi H [Probationer]" userId="d4e83e2c-c7d3-4fe6-ab74-6155d2bb8c63" providerId="ADAL" clId="{85C4EBEC-404E-46BC-B68B-D507855FBC7A}" dt="2024-06-12T11:15:59.712" v="9" actId="6264"/>
          <ac:spMkLst>
            <pc:docMk/>
            <pc:sldMk cId="0" sldId="312"/>
            <ac:spMk id="5" creationId="{837B7AB6-55AA-24A7-C2AE-BB5F8F9D264D}"/>
          </ac:spMkLst>
        </pc:spChg>
        <pc:spChg chg="add del mod">
          <ac:chgData name="Longkoi H [Probationer]" userId="d4e83e2c-c7d3-4fe6-ab74-6155d2bb8c63" providerId="ADAL" clId="{85C4EBEC-404E-46BC-B68B-D507855FBC7A}" dt="2024-06-12T11:15:59.863" v="10" actId="6264"/>
          <ac:spMkLst>
            <pc:docMk/>
            <pc:sldMk cId="0" sldId="312"/>
            <ac:spMk id="6" creationId="{8725D009-E71D-A6F5-6911-E8B0BEB9169B}"/>
          </ac:spMkLst>
        </pc:spChg>
        <pc:spChg chg="add del mod">
          <ac:chgData name="Longkoi H [Probationer]" userId="d4e83e2c-c7d3-4fe6-ab74-6155d2bb8c63" providerId="ADAL" clId="{85C4EBEC-404E-46BC-B68B-D507855FBC7A}" dt="2024-06-12T11:45:12.104" v="709" actId="478"/>
          <ac:spMkLst>
            <pc:docMk/>
            <pc:sldMk cId="0" sldId="312"/>
            <ac:spMk id="8" creationId="{547501DE-8ABF-0751-560D-8FD8BCDB195E}"/>
          </ac:spMkLst>
        </pc:spChg>
        <pc:spChg chg="add del mod">
          <ac:chgData name="Longkoi H [Probationer]" userId="d4e83e2c-c7d3-4fe6-ab74-6155d2bb8c63" providerId="ADAL" clId="{85C4EBEC-404E-46BC-B68B-D507855FBC7A}" dt="2024-06-12T11:45:12.104" v="709" actId="478"/>
          <ac:spMkLst>
            <pc:docMk/>
            <pc:sldMk cId="0" sldId="312"/>
            <ac:spMk id="9" creationId="{44F94942-4E2F-AA5E-5A6E-7CF2F30F2A1F}"/>
          </ac:spMkLst>
        </pc:spChg>
        <pc:spChg chg="add del mod">
          <ac:chgData name="Longkoi H [Probationer]" userId="d4e83e2c-c7d3-4fe6-ab74-6155d2bb8c63" providerId="ADAL" clId="{85C4EBEC-404E-46BC-B68B-D507855FBC7A}" dt="2024-06-12T11:45:12.104" v="709" actId="478"/>
          <ac:spMkLst>
            <pc:docMk/>
            <pc:sldMk cId="0" sldId="312"/>
            <ac:spMk id="10" creationId="{578AC4C1-3119-84DA-3FFA-6E7C3137DAC7}"/>
          </ac:spMkLst>
        </pc:spChg>
        <pc:spChg chg="add del mod">
          <ac:chgData name="Longkoi H [Probationer]" userId="d4e83e2c-c7d3-4fe6-ab74-6155d2bb8c63" providerId="ADAL" clId="{85C4EBEC-404E-46BC-B68B-D507855FBC7A}" dt="2024-06-12T11:45:12.104" v="709" actId="478"/>
          <ac:spMkLst>
            <pc:docMk/>
            <pc:sldMk cId="0" sldId="312"/>
            <ac:spMk id="11" creationId="{6A8E082D-1FF8-E86E-C240-4E50383A6151}"/>
          </ac:spMkLst>
        </pc:spChg>
        <pc:spChg chg="mod">
          <ac:chgData name="Longkoi H [Probationer]" userId="d4e83e2c-c7d3-4fe6-ab74-6155d2bb8c63" providerId="ADAL" clId="{85C4EBEC-404E-46BC-B68B-D507855FBC7A}" dt="2024-06-12T11:29:56.965" v="37"/>
          <ac:spMkLst>
            <pc:docMk/>
            <pc:sldMk cId="0" sldId="312"/>
            <ac:spMk id="15" creationId="{10805672-CDF1-CA19-9A02-59EBD54F4E20}"/>
          </ac:spMkLst>
        </pc:spChg>
        <pc:spChg chg="mod">
          <ac:chgData name="Longkoi H [Probationer]" userId="d4e83e2c-c7d3-4fe6-ab74-6155d2bb8c63" providerId="ADAL" clId="{85C4EBEC-404E-46BC-B68B-D507855FBC7A}" dt="2024-06-12T11:29:56.965" v="37"/>
          <ac:spMkLst>
            <pc:docMk/>
            <pc:sldMk cId="0" sldId="312"/>
            <ac:spMk id="16" creationId="{8D961494-2C3F-1C06-E077-D2AD426857A7}"/>
          </ac:spMkLst>
        </pc:spChg>
        <pc:spChg chg="mod">
          <ac:chgData name="Longkoi H [Probationer]" userId="d4e83e2c-c7d3-4fe6-ab74-6155d2bb8c63" providerId="ADAL" clId="{85C4EBEC-404E-46BC-B68B-D507855FBC7A}" dt="2024-06-12T11:29:56.965" v="37"/>
          <ac:spMkLst>
            <pc:docMk/>
            <pc:sldMk cId="0" sldId="312"/>
            <ac:spMk id="17" creationId="{BD434860-347C-C03A-D447-0BAD10EA63F9}"/>
          </ac:spMkLst>
        </pc:spChg>
        <pc:spChg chg="mod">
          <ac:chgData name="Longkoi H [Probationer]" userId="d4e83e2c-c7d3-4fe6-ab74-6155d2bb8c63" providerId="ADAL" clId="{85C4EBEC-404E-46BC-B68B-D507855FBC7A}" dt="2024-06-12T11:29:56.965" v="37"/>
          <ac:spMkLst>
            <pc:docMk/>
            <pc:sldMk cId="0" sldId="312"/>
            <ac:spMk id="18" creationId="{07CE6120-A594-D33C-3887-BC2AD52D7D80}"/>
          </ac:spMkLst>
        </pc:spChg>
        <pc:spChg chg="mod topLvl">
          <ac:chgData name="Longkoi H [Probationer]" userId="d4e83e2c-c7d3-4fe6-ab74-6155d2bb8c63" providerId="ADAL" clId="{85C4EBEC-404E-46BC-B68B-D507855FBC7A}" dt="2024-06-12T11:45:49.252" v="715" actId="165"/>
          <ac:spMkLst>
            <pc:docMk/>
            <pc:sldMk cId="0" sldId="312"/>
            <ac:spMk id="22" creationId="{E98178B4-D5C5-D1A5-359D-BBD7113D1584}"/>
          </ac:spMkLst>
        </pc:spChg>
        <pc:spChg chg="mod topLvl">
          <ac:chgData name="Longkoi H [Probationer]" userId="d4e83e2c-c7d3-4fe6-ab74-6155d2bb8c63" providerId="ADAL" clId="{85C4EBEC-404E-46BC-B68B-D507855FBC7A}" dt="2024-06-12T11:45:49.252" v="715" actId="165"/>
          <ac:spMkLst>
            <pc:docMk/>
            <pc:sldMk cId="0" sldId="312"/>
            <ac:spMk id="23" creationId="{1DCD4762-90E2-9B59-E0FF-832EA3254F4A}"/>
          </ac:spMkLst>
        </pc:spChg>
        <pc:spChg chg="mod topLvl">
          <ac:chgData name="Longkoi H [Probationer]" userId="d4e83e2c-c7d3-4fe6-ab74-6155d2bb8c63" providerId="ADAL" clId="{85C4EBEC-404E-46BC-B68B-D507855FBC7A}" dt="2024-06-12T11:45:49.252" v="715" actId="165"/>
          <ac:spMkLst>
            <pc:docMk/>
            <pc:sldMk cId="0" sldId="312"/>
            <ac:spMk id="24" creationId="{8C5B419F-C6F1-47C1-66F5-B3DBE133D180}"/>
          </ac:spMkLst>
        </pc:spChg>
        <pc:spChg chg="mod topLvl">
          <ac:chgData name="Longkoi H [Probationer]" userId="d4e83e2c-c7d3-4fe6-ab74-6155d2bb8c63" providerId="ADAL" clId="{85C4EBEC-404E-46BC-B68B-D507855FBC7A}" dt="2024-06-12T11:45:49.252" v="715" actId="165"/>
          <ac:spMkLst>
            <pc:docMk/>
            <pc:sldMk cId="0" sldId="312"/>
            <ac:spMk id="25" creationId="{2802D3D3-BF9A-3104-1385-4E7872A13530}"/>
          </ac:spMkLst>
        </pc:spChg>
        <pc:spChg chg="add mod">
          <ac:chgData name="Longkoi H [Probationer]" userId="d4e83e2c-c7d3-4fe6-ab74-6155d2bb8c63" providerId="ADAL" clId="{85C4EBEC-404E-46BC-B68B-D507855FBC7A}" dt="2024-06-12T11:47:08.388" v="719" actId="1076"/>
          <ac:spMkLst>
            <pc:docMk/>
            <pc:sldMk cId="0" sldId="312"/>
            <ac:spMk id="32" creationId="{1C1D20C2-BEFC-57B0-70F0-15663A9B254F}"/>
          </ac:spMkLst>
        </pc:spChg>
        <pc:spChg chg="add mod">
          <ac:chgData name="Longkoi H [Probationer]" userId="d4e83e2c-c7d3-4fe6-ab74-6155d2bb8c63" providerId="ADAL" clId="{85C4EBEC-404E-46BC-B68B-D507855FBC7A}" dt="2024-06-12T11:57:06.474" v="720" actId="571"/>
          <ac:spMkLst>
            <pc:docMk/>
            <pc:sldMk cId="0" sldId="312"/>
            <ac:spMk id="33" creationId="{A7550A2C-1498-AE79-2669-B677BB930B59}"/>
          </ac:spMkLst>
        </pc:spChg>
        <pc:spChg chg="add mod">
          <ac:chgData name="Longkoi H [Probationer]" userId="d4e83e2c-c7d3-4fe6-ab74-6155d2bb8c63" providerId="ADAL" clId="{85C4EBEC-404E-46BC-B68B-D507855FBC7A}" dt="2024-06-12T11:57:08.006" v="721" actId="571"/>
          <ac:spMkLst>
            <pc:docMk/>
            <pc:sldMk cId="0" sldId="312"/>
            <ac:spMk id="34" creationId="{D767C741-446D-2702-63C7-86FBFA03358B}"/>
          </ac:spMkLst>
        </pc:spChg>
        <pc:spChg chg="add mod">
          <ac:chgData name="Longkoi H [Probationer]" userId="d4e83e2c-c7d3-4fe6-ab74-6155d2bb8c63" providerId="ADAL" clId="{85C4EBEC-404E-46BC-B68B-D507855FBC7A}" dt="2024-06-12T11:57:08.229" v="722" actId="571"/>
          <ac:spMkLst>
            <pc:docMk/>
            <pc:sldMk cId="0" sldId="312"/>
            <ac:spMk id="35" creationId="{F96869B0-7E27-E3CF-5407-F8EDCEC3BB55}"/>
          </ac:spMkLst>
        </pc:spChg>
        <pc:spChg chg="del mod ord">
          <ac:chgData name="Longkoi H [Probationer]" userId="d4e83e2c-c7d3-4fe6-ab74-6155d2bb8c63" providerId="ADAL" clId="{85C4EBEC-404E-46BC-B68B-D507855FBC7A}" dt="2024-06-12T11:15:55.128" v="7" actId="478"/>
          <ac:spMkLst>
            <pc:docMk/>
            <pc:sldMk cId="0" sldId="312"/>
            <ac:spMk id="5013" creationId="{00000000-0000-0000-0000-000000000000}"/>
          </ac:spMkLst>
        </pc:spChg>
        <pc:spChg chg="del mod ord">
          <ac:chgData name="Longkoi H [Probationer]" userId="d4e83e2c-c7d3-4fe6-ab74-6155d2bb8c63" providerId="ADAL" clId="{85C4EBEC-404E-46BC-B68B-D507855FBC7A}" dt="2024-06-12T11:15:55.128" v="7" actId="478"/>
          <ac:spMkLst>
            <pc:docMk/>
            <pc:sldMk cId="0" sldId="312"/>
            <ac:spMk id="5014" creationId="{00000000-0000-0000-0000-000000000000}"/>
          </ac:spMkLst>
        </pc:spChg>
        <pc:spChg chg="del mod ord">
          <ac:chgData name="Longkoi H [Probationer]" userId="d4e83e2c-c7d3-4fe6-ab74-6155d2bb8c63" providerId="ADAL" clId="{85C4EBEC-404E-46BC-B68B-D507855FBC7A}" dt="2024-06-12T11:15:55.128" v="7" actId="478"/>
          <ac:spMkLst>
            <pc:docMk/>
            <pc:sldMk cId="0" sldId="312"/>
            <ac:spMk id="5015" creationId="{00000000-0000-0000-0000-000000000000}"/>
          </ac:spMkLst>
        </pc:spChg>
        <pc:spChg chg="del mod ord">
          <ac:chgData name="Longkoi H [Probationer]" userId="d4e83e2c-c7d3-4fe6-ab74-6155d2bb8c63" providerId="ADAL" clId="{85C4EBEC-404E-46BC-B68B-D507855FBC7A}" dt="2024-06-12T11:15:55.128" v="7" actId="478"/>
          <ac:spMkLst>
            <pc:docMk/>
            <pc:sldMk cId="0" sldId="312"/>
            <ac:spMk id="5016" creationId="{00000000-0000-0000-0000-000000000000}"/>
          </ac:spMkLst>
        </pc:spChg>
        <pc:spChg chg="del mod ord">
          <ac:chgData name="Longkoi H [Probationer]" userId="d4e83e2c-c7d3-4fe6-ab74-6155d2bb8c63" providerId="ADAL" clId="{85C4EBEC-404E-46BC-B68B-D507855FBC7A}" dt="2024-06-12T11:15:55.128" v="7" actId="478"/>
          <ac:spMkLst>
            <pc:docMk/>
            <pc:sldMk cId="0" sldId="312"/>
            <ac:spMk id="5017" creationId="{00000000-0000-0000-0000-000000000000}"/>
          </ac:spMkLst>
        </pc:spChg>
        <pc:spChg chg="del mod ord">
          <ac:chgData name="Longkoi H [Probationer]" userId="d4e83e2c-c7d3-4fe6-ab74-6155d2bb8c63" providerId="ADAL" clId="{85C4EBEC-404E-46BC-B68B-D507855FBC7A}" dt="2024-06-12T11:15:55.128" v="7" actId="478"/>
          <ac:spMkLst>
            <pc:docMk/>
            <pc:sldMk cId="0" sldId="312"/>
            <ac:spMk id="5018" creationId="{00000000-0000-0000-0000-000000000000}"/>
          </ac:spMkLst>
        </pc:spChg>
        <pc:spChg chg="del mod ord">
          <ac:chgData name="Longkoi H [Probationer]" userId="d4e83e2c-c7d3-4fe6-ab74-6155d2bb8c63" providerId="ADAL" clId="{85C4EBEC-404E-46BC-B68B-D507855FBC7A}" dt="2024-06-12T11:15:55.128" v="7" actId="478"/>
          <ac:spMkLst>
            <pc:docMk/>
            <pc:sldMk cId="0" sldId="312"/>
            <ac:spMk id="5019" creationId="{00000000-0000-0000-0000-000000000000}"/>
          </ac:spMkLst>
        </pc:spChg>
        <pc:spChg chg="del mod ord">
          <ac:chgData name="Longkoi H [Probationer]" userId="d4e83e2c-c7d3-4fe6-ab74-6155d2bb8c63" providerId="ADAL" clId="{85C4EBEC-404E-46BC-B68B-D507855FBC7A}" dt="2024-06-12T11:15:55.128" v="7" actId="478"/>
          <ac:spMkLst>
            <pc:docMk/>
            <pc:sldMk cId="0" sldId="312"/>
            <ac:spMk id="5020" creationId="{00000000-0000-0000-0000-000000000000}"/>
          </ac:spMkLst>
        </pc:spChg>
        <pc:spChg chg="mod ord">
          <ac:chgData name="Longkoi H [Probationer]" userId="d4e83e2c-c7d3-4fe6-ab74-6155d2bb8c63" providerId="ADAL" clId="{85C4EBEC-404E-46BC-B68B-D507855FBC7A}" dt="2024-06-12T11:15:59.863" v="10" actId="6264"/>
          <ac:spMkLst>
            <pc:docMk/>
            <pc:sldMk cId="0" sldId="312"/>
            <ac:spMk id="5021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1:15:55.128" v="7" actId="478"/>
          <ac:spMkLst>
            <pc:docMk/>
            <pc:sldMk cId="0" sldId="312"/>
            <ac:spMk id="5022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1:15:55.128" v="7" actId="478"/>
          <ac:spMkLst>
            <pc:docMk/>
            <pc:sldMk cId="0" sldId="312"/>
            <ac:spMk id="5023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1:15:55.128" v="7" actId="478"/>
          <ac:spMkLst>
            <pc:docMk/>
            <pc:sldMk cId="0" sldId="312"/>
            <ac:spMk id="5024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1:15:55.128" v="7" actId="478"/>
          <ac:spMkLst>
            <pc:docMk/>
            <pc:sldMk cId="0" sldId="312"/>
            <ac:spMk id="5025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1:15:55.128" v="7" actId="478"/>
          <ac:spMkLst>
            <pc:docMk/>
            <pc:sldMk cId="0" sldId="312"/>
            <ac:spMk id="5029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1:15:55.128" v="7" actId="478"/>
          <ac:spMkLst>
            <pc:docMk/>
            <pc:sldMk cId="0" sldId="312"/>
            <ac:spMk id="5033" creationId="{00000000-0000-0000-0000-000000000000}"/>
          </ac:spMkLst>
        </pc:spChg>
        <pc:grpChg chg="add del mod">
          <ac:chgData name="Longkoi H [Probationer]" userId="d4e83e2c-c7d3-4fe6-ab74-6155d2bb8c63" providerId="ADAL" clId="{85C4EBEC-404E-46BC-B68B-D507855FBC7A}" dt="2024-06-12T11:45:08.829" v="708" actId="478"/>
          <ac:grpSpMkLst>
            <pc:docMk/>
            <pc:sldMk cId="0" sldId="312"/>
            <ac:grpSpMk id="14" creationId="{8BA3A3F4-ECF7-1C17-2114-E16E57693FCD}"/>
          </ac:grpSpMkLst>
        </pc:grpChg>
        <pc:grpChg chg="add del mod">
          <ac:chgData name="Longkoi H [Probationer]" userId="d4e83e2c-c7d3-4fe6-ab74-6155d2bb8c63" providerId="ADAL" clId="{85C4EBEC-404E-46BC-B68B-D507855FBC7A}" dt="2024-06-12T11:45:45.320" v="714" actId="165"/>
          <ac:grpSpMkLst>
            <pc:docMk/>
            <pc:sldMk cId="0" sldId="312"/>
            <ac:grpSpMk id="19" creationId="{FFB65264-F31D-8348-EC85-03079BBF03E0}"/>
          </ac:grpSpMkLst>
        </pc:grpChg>
        <pc:grpChg chg="del mod topLvl">
          <ac:chgData name="Longkoi H [Probationer]" userId="d4e83e2c-c7d3-4fe6-ab74-6155d2bb8c63" providerId="ADAL" clId="{85C4EBEC-404E-46BC-B68B-D507855FBC7A}" dt="2024-06-12T11:45:49.252" v="715" actId="165"/>
          <ac:grpSpMkLst>
            <pc:docMk/>
            <pc:sldMk cId="0" sldId="312"/>
            <ac:grpSpMk id="21" creationId="{25C59487-FF13-16AA-E6D5-335DE8A19EE8}"/>
          </ac:grpSpMkLst>
        </pc:grpChg>
        <pc:grpChg chg="del">
          <ac:chgData name="Longkoi H [Probationer]" userId="d4e83e2c-c7d3-4fe6-ab74-6155d2bb8c63" providerId="ADAL" clId="{85C4EBEC-404E-46BC-B68B-D507855FBC7A}" dt="2024-06-12T11:15:55.128" v="7" actId="478"/>
          <ac:grpSpMkLst>
            <pc:docMk/>
            <pc:sldMk cId="0" sldId="312"/>
            <ac:grpSpMk id="5026" creationId="{00000000-0000-0000-0000-000000000000}"/>
          </ac:grpSpMkLst>
        </pc:grpChg>
        <pc:grpChg chg="del">
          <ac:chgData name="Longkoi H [Probationer]" userId="d4e83e2c-c7d3-4fe6-ab74-6155d2bb8c63" providerId="ADAL" clId="{85C4EBEC-404E-46BC-B68B-D507855FBC7A}" dt="2024-06-12T11:15:55.128" v="7" actId="478"/>
          <ac:grpSpMkLst>
            <pc:docMk/>
            <pc:sldMk cId="0" sldId="312"/>
            <ac:grpSpMk id="5030" creationId="{00000000-0000-0000-0000-000000000000}"/>
          </ac:grpSpMkLst>
        </pc:grpChg>
        <pc:picChg chg="del mod topLvl">
          <ac:chgData name="Longkoi H [Probationer]" userId="d4e83e2c-c7d3-4fe6-ab74-6155d2bb8c63" providerId="ADAL" clId="{85C4EBEC-404E-46BC-B68B-D507855FBC7A}" dt="2024-06-12T11:45:52.513" v="717" actId="478"/>
          <ac:picMkLst>
            <pc:docMk/>
            <pc:sldMk cId="0" sldId="312"/>
            <ac:picMk id="29" creationId="{58AACF44-2034-2453-D543-BF72153DCDFA}"/>
          </ac:picMkLst>
        </pc:picChg>
        <pc:picChg chg="del mod topLvl">
          <ac:chgData name="Longkoi H [Probationer]" userId="d4e83e2c-c7d3-4fe6-ab74-6155d2bb8c63" providerId="ADAL" clId="{85C4EBEC-404E-46BC-B68B-D507855FBC7A}" dt="2024-06-12T11:45:51.881" v="716" actId="478"/>
          <ac:picMkLst>
            <pc:docMk/>
            <pc:sldMk cId="0" sldId="312"/>
            <ac:picMk id="31" creationId="{C65B1AAE-1CA8-17A9-BB4F-F3FB8D57D1A5}"/>
          </ac:picMkLst>
        </pc:picChg>
        <pc:cxnChg chg="add del mod">
          <ac:chgData name="Longkoi H [Probationer]" userId="d4e83e2c-c7d3-4fe6-ab74-6155d2bb8c63" providerId="ADAL" clId="{85C4EBEC-404E-46BC-B68B-D507855FBC7A}" dt="2024-06-12T11:45:42.931" v="713" actId="478"/>
          <ac:cxnSpMkLst>
            <pc:docMk/>
            <pc:sldMk cId="0" sldId="312"/>
            <ac:cxnSpMk id="7" creationId="{4651C976-54ED-8622-5871-CCBE85F70E1A}"/>
          </ac:cxnSpMkLst>
        </pc:cxnChg>
        <pc:cxnChg chg="add del mod ord">
          <ac:chgData name="Longkoi H [Probationer]" userId="d4e83e2c-c7d3-4fe6-ab74-6155d2bb8c63" providerId="ADAL" clId="{85C4EBEC-404E-46BC-B68B-D507855FBC7A}" dt="2024-06-12T11:29:24.224" v="36" actId="478"/>
          <ac:cxnSpMkLst>
            <pc:docMk/>
            <pc:sldMk cId="0" sldId="312"/>
            <ac:cxnSpMk id="13" creationId="{6282C844-22B0-CDF8-94F9-32669A16A552}"/>
          </ac:cxnSpMkLst>
        </pc:cxnChg>
        <pc:cxnChg chg="del mod topLvl">
          <ac:chgData name="Longkoi H [Probationer]" userId="d4e83e2c-c7d3-4fe6-ab74-6155d2bb8c63" providerId="ADAL" clId="{85C4EBEC-404E-46BC-B68B-D507855FBC7A}" dt="2024-06-12T12:18:10.740" v="1160" actId="478"/>
          <ac:cxnSpMkLst>
            <pc:docMk/>
            <pc:sldMk cId="0" sldId="312"/>
            <ac:cxnSpMk id="20" creationId="{8DFD6658-D628-5C28-5AAC-43D24FBCADB2}"/>
          </ac:cxnSpMkLst>
        </pc:cxnChg>
        <pc:cxnChg chg="mod topLvl">
          <ac:chgData name="Longkoi H [Probationer]" userId="d4e83e2c-c7d3-4fe6-ab74-6155d2bb8c63" providerId="ADAL" clId="{85C4EBEC-404E-46BC-B68B-D507855FBC7A}" dt="2024-06-12T11:45:49.252" v="715" actId="165"/>
          <ac:cxnSpMkLst>
            <pc:docMk/>
            <pc:sldMk cId="0" sldId="312"/>
            <ac:cxnSpMk id="26" creationId="{F906D02B-AA26-2A1E-DCAD-253CD9D05D59}"/>
          </ac:cxnSpMkLst>
        </pc:cxnChg>
        <pc:cxnChg chg="mod topLvl">
          <ac:chgData name="Longkoi H [Probationer]" userId="d4e83e2c-c7d3-4fe6-ab74-6155d2bb8c63" providerId="ADAL" clId="{85C4EBEC-404E-46BC-B68B-D507855FBC7A}" dt="2024-06-12T11:45:49.252" v="715" actId="165"/>
          <ac:cxnSpMkLst>
            <pc:docMk/>
            <pc:sldMk cId="0" sldId="312"/>
            <ac:cxnSpMk id="27" creationId="{F7F00687-F473-0D5E-C116-10C6BA08102C}"/>
          </ac:cxnSpMkLst>
        </pc:cxnChg>
        <pc:cxnChg chg="mod topLvl">
          <ac:chgData name="Longkoi H [Probationer]" userId="d4e83e2c-c7d3-4fe6-ab74-6155d2bb8c63" providerId="ADAL" clId="{85C4EBEC-404E-46BC-B68B-D507855FBC7A}" dt="2024-06-12T11:45:49.252" v="715" actId="165"/>
          <ac:cxnSpMkLst>
            <pc:docMk/>
            <pc:sldMk cId="0" sldId="312"/>
            <ac:cxnSpMk id="28" creationId="{D28F5A9A-809D-4559-1E8D-F09C17919F6B}"/>
          </ac:cxnSpMkLst>
        </pc:cxnChg>
        <pc:cxnChg chg="mod topLvl">
          <ac:chgData name="Longkoi H [Probationer]" userId="d4e83e2c-c7d3-4fe6-ab74-6155d2bb8c63" providerId="ADAL" clId="{85C4EBEC-404E-46BC-B68B-D507855FBC7A}" dt="2024-06-12T11:45:49.252" v="715" actId="165"/>
          <ac:cxnSpMkLst>
            <pc:docMk/>
            <pc:sldMk cId="0" sldId="312"/>
            <ac:cxnSpMk id="30" creationId="{06F5AAB5-57D4-2456-73E9-94F10D25E114}"/>
          </ac:cxnSpMkLst>
        </pc:cxnChg>
      </pc:sldChg>
      <pc:sldChg chg="addSp delSp modSp mod modAnim chgLayout">
        <pc:chgData name="Longkoi H [Probationer]" userId="d4e83e2c-c7d3-4fe6-ab74-6155d2bb8c63" providerId="ADAL" clId="{85C4EBEC-404E-46BC-B68B-D507855FBC7A}" dt="2024-06-12T14:58:24.778" v="4576" actId="700"/>
        <pc:sldMkLst>
          <pc:docMk/>
          <pc:sldMk cId="0" sldId="313"/>
        </pc:sldMkLst>
        <pc:spChg chg="del">
          <ac:chgData name="Longkoi H [Probationer]" userId="d4e83e2c-c7d3-4fe6-ab74-6155d2bb8c63" providerId="ADAL" clId="{85C4EBEC-404E-46BC-B68B-D507855FBC7A}" dt="2024-06-12T11:32:12.650" v="39" actId="700"/>
          <ac:spMkLst>
            <pc:docMk/>
            <pc:sldMk cId="0" sldId="313"/>
            <ac:spMk id="2" creationId="{10D4B3BF-D8A3-80B5-77C5-893C66BF1010}"/>
          </ac:spMkLst>
        </pc:spChg>
        <pc:spChg chg="add del mod ord">
          <ac:chgData name="Longkoi H [Probationer]" userId="d4e83e2c-c7d3-4fe6-ab74-6155d2bb8c63" providerId="ADAL" clId="{85C4EBEC-404E-46BC-B68B-D507855FBC7A}" dt="2024-06-12T11:32:13.550" v="40" actId="6264"/>
          <ac:spMkLst>
            <pc:docMk/>
            <pc:sldMk cId="0" sldId="313"/>
            <ac:spMk id="3" creationId="{6AA56CE5-2CD8-52E0-272F-663CFACB7FDC}"/>
          </ac:spMkLst>
        </pc:spChg>
        <pc:spChg chg="add del mod ord">
          <ac:chgData name="Longkoi H [Probationer]" userId="d4e83e2c-c7d3-4fe6-ab74-6155d2bb8c63" providerId="ADAL" clId="{85C4EBEC-404E-46BC-B68B-D507855FBC7A}" dt="2024-06-12T11:32:13.703" v="41" actId="6264"/>
          <ac:spMkLst>
            <pc:docMk/>
            <pc:sldMk cId="0" sldId="313"/>
            <ac:spMk id="4" creationId="{564869C9-0DF9-3539-9A9A-34EDA3DF41E4}"/>
          </ac:spMkLst>
        </pc:spChg>
        <pc:spChg chg="add del mod ord">
          <ac:chgData name="Longkoi H [Probationer]" userId="d4e83e2c-c7d3-4fe6-ab74-6155d2bb8c63" providerId="ADAL" clId="{85C4EBEC-404E-46BC-B68B-D507855FBC7A}" dt="2024-06-12T11:32:13.992" v="42" actId="6264"/>
          <ac:spMkLst>
            <pc:docMk/>
            <pc:sldMk cId="0" sldId="313"/>
            <ac:spMk id="5" creationId="{0659E8D7-D407-2B1E-AAEA-12D5E72A6511}"/>
          </ac:spMkLst>
        </pc:spChg>
        <pc:spChg chg="add mod ord">
          <ac:chgData name="Longkoi H [Probationer]" userId="d4e83e2c-c7d3-4fe6-ab74-6155d2bb8c63" providerId="ADAL" clId="{85C4EBEC-404E-46BC-B68B-D507855FBC7A}" dt="2024-06-12T12:19:43.561" v="1177" actId="12788"/>
          <ac:spMkLst>
            <pc:docMk/>
            <pc:sldMk cId="0" sldId="313"/>
            <ac:spMk id="6" creationId="{4F2167BB-18AA-F53B-A300-2EEF185ECF52}"/>
          </ac:spMkLst>
        </pc:spChg>
        <pc:spChg chg="add del mod">
          <ac:chgData name="Longkoi H [Probationer]" userId="d4e83e2c-c7d3-4fe6-ab74-6155d2bb8c63" providerId="ADAL" clId="{85C4EBEC-404E-46BC-B68B-D507855FBC7A}" dt="2024-06-12T11:32:20.336" v="46" actId="6264"/>
          <ac:spMkLst>
            <pc:docMk/>
            <pc:sldMk cId="0" sldId="313"/>
            <ac:spMk id="7" creationId="{FD15D09C-EDF5-ED40-ECA2-201DAED1D8F0}"/>
          </ac:spMkLst>
        </pc:spChg>
        <pc:spChg chg="add del mod">
          <ac:chgData name="Longkoi H [Probationer]" userId="d4e83e2c-c7d3-4fe6-ab74-6155d2bb8c63" providerId="ADAL" clId="{85C4EBEC-404E-46BC-B68B-D507855FBC7A}" dt="2024-06-12T11:32:20.487" v="47" actId="6264"/>
          <ac:spMkLst>
            <pc:docMk/>
            <pc:sldMk cId="0" sldId="313"/>
            <ac:spMk id="8" creationId="{024642A3-CCCB-4BD3-EC70-8E7C642FFAB1}"/>
          </ac:spMkLst>
        </pc:spChg>
        <pc:spChg chg="add del mod">
          <ac:chgData name="Longkoi H [Probationer]" userId="d4e83e2c-c7d3-4fe6-ab74-6155d2bb8c63" providerId="ADAL" clId="{85C4EBEC-404E-46BC-B68B-D507855FBC7A}" dt="2024-06-12T11:32:20.729" v="48" actId="6264"/>
          <ac:spMkLst>
            <pc:docMk/>
            <pc:sldMk cId="0" sldId="313"/>
            <ac:spMk id="9" creationId="{4F33C5BD-4504-7151-8DF4-7DA0F0EDC42D}"/>
          </ac:spMkLst>
        </pc:spChg>
        <pc:spChg chg="add del mod">
          <ac:chgData name="Longkoi H [Probationer]" userId="d4e83e2c-c7d3-4fe6-ab74-6155d2bb8c63" providerId="ADAL" clId="{85C4EBEC-404E-46BC-B68B-D507855FBC7A}" dt="2024-06-12T11:32:20.888" v="49" actId="6264"/>
          <ac:spMkLst>
            <pc:docMk/>
            <pc:sldMk cId="0" sldId="313"/>
            <ac:spMk id="10" creationId="{49CBC712-DEE4-DA54-B6F5-80609ABF30C3}"/>
          </ac:spMkLst>
        </pc:spChg>
        <pc:spChg chg="add del mod">
          <ac:chgData name="Longkoi H [Probationer]" userId="d4e83e2c-c7d3-4fe6-ab74-6155d2bb8c63" providerId="ADAL" clId="{85C4EBEC-404E-46BC-B68B-D507855FBC7A}" dt="2024-06-12T11:32:21.024" v="50" actId="6264"/>
          <ac:spMkLst>
            <pc:docMk/>
            <pc:sldMk cId="0" sldId="313"/>
            <ac:spMk id="11" creationId="{78127682-C03F-41EF-00C7-049256C8B516}"/>
          </ac:spMkLst>
        </pc:spChg>
        <pc:spChg chg="mod ord">
          <ac:chgData name="Longkoi H [Probationer]" userId="d4e83e2c-c7d3-4fe6-ab74-6155d2bb8c63" providerId="ADAL" clId="{85C4EBEC-404E-46BC-B68B-D507855FBC7A}" dt="2024-06-12T14:58:24.778" v="4576" actId="700"/>
          <ac:spMkLst>
            <pc:docMk/>
            <pc:sldMk cId="0" sldId="313"/>
            <ac:spMk id="11" creationId="{D1E7090C-EC29-1E60-58AE-8A0E8E06F9DC}"/>
          </ac:spMkLst>
        </pc:spChg>
        <pc:spChg chg="add del mod">
          <ac:chgData name="Longkoi H [Probationer]" userId="d4e83e2c-c7d3-4fe6-ab74-6155d2bb8c63" providerId="ADAL" clId="{85C4EBEC-404E-46BC-B68B-D507855FBC7A}" dt="2024-06-12T11:32:24.183" v="52" actId="6264"/>
          <ac:spMkLst>
            <pc:docMk/>
            <pc:sldMk cId="0" sldId="313"/>
            <ac:spMk id="12" creationId="{5AD79AE1-4689-399B-08BC-8E59B5BB7B6B}"/>
          </ac:spMkLst>
        </pc:spChg>
        <pc:spChg chg="add del mod">
          <ac:chgData name="Longkoi H [Probationer]" userId="d4e83e2c-c7d3-4fe6-ab74-6155d2bb8c63" providerId="ADAL" clId="{85C4EBEC-404E-46BC-B68B-D507855FBC7A}" dt="2024-06-12T11:32:24.352" v="53" actId="6264"/>
          <ac:spMkLst>
            <pc:docMk/>
            <pc:sldMk cId="0" sldId="313"/>
            <ac:spMk id="13" creationId="{78E3055C-FF82-2EC6-CDB1-5312557680A4}"/>
          </ac:spMkLst>
        </pc:spChg>
        <pc:spChg chg="add del mod">
          <ac:chgData name="Longkoi H [Probationer]" userId="d4e83e2c-c7d3-4fe6-ab74-6155d2bb8c63" providerId="ADAL" clId="{85C4EBEC-404E-46BC-B68B-D507855FBC7A}" dt="2024-06-12T14:37:07.003" v="4102" actId="478"/>
          <ac:spMkLst>
            <pc:docMk/>
            <pc:sldMk cId="0" sldId="313"/>
            <ac:spMk id="14" creationId="{9D890E61-9306-D164-D154-2D2A0315F820}"/>
          </ac:spMkLst>
        </pc:spChg>
        <pc:spChg chg="add del mod">
          <ac:chgData name="Longkoi H [Probationer]" userId="d4e83e2c-c7d3-4fe6-ab74-6155d2bb8c63" providerId="ADAL" clId="{85C4EBEC-404E-46BC-B68B-D507855FBC7A}" dt="2024-06-12T14:37:07.003" v="4102" actId="478"/>
          <ac:spMkLst>
            <pc:docMk/>
            <pc:sldMk cId="0" sldId="313"/>
            <ac:spMk id="15" creationId="{DC08158A-C61D-4D08-1CD8-07751EC9F0BD}"/>
          </ac:spMkLst>
        </pc:spChg>
        <pc:spChg chg="add del mod">
          <ac:chgData name="Longkoi H [Probationer]" userId="d4e83e2c-c7d3-4fe6-ab74-6155d2bb8c63" providerId="ADAL" clId="{85C4EBEC-404E-46BC-B68B-D507855FBC7A}" dt="2024-06-12T14:37:07.003" v="4102" actId="478"/>
          <ac:spMkLst>
            <pc:docMk/>
            <pc:sldMk cId="0" sldId="313"/>
            <ac:spMk id="16" creationId="{29E00554-5DC8-B7FC-EFD5-F0A85E359BAE}"/>
          </ac:spMkLst>
        </pc:spChg>
        <pc:spChg chg="del mod topLvl">
          <ac:chgData name="Longkoi H [Probationer]" userId="d4e83e2c-c7d3-4fe6-ab74-6155d2bb8c63" providerId="ADAL" clId="{85C4EBEC-404E-46BC-B68B-D507855FBC7A}" dt="2024-06-12T14:33:43.750" v="4003" actId="478"/>
          <ac:spMkLst>
            <pc:docMk/>
            <pc:sldMk cId="0" sldId="313"/>
            <ac:spMk id="18" creationId="{0F89A72B-DCD2-400B-42D2-7EAF68803061}"/>
          </ac:spMkLst>
        </pc:spChg>
        <pc:spChg chg="del mod topLvl">
          <ac:chgData name="Longkoi H [Probationer]" userId="d4e83e2c-c7d3-4fe6-ab74-6155d2bb8c63" providerId="ADAL" clId="{85C4EBEC-404E-46BC-B68B-D507855FBC7A}" dt="2024-06-12T14:33:42.746" v="4002" actId="478"/>
          <ac:spMkLst>
            <pc:docMk/>
            <pc:sldMk cId="0" sldId="313"/>
            <ac:spMk id="19" creationId="{9FC9B7E0-8B35-FA1D-7420-4949DE46D61F}"/>
          </ac:spMkLst>
        </pc:spChg>
        <pc:spChg chg="del mod topLvl">
          <ac:chgData name="Longkoi H [Probationer]" userId="d4e83e2c-c7d3-4fe6-ab74-6155d2bb8c63" providerId="ADAL" clId="{85C4EBEC-404E-46BC-B68B-D507855FBC7A}" dt="2024-06-12T14:33:41.927" v="4001" actId="478"/>
          <ac:spMkLst>
            <pc:docMk/>
            <pc:sldMk cId="0" sldId="313"/>
            <ac:spMk id="20" creationId="{437DD357-EA0C-4703-6C1A-AB029823EE43}"/>
          </ac:spMkLst>
        </pc:spChg>
        <pc:spChg chg="del mod topLvl">
          <ac:chgData name="Longkoi H [Probationer]" userId="d4e83e2c-c7d3-4fe6-ab74-6155d2bb8c63" providerId="ADAL" clId="{85C4EBEC-404E-46BC-B68B-D507855FBC7A}" dt="2024-06-12T14:33:41.927" v="4001" actId="478"/>
          <ac:spMkLst>
            <pc:docMk/>
            <pc:sldMk cId="0" sldId="313"/>
            <ac:spMk id="21" creationId="{91BFC6ED-4E2E-E469-48C3-7732C53DCEDE}"/>
          </ac:spMkLst>
        </pc:spChg>
        <pc:spChg chg="del mod ord topLvl">
          <ac:chgData name="Longkoi H [Probationer]" userId="d4e83e2c-c7d3-4fe6-ab74-6155d2bb8c63" providerId="ADAL" clId="{85C4EBEC-404E-46BC-B68B-D507855FBC7A}" dt="2024-06-12T14:18:19.889" v="3532" actId="478"/>
          <ac:spMkLst>
            <pc:docMk/>
            <pc:sldMk cId="0" sldId="313"/>
            <ac:spMk id="30" creationId="{7B061004-40DF-967E-D7B4-96F873F4FCFC}"/>
          </ac:spMkLst>
        </pc:spChg>
        <pc:spChg chg="del mod topLvl">
          <ac:chgData name="Longkoi H [Probationer]" userId="d4e83e2c-c7d3-4fe6-ab74-6155d2bb8c63" providerId="ADAL" clId="{85C4EBEC-404E-46BC-B68B-D507855FBC7A}" dt="2024-06-12T14:18:02.563" v="3263" actId="478"/>
          <ac:spMkLst>
            <pc:docMk/>
            <pc:sldMk cId="0" sldId="313"/>
            <ac:spMk id="31" creationId="{E28624FB-BF00-4D07-5D40-C513ED243072}"/>
          </ac:spMkLst>
        </pc:spChg>
        <pc:spChg chg="del mod ord topLvl">
          <ac:chgData name="Longkoi H [Probationer]" userId="d4e83e2c-c7d3-4fe6-ab74-6155d2bb8c63" providerId="ADAL" clId="{85C4EBEC-404E-46BC-B68B-D507855FBC7A}" dt="2024-06-12T14:18:19.889" v="3532" actId="478"/>
          <ac:spMkLst>
            <pc:docMk/>
            <pc:sldMk cId="0" sldId="313"/>
            <ac:spMk id="32" creationId="{E99C47BF-68DF-9BEA-D2C6-0CE85099838B}"/>
          </ac:spMkLst>
        </pc:spChg>
        <pc:spChg chg="del mod topLvl">
          <ac:chgData name="Longkoi H [Probationer]" userId="d4e83e2c-c7d3-4fe6-ab74-6155d2bb8c63" providerId="ADAL" clId="{85C4EBEC-404E-46BC-B68B-D507855FBC7A}" dt="2024-06-12T14:18:05.673" v="3265" actId="478"/>
          <ac:spMkLst>
            <pc:docMk/>
            <pc:sldMk cId="0" sldId="313"/>
            <ac:spMk id="33" creationId="{DD606C26-D330-A453-13DF-F85D83C42469}"/>
          </ac:spMkLst>
        </pc:spChg>
        <pc:spChg chg="del mod ord topLvl">
          <ac:chgData name="Longkoi H [Probationer]" userId="d4e83e2c-c7d3-4fe6-ab74-6155d2bb8c63" providerId="ADAL" clId="{85C4EBEC-404E-46BC-B68B-D507855FBC7A}" dt="2024-06-12T14:18:19.889" v="3532" actId="478"/>
          <ac:spMkLst>
            <pc:docMk/>
            <pc:sldMk cId="0" sldId="313"/>
            <ac:spMk id="34" creationId="{6EE46832-98C5-6139-864E-6A4652AC5AF0}"/>
          </ac:spMkLst>
        </pc:spChg>
        <pc:spChg chg="del mod topLvl">
          <ac:chgData name="Longkoi H [Probationer]" userId="d4e83e2c-c7d3-4fe6-ab74-6155d2bb8c63" providerId="ADAL" clId="{85C4EBEC-404E-46BC-B68B-D507855FBC7A}" dt="2024-06-12T14:18:04.054" v="3264" actId="478"/>
          <ac:spMkLst>
            <pc:docMk/>
            <pc:sldMk cId="0" sldId="313"/>
            <ac:spMk id="35" creationId="{98279294-C1EE-5815-3513-EC8949D476F4}"/>
          </ac:spMkLst>
        </pc:spChg>
        <pc:spChg chg="del mod ord topLvl">
          <ac:chgData name="Longkoi H [Probationer]" userId="d4e83e2c-c7d3-4fe6-ab74-6155d2bb8c63" providerId="ADAL" clId="{85C4EBEC-404E-46BC-B68B-D507855FBC7A}" dt="2024-06-12T14:18:20.922" v="3533" actId="478"/>
          <ac:spMkLst>
            <pc:docMk/>
            <pc:sldMk cId="0" sldId="313"/>
            <ac:spMk id="36" creationId="{574F4D4F-68B8-CA5B-C9E1-D51E4F591F2E}"/>
          </ac:spMkLst>
        </pc:spChg>
        <pc:spChg chg="del mod topLvl">
          <ac:chgData name="Longkoi H [Probationer]" userId="d4e83e2c-c7d3-4fe6-ab74-6155d2bb8c63" providerId="ADAL" clId="{85C4EBEC-404E-46BC-B68B-D507855FBC7A}" dt="2024-06-12T14:17:58.524" v="3261" actId="478"/>
          <ac:spMkLst>
            <pc:docMk/>
            <pc:sldMk cId="0" sldId="313"/>
            <ac:spMk id="37" creationId="{C226D7A2-2D31-5953-AC48-454AAEDC553E}"/>
          </ac:spMkLst>
        </pc:spChg>
        <pc:spChg chg="add del mod">
          <ac:chgData name="Longkoi H [Probationer]" userId="d4e83e2c-c7d3-4fe6-ab74-6155d2bb8c63" providerId="ADAL" clId="{85C4EBEC-404E-46BC-B68B-D507855FBC7A}" dt="2024-06-12T14:34:55.277" v="4010" actId="478"/>
          <ac:spMkLst>
            <pc:docMk/>
            <pc:sldMk cId="0" sldId="313"/>
            <ac:spMk id="38" creationId="{FD0EA63E-4F5E-56DE-6960-F4512ACE3C78}"/>
          </ac:spMkLst>
        </pc:spChg>
        <pc:spChg chg="add del mod">
          <ac:chgData name="Longkoi H [Probationer]" userId="d4e83e2c-c7d3-4fe6-ab74-6155d2bb8c63" providerId="ADAL" clId="{85C4EBEC-404E-46BC-B68B-D507855FBC7A}" dt="2024-06-12T14:34:55.277" v="4010" actId="478"/>
          <ac:spMkLst>
            <pc:docMk/>
            <pc:sldMk cId="0" sldId="313"/>
            <ac:spMk id="39" creationId="{4D7339CE-6BDA-802D-8623-574F6EFC680D}"/>
          </ac:spMkLst>
        </pc:spChg>
        <pc:spChg chg="add del mod">
          <ac:chgData name="Longkoi H [Probationer]" userId="d4e83e2c-c7d3-4fe6-ab74-6155d2bb8c63" providerId="ADAL" clId="{85C4EBEC-404E-46BC-B68B-D507855FBC7A}" dt="2024-06-12T14:34:55.277" v="4010" actId="478"/>
          <ac:spMkLst>
            <pc:docMk/>
            <pc:sldMk cId="0" sldId="313"/>
            <ac:spMk id="40" creationId="{4B429C69-AB3C-8502-33F7-8FA838DC88FF}"/>
          </ac:spMkLst>
        </pc:spChg>
        <pc:spChg chg="add del mod">
          <ac:chgData name="Longkoi H [Probationer]" userId="d4e83e2c-c7d3-4fe6-ab74-6155d2bb8c63" providerId="ADAL" clId="{85C4EBEC-404E-46BC-B68B-D507855FBC7A}" dt="2024-06-12T14:34:55.277" v="4010" actId="478"/>
          <ac:spMkLst>
            <pc:docMk/>
            <pc:sldMk cId="0" sldId="313"/>
            <ac:spMk id="41" creationId="{246C0ADA-BCFA-5F58-CDA4-DD9000FFD385}"/>
          </ac:spMkLst>
        </pc:spChg>
        <pc:spChg chg="add del mod">
          <ac:chgData name="Longkoi H [Probationer]" userId="d4e83e2c-c7d3-4fe6-ab74-6155d2bb8c63" providerId="ADAL" clId="{85C4EBEC-404E-46BC-B68B-D507855FBC7A}" dt="2024-06-12T11:41:05.181" v="466" actId="478"/>
          <ac:spMkLst>
            <pc:docMk/>
            <pc:sldMk cId="0" sldId="313"/>
            <ac:spMk id="42" creationId="{384331A1-7858-E472-0A67-7DD5FD7BFFBA}"/>
          </ac:spMkLst>
        </pc:spChg>
        <pc:spChg chg="add del mod">
          <ac:chgData name="Longkoi H [Probationer]" userId="d4e83e2c-c7d3-4fe6-ab74-6155d2bb8c63" providerId="ADAL" clId="{85C4EBEC-404E-46BC-B68B-D507855FBC7A}" dt="2024-06-12T14:34:55.277" v="4010" actId="478"/>
          <ac:spMkLst>
            <pc:docMk/>
            <pc:sldMk cId="0" sldId="313"/>
            <ac:spMk id="43" creationId="{2CFC7AE9-2433-AE0B-CFA7-13F740B8AEAE}"/>
          </ac:spMkLst>
        </pc:spChg>
        <pc:spChg chg="add del mod">
          <ac:chgData name="Longkoi H [Probationer]" userId="d4e83e2c-c7d3-4fe6-ab74-6155d2bb8c63" providerId="ADAL" clId="{85C4EBEC-404E-46BC-B68B-D507855FBC7A}" dt="2024-06-12T14:34:55.277" v="4010" actId="478"/>
          <ac:spMkLst>
            <pc:docMk/>
            <pc:sldMk cId="0" sldId="313"/>
            <ac:spMk id="44" creationId="{ABD8DEC6-85BA-52FE-C9AE-2DDC8554B823}"/>
          </ac:spMkLst>
        </pc:spChg>
        <pc:spChg chg="add del mod">
          <ac:chgData name="Longkoi H [Probationer]" userId="d4e83e2c-c7d3-4fe6-ab74-6155d2bb8c63" providerId="ADAL" clId="{85C4EBEC-404E-46BC-B68B-D507855FBC7A}" dt="2024-06-12T14:34:55.277" v="4010" actId="478"/>
          <ac:spMkLst>
            <pc:docMk/>
            <pc:sldMk cId="0" sldId="313"/>
            <ac:spMk id="45" creationId="{BB811130-5781-F5E2-8901-4360D27CBCAE}"/>
          </ac:spMkLst>
        </pc:spChg>
        <pc:spChg chg="add del mod">
          <ac:chgData name="Longkoi H [Probationer]" userId="d4e83e2c-c7d3-4fe6-ab74-6155d2bb8c63" providerId="ADAL" clId="{85C4EBEC-404E-46BC-B68B-D507855FBC7A}" dt="2024-06-12T14:34:55.277" v="4010" actId="478"/>
          <ac:spMkLst>
            <pc:docMk/>
            <pc:sldMk cId="0" sldId="313"/>
            <ac:spMk id="50" creationId="{FE17936B-A8BA-8FFC-BB71-DA183B17C888}"/>
          </ac:spMkLst>
        </pc:spChg>
        <pc:spChg chg="add del mod">
          <ac:chgData name="Longkoi H [Probationer]" userId="d4e83e2c-c7d3-4fe6-ab74-6155d2bb8c63" providerId="ADAL" clId="{85C4EBEC-404E-46BC-B68B-D507855FBC7A}" dt="2024-06-12T13:28:47.110" v="2136" actId="478"/>
          <ac:spMkLst>
            <pc:docMk/>
            <pc:sldMk cId="0" sldId="313"/>
            <ac:spMk id="59" creationId="{C1085188-F458-B1F6-A38B-8CE6350A6EEB}"/>
          </ac:spMkLst>
        </pc:spChg>
        <pc:spChg chg="add del mod">
          <ac:chgData name="Longkoi H [Probationer]" userId="d4e83e2c-c7d3-4fe6-ab74-6155d2bb8c63" providerId="ADAL" clId="{85C4EBEC-404E-46BC-B68B-D507855FBC7A}" dt="2024-06-12T14:33:34.325" v="4000" actId="478"/>
          <ac:spMkLst>
            <pc:docMk/>
            <pc:sldMk cId="0" sldId="313"/>
            <ac:spMk id="60" creationId="{36D935AB-C77E-2DC9-FAC9-2A6C22097D74}"/>
          </ac:spMkLst>
        </pc:spChg>
        <pc:spChg chg="mod">
          <ac:chgData name="Longkoi H [Probationer]" userId="d4e83e2c-c7d3-4fe6-ab74-6155d2bb8c63" providerId="ADAL" clId="{85C4EBEC-404E-46BC-B68B-D507855FBC7A}" dt="2024-06-12T14:33:09.748" v="3996" actId="1076"/>
          <ac:spMkLst>
            <pc:docMk/>
            <pc:sldMk cId="0" sldId="313"/>
            <ac:spMk id="62" creationId="{E545137A-343E-711C-74D7-0E1A3727592E}"/>
          </ac:spMkLst>
        </pc:spChg>
        <pc:spChg chg="mod">
          <ac:chgData name="Longkoi H [Probationer]" userId="d4e83e2c-c7d3-4fe6-ab74-6155d2bb8c63" providerId="ADAL" clId="{85C4EBEC-404E-46BC-B68B-D507855FBC7A}" dt="2024-06-12T14:33:09.748" v="3996" actId="1076"/>
          <ac:spMkLst>
            <pc:docMk/>
            <pc:sldMk cId="0" sldId="313"/>
            <ac:spMk id="63" creationId="{00256218-2BE9-EB7B-CF23-CBEFE044129C}"/>
          </ac:spMkLst>
        </pc:spChg>
        <pc:spChg chg="mod">
          <ac:chgData name="Longkoi H [Probationer]" userId="d4e83e2c-c7d3-4fe6-ab74-6155d2bb8c63" providerId="ADAL" clId="{85C4EBEC-404E-46BC-B68B-D507855FBC7A}" dt="2024-06-12T14:33:09.748" v="3996" actId="1076"/>
          <ac:spMkLst>
            <pc:docMk/>
            <pc:sldMk cId="0" sldId="313"/>
            <ac:spMk id="4993" creationId="{59CCC1CF-170E-80C1-9CB3-FD730BC7B6FC}"/>
          </ac:spMkLst>
        </pc:spChg>
        <pc:spChg chg="mod">
          <ac:chgData name="Longkoi H [Probationer]" userId="d4e83e2c-c7d3-4fe6-ab74-6155d2bb8c63" providerId="ADAL" clId="{85C4EBEC-404E-46BC-B68B-D507855FBC7A}" dt="2024-06-12T14:33:09.748" v="3996" actId="1076"/>
          <ac:spMkLst>
            <pc:docMk/>
            <pc:sldMk cId="0" sldId="313"/>
            <ac:spMk id="4994" creationId="{A043585C-F165-A5C0-4CDB-3D70E82ABB4D}"/>
          </ac:spMkLst>
        </pc:spChg>
        <pc:spChg chg="mod">
          <ac:chgData name="Longkoi H [Probationer]" userId="d4e83e2c-c7d3-4fe6-ab74-6155d2bb8c63" providerId="ADAL" clId="{85C4EBEC-404E-46BC-B68B-D507855FBC7A}" dt="2024-06-12T14:33:09.748" v="3996" actId="1076"/>
          <ac:spMkLst>
            <pc:docMk/>
            <pc:sldMk cId="0" sldId="313"/>
            <ac:spMk id="4996" creationId="{DA0BE4DB-6E08-C0F5-716E-FFB075B7B007}"/>
          </ac:spMkLst>
        </pc:spChg>
        <pc:spChg chg="mod">
          <ac:chgData name="Longkoi H [Probationer]" userId="d4e83e2c-c7d3-4fe6-ab74-6155d2bb8c63" providerId="ADAL" clId="{85C4EBEC-404E-46BC-B68B-D507855FBC7A}" dt="2024-06-12T14:33:09.748" v="3996" actId="1076"/>
          <ac:spMkLst>
            <pc:docMk/>
            <pc:sldMk cId="0" sldId="313"/>
            <ac:spMk id="4997" creationId="{43FEF1C7-CEA5-8C05-DD82-C4881F0B7F82}"/>
          </ac:spMkLst>
        </pc:spChg>
        <pc:spChg chg="mod">
          <ac:chgData name="Longkoi H [Probationer]" userId="d4e83e2c-c7d3-4fe6-ab74-6155d2bb8c63" providerId="ADAL" clId="{85C4EBEC-404E-46BC-B68B-D507855FBC7A}" dt="2024-06-12T14:33:09.748" v="3996" actId="1076"/>
          <ac:spMkLst>
            <pc:docMk/>
            <pc:sldMk cId="0" sldId="313"/>
            <ac:spMk id="4999" creationId="{A9366F54-40B9-A4FB-13AD-CDB48DBF724A}"/>
          </ac:spMkLst>
        </pc:spChg>
        <pc:spChg chg="mod">
          <ac:chgData name="Longkoi H [Probationer]" userId="d4e83e2c-c7d3-4fe6-ab74-6155d2bb8c63" providerId="ADAL" clId="{85C4EBEC-404E-46BC-B68B-D507855FBC7A}" dt="2024-06-12T14:33:09.748" v="3996" actId="1076"/>
          <ac:spMkLst>
            <pc:docMk/>
            <pc:sldMk cId="0" sldId="313"/>
            <ac:spMk id="5000" creationId="{459ADF8C-BFD9-11BF-0900-3C48FB41E7CA}"/>
          </ac:spMkLst>
        </pc:spChg>
        <pc:spChg chg="mod">
          <ac:chgData name="Longkoi H [Probationer]" userId="d4e83e2c-c7d3-4fe6-ab74-6155d2bb8c63" providerId="ADAL" clId="{85C4EBEC-404E-46BC-B68B-D507855FBC7A}" dt="2024-06-12T14:32:11.621" v="3989"/>
          <ac:spMkLst>
            <pc:docMk/>
            <pc:sldMk cId="0" sldId="313"/>
            <ac:spMk id="5002" creationId="{E7D33860-49CA-0DAF-130D-027B6E9EB53B}"/>
          </ac:spMkLst>
        </pc:spChg>
        <pc:spChg chg="mod">
          <ac:chgData name="Longkoi H [Probationer]" userId="d4e83e2c-c7d3-4fe6-ab74-6155d2bb8c63" providerId="ADAL" clId="{85C4EBEC-404E-46BC-B68B-D507855FBC7A}" dt="2024-06-12T14:32:11.621" v="3989"/>
          <ac:spMkLst>
            <pc:docMk/>
            <pc:sldMk cId="0" sldId="313"/>
            <ac:spMk id="5003" creationId="{CF135068-A82F-7317-009F-54CCA903DA7B}"/>
          </ac:spMkLst>
        </pc:spChg>
        <pc:spChg chg="mod">
          <ac:chgData name="Longkoi H [Probationer]" userId="d4e83e2c-c7d3-4fe6-ab74-6155d2bb8c63" providerId="ADAL" clId="{85C4EBEC-404E-46BC-B68B-D507855FBC7A}" dt="2024-06-12T14:32:11.621" v="3989"/>
          <ac:spMkLst>
            <pc:docMk/>
            <pc:sldMk cId="0" sldId="313"/>
            <ac:spMk id="5004" creationId="{513795AB-202D-CBC0-B720-FD9E8634A137}"/>
          </ac:spMkLst>
        </pc:spChg>
        <pc:spChg chg="add mod">
          <ac:chgData name="Longkoi H [Probationer]" userId="d4e83e2c-c7d3-4fe6-ab74-6155d2bb8c63" providerId="ADAL" clId="{85C4EBEC-404E-46BC-B68B-D507855FBC7A}" dt="2024-06-12T14:43:35.821" v="4548" actId="1076"/>
          <ac:spMkLst>
            <pc:docMk/>
            <pc:sldMk cId="0" sldId="313"/>
            <ac:spMk id="5005" creationId="{AD8706CF-5A6C-4D0E-A1CC-F93371BE7C5C}"/>
          </ac:spMkLst>
        </pc:spChg>
        <pc:spChg chg="mod">
          <ac:chgData name="Longkoi H [Probationer]" userId="d4e83e2c-c7d3-4fe6-ab74-6155d2bb8c63" providerId="ADAL" clId="{85C4EBEC-404E-46BC-B68B-D507855FBC7A}" dt="2024-06-12T14:39:09.267" v="4123"/>
          <ac:spMkLst>
            <pc:docMk/>
            <pc:sldMk cId="0" sldId="313"/>
            <ac:spMk id="5007" creationId="{CD29A3BA-8281-C895-04C6-0E0C9644429A}"/>
          </ac:spMkLst>
        </pc:spChg>
        <pc:spChg chg="mod">
          <ac:chgData name="Longkoi H [Probationer]" userId="d4e83e2c-c7d3-4fe6-ab74-6155d2bb8c63" providerId="ADAL" clId="{85C4EBEC-404E-46BC-B68B-D507855FBC7A}" dt="2024-06-12T14:39:09.267" v="4123"/>
          <ac:spMkLst>
            <pc:docMk/>
            <pc:sldMk cId="0" sldId="313"/>
            <ac:spMk id="5008" creationId="{8D31339C-2B48-EF0A-3CD5-4D03558832DF}"/>
          </ac:spMkLst>
        </pc:spChg>
        <pc:spChg chg="mod">
          <ac:chgData name="Longkoi H [Probationer]" userId="d4e83e2c-c7d3-4fe6-ab74-6155d2bb8c63" providerId="ADAL" clId="{85C4EBEC-404E-46BC-B68B-D507855FBC7A}" dt="2024-06-12T14:33:53.119" v="4005" actId="1076"/>
          <ac:spMkLst>
            <pc:docMk/>
            <pc:sldMk cId="0" sldId="313"/>
            <ac:spMk id="5011" creationId="{6E3CEDBC-A9F3-3B29-BAC0-A4C6C2323239}"/>
          </ac:spMkLst>
        </pc:spChg>
        <pc:spChg chg="add mod">
          <ac:chgData name="Longkoi H [Probationer]" userId="d4e83e2c-c7d3-4fe6-ab74-6155d2bb8c63" providerId="ADAL" clId="{85C4EBEC-404E-46BC-B68B-D507855FBC7A}" dt="2024-06-12T14:36:47.227" v="4097"/>
          <ac:spMkLst>
            <pc:docMk/>
            <pc:sldMk cId="0" sldId="313"/>
            <ac:spMk id="5012" creationId="{0AFE93EA-FA4E-6E8A-FFF4-1A269DBFBF01}"/>
          </ac:spMkLst>
        </pc:spChg>
        <pc:spChg chg="mod">
          <ac:chgData name="Longkoi H [Probationer]" userId="d4e83e2c-c7d3-4fe6-ab74-6155d2bb8c63" providerId="ADAL" clId="{85C4EBEC-404E-46BC-B68B-D507855FBC7A}" dt="2024-06-12T14:39:13.521" v="4131"/>
          <ac:spMkLst>
            <pc:docMk/>
            <pc:sldMk cId="0" sldId="313"/>
            <ac:spMk id="5014" creationId="{3A18B133-2E5D-503A-7D8A-75E7B1FFD0EE}"/>
          </ac:spMkLst>
        </pc:spChg>
        <pc:spChg chg="mod">
          <ac:chgData name="Longkoi H [Probationer]" userId="d4e83e2c-c7d3-4fe6-ab74-6155d2bb8c63" providerId="ADAL" clId="{85C4EBEC-404E-46BC-B68B-D507855FBC7A}" dt="2024-06-12T14:39:13.521" v="4131"/>
          <ac:spMkLst>
            <pc:docMk/>
            <pc:sldMk cId="0" sldId="313"/>
            <ac:spMk id="5015" creationId="{EF7FCC9D-D406-E7CB-7A03-2647324C468D}"/>
          </ac:spMkLst>
        </pc:spChg>
        <pc:spChg chg="add mod">
          <ac:chgData name="Longkoi H [Probationer]" userId="d4e83e2c-c7d3-4fe6-ab74-6155d2bb8c63" providerId="ADAL" clId="{85C4EBEC-404E-46BC-B68B-D507855FBC7A}" dt="2024-06-12T14:36:51.940" v="4099"/>
          <ac:spMkLst>
            <pc:docMk/>
            <pc:sldMk cId="0" sldId="313"/>
            <ac:spMk id="5017" creationId="{8D52C56F-F144-509C-562F-49625827AB6D}"/>
          </ac:spMkLst>
        </pc:spChg>
        <pc:spChg chg="mod">
          <ac:chgData name="Longkoi H [Probationer]" userId="d4e83e2c-c7d3-4fe6-ab74-6155d2bb8c63" providerId="ADAL" clId="{85C4EBEC-404E-46BC-B68B-D507855FBC7A}" dt="2024-06-12T14:39:16.399" v="4139"/>
          <ac:spMkLst>
            <pc:docMk/>
            <pc:sldMk cId="0" sldId="313"/>
            <ac:spMk id="5019" creationId="{0A9886D8-D79C-FC9F-539D-E826B5806E2E}"/>
          </ac:spMkLst>
        </pc:spChg>
        <pc:spChg chg="mod">
          <ac:chgData name="Longkoi H [Probationer]" userId="d4e83e2c-c7d3-4fe6-ab74-6155d2bb8c63" providerId="ADAL" clId="{85C4EBEC-404E-46BC-B68B-D507855FBC7A}" dt="2024-06-12T14:39:16.399" v="4139"/>
          <ac:spMkLst>
            <pc:docMk/>
            <pc:sldMk cId="0" sldId="313"/>
            <ac:spMk id="5020" creationId="{2D7E8400-EC17-BE4D-2F65-069CA29DF81C}"/>
          </ac:spMkLst>
        </pc:spChg>
        <pc:spChg chg="add del mod">
          <ac:chgData name="Longkoi H [Probationer]" userId="d4e83e2c-c7d3-4fe6-ab74-6155d2bb8c63" providerId="ADAL" clId="{85C4EBEC-404E-46BC-B68B-D507855FBC7A}" dt="2024-06-12T14:33:56.935" v="4006" actId="478"/>
          <ac:spMkLst>
            <pc:docMk/>
            <pc:sldMk cId="0" sldId="313"/>
            <ac:spMk id="5022" creationId="{99502446-D0F1-D712-83FD-F15CC019BBC0}"/>
          </ac:spMkLst>
        </pc:spChg>
        <pc:spChg chg="add del mod">
          <ac:chgData name="Longkoi H [Probationer]" userId="d4e83e2c-c7d3-4fe6-ab74-6155d2bb8c63" providerId="ADAL" clId="{85C4EBEC-404E-46BC-B68B-D507855FBC7A}" dt="2024-06-12T14:33:56.935" v="4006" actId="478"/>
          <ac:spMkLst>
            <pc:docMk/>
            <pc:sldMk cId="0" sldId="313"/>
            <ac:spMk id="5023" creationId="{3ED27295-8FFF-CBB3-E02B-9C298068580D}"/>
          </ac:spMkLst>
        </pc:spChg>
        <pc:spChg chg="add del mod">
          <ac:chgData name="Longkoi H [Probationer]" userId="d4e83e2c-c7d3-4fe6-ab74-6155d2bb8c63" providerId="ADAL" clId="{85C4EBEC-404E-46BC-B68B-D507855FBC7A}" dt="2024-06-12T14:33:56.935" v="4006" actId="478"/>
          <ac:spMkLst>
            <pc:docMk/>
            <pc:sldMk cId="0" sldId="313"/>
            <ac:spMk id="5024" creationId="{92D1501B-F443-12F5-FE3D-1FA556C9467A}"/>
          </ac:spMkLst>
        </pc:spChg>
        <pc:spChg chg="add mod">
          <ac:chgData name="Longkoi H [Probationer]" userId="d4e83e2c-c7d3-4fe6-ab74-6155d2bb8c63" providerId="ADAL" clId="{85C4EBEC-404E-46BC-B68B-D507855FBC7A}" dt="2024-06-12T14:41:52.167" v="4385"/>
          <ac:spMkLst>
            <pc:docMk/>
            <pc:sldMk cId="0" sldId="313"/>
            <ac:spMk id="5025" creationId="{0B5477EE-11B2-CBFF-9F67-4EDBACF500F0}"/>
          </ac:spMkLst>
        </pc:spChg>
        <pc:spChg chg="add del mod">
          <ac:chgData name="Longkoi H [Probationer]" userId="d4e83e2c-c7d3-4fe6-ab74-6155d2bb8c63" providerId="ADAL" clId="{85C4EBEC-404E-46BC-B68B-D507855FBC7A}" dt="2024-06-12T14:35:33.377" v="4027"/>
          <ac:spMkLst>
            <pc:docMk/>
            <pc:sldMk cId="0" sldId="313"/>
            <ac:spMk id="5026" creationId="{DFC869D0-6EC3-8FE3-C796-326E521F977C}"/>
          </ac:spMkLst>
        </pc:spChg>
        <pc:spChg chg="add del mod">
          <ac:chgData name="Longkoi H [Probationer]" userId="d4e83e2c-c7d3-4fe6-ab74-6155d2bb8c63" providerId="ADAL" clId="{85C4EBEC-404E-46BC-B68B-D507855FBC7A}" dt="2024-06-12T14:35:35.801" v="4040"/>
          <ac:spMkLst>
            <pc:docMk/>
            <pc:sldMk cId="0" sldId="313"/>
            <ac:spMk id="5027" creationId="{6B248B61-F968-4EA8-1709-34F932FBFB49}"/>
          </ac:spMkLst>
        </pc:spChg>
        <pc:spChg chg="add del mod">
          <ac:chgData name="Longkoi H [Probationer]" userId="d4e83e2c-c7d3-4fe6-ab74-6155d2bb8c63" providerId="ADAL" clId="{85C4EBEC-404E-46BC-B68B-D507855FBC7A}" dt="2024-06-12T14:35:39.897" v="4066"/>
          <ac:spMkLst>
            <pc:docMk/>
            <pc:sldMk cId="0" sldId="313"/>
            <ac:spMk id="5028" creationId="{B0F00576-9F10-67C4-CF17-D2ADAC5C76D1}"/>
          </ac:spMkLst>
        </pc:spChg>
        <pc:spChg chg="add del mod">
          <ac:chgData name="Longkoi H [Probationer]" userId="d4e83e2c-c7d3-4fe6-ab74-6155d2bb8c63" providerId="ADAL" clId="{85C4EBEC-404E-46BC-B68B-D507855FBC7A}" dt="2024-06-12T14:35:33.387" v="4033"/>
          <ac:spMkLst>
            <pc:docMk/>
            <pc:sldMk cId="0" sldId="313"/>
            <ac:spMk id="5029" creationId="{8BF52B62-0BF2-56F8-1B5D-F56B51063C5B}"/>
          </ac:spMkLst>
        </pc:spChg>
        <pc:spChg chg="add del mod">
          <ac:chgData name="Longkoi H [Probationer]" userId="d4e83e2c-c7d3-4fe6-ab74-6155d2bb8c63" providerId="ADAL" clId="{85C4EBEC-404E-46BC-B68B-D507855FBC7A}" dt="2024-06-12T14:35:35.808" v="4046"/>
          <ac:spMkLst>
            <pc:docMk/>
            <pc:sldMk cId="0" sldId="313"/>
            <ac:spMk id="5030" creationId="{512D440C-E06E-3D32-4D0C-861161A83B5A}"/>
          </ac:spMkLst>
        </pc:spChg>
        <pc:spChg chg="add del mod">
          <ac:chgData name="Longkoi H [Probationer]" userId="d4e83e2c-c7d3-4fe6-ab74-6155d2bb8c63" providerId="ADAL" clId="{85C4EBEC-404E-46BC-B68B-D507855FBC7A}" dt="2024-06-12T14:35:37.892" v="4059"/>
          <ac:spMkLst>
            <pc:docMk/>
            <pc:sldMk cId="0" sldId="313"/>
            <ac:spMk id="5031" creationId="{7B874F66-E3B0-4148-1BAE-A7E50A97A778}"/>
          </ac:spMkLst>
        </pc:spChg>
        <pc:spChg chg="add del mod">
          <ac:chgData name="Longkoi H [Probationer]" userId="d4e83e2c-c7d3-4fe6-ab74-6155d2bb8c63" providerId="ADAL" clId="{85C4EBEC-404E-46BC-B68B-D507855FBC7A}" dt="2024-06-12T14:35:39.905" v="4072"/>
          <ac:spMkLst>
            <pc:docMk/>
            <pc:sldMk cId="0" sldId="313"/>
            <ac:spMk id="5032" creationId="{129B7527-D2DA-B11A-5BCF-223B19DB7AB7}"/>
          </ac:spMkLst>
        </pc:spChg>
        <pc:spChg chg="add del mod">
          <ac:chgData name="Longkoi H [Probationer]" userId="d4e83e2c-c7d3-4fe6-ab74-6155d2bb8c63" providerId="ADAL" clId="{85C4EBEC-404E-46BC-B68B-D507855FBC7A}" dt="2024-06-12T14:35:37.882" v="4053"/>
          <ac:spMkLst>
            <pc:docMk/>
            <pc:sldMk cId="0" sldId="313"/>
            <ac:spMk id="5033" creationId="{35368F2A-5811-8AFC-3250-B54B8AD16FFE}"/>
          </ac:spMkLst>
        </pc:spChg>
        <pc:spChg chg="add del mod">
          <ac:chgData name="Longkoi H [Probationer]" userId="d4e83e2c-c7d3-4fe6-ab74-6155d2bb8c63" providerId="ADAL" clId="{85C4EBEC-404E-46BC-B68B-D507855FBC7A}" dt="2024-06-12T14:40:46.414" v="4289"/>
          <ac:spMkLst>
            <pc:docMk/>
            <pc:sldMk cId="0" sldId="313"/>
            <ac:spMk id="5038" creationId="{285D3BB6-07A4-1B20-D73C-D86404CBC5F0}"/>
          </ac:spMkLst>
        </pc:spChg>
        <pc:spChg chg="del mod">
          <ac:chgData name="Longkoi H [Probationer]" userId="d4e83e2c-c7d3-4fe6-ab74-6155d2bb8c63" providerId="ADAL" clId="{85C4EBEC-404E-46BC-B68B-D507855FBC7A}" dt="2024-06-12T12:19:37.661" v="1172" actId="478"/>
          <ac:spMkLst>
            <pc:docMk/>
            <pc:sldMk cId="0" sldId="313"/>
            <ac:spMk id="5039" creationId="{00000000-0000-0000-0000-000000000000}"/>
          </ac:spMkLst>
        </pc:spChg>
        <pc:spChg chg="del mod ord">
          <ac:chgData name="Longkoi H [Probationer]" userId="d4e83e2c-c7d3-4fe6-ab74-6155d2bb8c63" providerId="ADAL" clId="{85C4EBEC-404E-46BC-B68B-D507855FBC7A}" dt="2024-06-12T11:36:15.795" v="114" actId="478"/>
          <ac:spMkLst>
            <pc:docMk/>
            <pc:sldMk cId="0" sldId="313"/>
            <ac:spMk id="5054" creationId="{00000000-0000-0000-0000-000000000000}"/>
          </ac:spMkLst>
        </pc:spChg>
        <pc:spChg chg="del mod ord">
          <ac:chgData name="Longkoi H [Probationer]" userId="d4e83e2c-c7d3-4fe6-ab74-6155d2bb8c63" providerId="ADAL" clId="{85C4EBEC-404E-46BC-B68B-D507855FBC7A}" dt="2024-06-12T11:36:15.795" v="114" actId="478"/>
          <ac:spMkLst>
            <pc:docMk/>
            <pc:sldMk cId="0" sldId="313"/>
            <ac:spMk id="5055" creationId="{00000000-0000-0000-0000-000000000000}"/>
          </ac:spMkLst>
        </pc:spChg>
        <pc:spChg chg="del mod ord">
          <ac:chgData name="Longkoi H [Probationer]" userId="d4e83e2c-c7d3-4fe6-ab74-6155d2bb8c63" providerId="ADAL" clId="{85C4EBEC-404E-46BC-B68B-D507855FBC7A}" dt="2024-06-12T11:36:15.795" v="114" actId="478"/>
          <ac:spMkLst>
            <pc:docMk/>
            <pc:sldMk cId="0" sldId="313"/>
            <ac:spMk id="5056" creationId="{00000000-0000-0000-0000-000000000000}"/>
          </ac:spMkLst>
        </pc:spChg>
        <pc:spChg chg="del mod">
          <ac:chgData name="Longkoi H [Probationer]" userId="d4e83e2c-c7d3-4fe6-ab74-6155d2bb8c63" providerId="ADAL" clId="{85C4EBEC-404E-46BC-B68B-D507855FBC7A}" dt="2024-06-12T11:36:15.795" v="114" actId="478"/>
          <ac:spMkLst>
            <pc:docMk/>
            <pc:sldMk cId="0" sldId="313"/>
            <ac:spMk id="5057" creationId="{00000000-0000-0000-0000-000000000000}"/>
          </ac:spMkLst>
        </pc:spChg>
        <pc:spChg chg="del mod ord">
          <ac:chgData name="Longkoi H [Probationer]" userId="d4e83e2c-c7d3-4fe6-ab74-6155d2bb8c63" providerId="ADAL" clId="{85C4EBEC-404E-46BC-B68B-D507855FBC7A}" dt="2024-06-12T11:36:15.795" v="114" actId="478"/>
          <ac:spMkLst>
            <pc:docMk/>
            <pc:sldMk cId="0" sldId="313"/>
            <ac:spMk id="5058" creationId="{00000000-0000-0000-0000-000000000000}"/>
          </ac:spMkLst>
        </pc:spChg>
        <pc:spChg chg="del mod">
          <ac:chgData name="Longkoi H [Probationer]" userId="d4e83e2c-c7d3-4fe6-ab74-6155d2bb8c63" providerId="ADAL" clId="{85C4EBEC-404E-46BC-B68B-D507855FBC7A}" dt="2024-06-12T11:36:15.795" v="114" actId="478"/>
          <ac:spMkLst>
            <pc:docMk/>
            <pc:sldMk cId="0" sldId="313"/>
            <ac:spMk id="5059" creationId="{00000000-0000-0000-0000-000000000000}"/>
          </ac:spMkLst>
        </pc:spChg>
        <pc:spChg chg="del mod">
          <ac:chgData name="Longkoi H [Probationer]" userId="d4e83e2c-c7d3-4fe6-ab74-6155d2bb8c63" providerId="ADAL" clId="{85C4EBEC-404E-46BC-B68B-D507855FBC7A}" dt="2024-06-12T11:36:15.795" v="114" actId="478"/>
          <ac:spMkLst>
            <pc:docMk/>
            <pc:sldMk cId="0" sldId="313"/>
            <ac:spMk id="5060" creationId="{00000000-0000-0000-0000-000000000000}"/>
          </ac:spMkLst>
        </pc:spChg>
        <pc:spChg chg="del mod">
          <ac:chgData name="Longkoi H [Probationer]" userId="d4e83e2c-c7d3-4fe6-ab74-6155d2bb8c63" providerId="ADAL" clId="{85C4EBEC-404E-46BC-B68B-D507855FBC7A}" dt="2024-06-12T11:36:15.795" v="114" actId="478"/>
          <ac:spMkLst>
            <pc:docMk/>
            <pc:sldMk cId="0" sldId="313"/>
            <ac:spMk id="5061" creationId="{00000000-0000-0000-0000-000000000000}"/>
          </ac:spMkLst>
        </pc:spChg>
        <pc:spChg chg="mod ord">
          <ac:chgData name="Longkoi H [Probationer]" userId="d4e83e2c-c7d3-4fe6-ab74-6155d2bb8c63" providerId="ADAL" clId="{85C4EBEC-404E-46BC-B68B-D507855FBC7A}" dt="2024-06-12T14:43:58.690" v="4562" actId="1036"/>
          <ac:spMkLst>
            <pc:docMk/>
            <pc:sldMk cId="0" sldId="313"/>
            <ac:spMk id="5063" creationId="{00000000-0000-0000-0000-000000000000}"/>
          </ac:spMkLst>
        </pc:spChg>
        <pc:spChg chg="mod ord">
          <ac:chgData name="Longkoi H [Probationer]" userId="d4e83e2c-c7d3-4fe6-ab74-6155d2bb8c63" providerId="ADAL" clId="{85C4EBEC-404E-46BC-B68B-D507855FBC7A}" dt="2024-06-12T14:43:58.690" v="4562" actId="1036"/>
          <ac:spMkLst>
            <pc:docMk/>
            <pc:sldMk cId="0" sldId="313"/>
            <ac:spMk id="5069" creationId="{00000000-0000-0000-0000-000000000000}"/>
          </ac:spMkLst>
        </pc:spChg>
        <pc:spChg chg="mod ord">
          <ac:chgData name="Longkoi H [Probationer]" userId="d4e83e2c-c7d3-4fe6-ab74-6155d2bb8c63" providerId="ADAL" clId="{85C4EBEC-404E-46BC-B68B-D507855FBC7A}" dt="2024-06-12T14:43:58.690" v="4562" actId="1036"/>
          <ac:spMkLst>
            <pc:docMk/>
            <pc:sldMk cId="0" sldId="313"/>
            <ac:spMk id="5070" creationId="{00000000-0000-0000-0000-000000000000}"/>
          </ac:spMkLst>
        </pc:spChg>
        <pc:spChg chg="del mod">
          <ac:chgData name="Longkoi H [Probationer]" userId="d4e83e2c-c7d3-4fe6-ab74-6155d2bb8c63" providerId="ADAL" clId="{85C4EBEC-404E-46BC-B68B-D507855FBC7A}" dt="2024-06-12T11:36:15.795" v="114" actId="478"/>
          <ac:spMkLst>
            <pc:docMk/>
            <pc:sldMk cId="0" sldId="313"/>
            <ac:spMk id="5092" creationId="{00000000-0000-0000-0000-000000000000}"/>
          </ac:spMkLst>
        </pc:spChg>
        <pc:spChg chg="add del mod">
          <ac:chgData name="Longkoi H [Probationer]" userId="d4e83e2c-c7d3-4fe6-ab74-6155d2bb8c63" providerId="ADAL" clId="{85C4EBEC-404E-46BC-B68B-D507855FBC7A}" dt="2024-06-12T14:40:42.078" v="4274"/>
          <ac:spMkLst>
            <pc:docMk/>
            <pc:sldMk cId="0" sldId="313"/>
            <ac:spMk id="5093" creationId="{51774F9F-D77D-2658-2DCC-FB0E85A27436}"/>
          </ac:spMkLst>
        </pc:spChg>
        <pc:spChg chg="add del mod">
          <ac:chgData name="Longkoi H [Probationer]" userId="d4e83e2c-c7d3-4fe6-ab74-6155d2bb8c63" providerId="ADAL" clId="{85C4EBEC-404E-46BC-B68B-D507855FBC7A}" dt="2024-06-12T14:40:39.894" v="4259"/>
          <ac:spMkLst>
            <pc:docMk/>
            <pc:sldMk cId="0" sldId="313"/>
            <ac:spMk id="5094" creationId="{25FE066A-4FB5-20AB-2EBE-9559C9C56E8B}"/>
          </ac:spMkLst>
        </pc:spChg>
        <pc:spChg chg="add del mod">
          <ac:chgData name="Longkoi H [Probationer]" userId="d4e83e2c-c7d3-4fe6-ab74-6155d2bb8c63" providerId="ADAL" clId="{85C4EBEC-404E-46BC-B68B-D507855FBC7A}" dt="2024-06-12T14:40:33.926" v="4244"/>
          <ac:spMkLst>
            <pc:docMk/>
            <pc:sldMk cId="0" sldId="313"/>
            <ac:spMk id="5095" creationId="{3E480BAC-4825-6950-E2E8-B314909E5466}"/>
          </ac:spMkLst>
        </pc:spChg>
        <pc:spChg chg="add mod">
          <ac:chgData name="Longkoi H [Probationer]" userId="d4e83e2c-c7d3-4fe6-ab74-6155d2bb8c63" providerId="ADAL" clId="{85C4EBEC-404E-46BC-B68B-D507855FBC7A}" dt="2024-06-12T14:40:30.729" v="4229"/>
          <ac:spMkLst>
            <pc:docMk/>
            <pc:sldMk cId="0" sldId="313"/>
            <ac:spMk id="5102" creationId="{1E835066-E69D-682A-636D-837F686E535B}"/>
          </ac:spMkLst>
        </pc:spChg>
        <pc:spChg chg="add mod">
          <ac:chgData name="Longkoi H [Probationer]" userId="d4e83e2c-c7d3-4fe6-ab74-6155d2bb8c63" providerId="ADAL" clId="{85C4EBEC-404E-46BC-B68B-D507855FBC7A}" dt="2024-06-12T14:42:09.088" v="4447"/>
          <ac:spMkLst>
            <pc:docMk/>
            <pc:sldMk cId="0" sldId="313"/>
            <ac:spMk id="5103" creationId="{121EBF11-E697-4EE1-5BAD-F58D6C7D6A3B}"/>
          </ac:spMkLst>
        </pc:spChg>
        <pc:spChg chg="add mod">
          <ac:chgData name="Longkoi H [Probationer]" userId="d4e83e2c-c7d3-4fe6-ab74-6155d2bb8c63" providerId="ADAL" clId="{85C4EBEC-404E-46BC-B68B-D507855FBC7A}" dt="2024-06-12T14:42:09.087" v="4445"/>
          <ac:spMkLst>
            <pc:docMk/>
            <pc:sldMk cId="0" sldId="313"/>
            <ac:spMk id="5104" creationId="{91EA7893-4534-6820-7D29-1E920C1F6B89}"/>
          </ac:spMkLst>
        </pc:spChg>
        <pc:spChg chg="add mod">
          <ac:chgData name="Longkoi H [Probationer]" userId="d4e83e2c-c7d3-4fe6-ab74-6155d2bb8c63" providerId="ADAL" clId="{85C4EBEC-404E-46BC-B68B-D507855FBC7A}" dt="2024-06-12T14:42:12.753" v="4471"/>
          <ac:spMkLst>
            <pc:docMk/>
            <pc:sldMk cId="0" sldId="313"/>
            <ac:spMk id="5105" creationId="{810D8A3A-33DB-3599-D680-AC5CC8B7568A}"/>
          </ac:spMkLst>
        </pc:spChg>
        <pc:spChg chg="add mod">
          <ac:chgData name="Longkoi H [Probationer]" userId="d4e83e2c-c7d3-4fe6-ab74-6155d2bb8c63" providerId="ADAL" clId="{85C4EBEC-404E-46BC-B68B-D507855FBC7A}" dt="2024-06-12T14:42:12.752" v="4469"/>
          <ac:spMkLst>
            <pc:docMk/>
            <pc:sldMk cId="0" sldId="313"/>
            <ac:spMk id="5106" creationId="{3F8920B6-A409-DD2C-AD63-334D3AECDC5F}"/>
          </ac:spMkLst>
        </pc:spChg>
        <pc:spChg chg="add mod">
          <ac:chgData name="Longkoi H [Probationer]" userId="d4e83e2c-c7d3-4fe6-ab74-6155d2bb8c63" providerId="ADAL" clId="{85C4EBEC-404E-46BC-B68B-D507855FBC7A}" dt="2024-06-12T14:42:17.718" v="4507"/>
          <ac:spMkLst>
            <pc:docMk/>
            <pc:sldMk cId="0" sldId="313"/>
            <ac:spMk id="5107" creationId="{2217DB7A-4524-83F0-C85A-CD999AE9256D}"/>
          </ac:spMkLst>
        </pc:spChg>
        <pc:spChg chg="add mod">
          <ac:chgData name="Longkoi H [Probationer]" userId="d4e83e2c-c7d3-4fe6-ab74-6155d2bb8c63" providerId="ADAL" clId="{85C4EBEC-404E-46BC-B68B-D507855FBC7A}" dt="2024-06-12T14:42:17.718" v="4505"/>
          <ac:spMkLst>
            <pc:docMk/>
            <pc:sldMk cId="0" sldId="313"/>
            <ac:spMk id="5108" creationId="{EC2AED84-281A-3305-F912-931E45C89E1C}"/>
          </ac:spMkLst>
        </pc:spChg>
        <pc:spChg chg="add mod">
          <ac:chgData name="Longkoi H [Probationer]" userId="d4e83e2c-c7d3-4fe6-ab74-6155d2bb8c63" providerId="ADAL" clId="{85C4EBEC-404E-46BC-B68B-D507855FBC7A}" dt="2024-06-12T14:42:21.887" v="4531"/>
          <ac:spMkLst>
            <pc:docMk/>
            <pc:sldMk cId="0" sldId="313"/>
            <ac:spMk id="5109" creationId="{F6239304-3850-725C-DA51-11005557207F}"/>
          </ac:spMkLst>
        </pc:spChg>
        <pc:spChg chg="add mod">
          <ac:chgData name="Longkoi H [Probationer]" userId="d4e83e2c-c7d3-4fe6-ab74-6155d2bb8c63" providerId="ADAL" clId="{85C4EBEC-404E-46BC-B68B-D507855FBC7A}" dt="2024-06-12T14:42:21.886" v="4529"/>
          <ac:spMkLst>
            <pc:docMk/>
            <pc:sldMk cId="0" sldId="313"/>
            <ac:spMk id="5110" creationId="{4BB393BE-5A89-36AB-CC28-F2C77F7C204D}"/>
          </ac:spMkLst>
        </pc:spChg>
        <pc:spChg chg="add del mod">
          <ac:chgData name="Longkoi H [Probationer]" userId="d4e83e2c-c7d3-4fe6-ab74-6155d2bb8c63" providerId="ADAL" clId="{85C4EBEC-404E-46BC-B68B-D507855FBC7A}" dt="2024-06-12T14:41:42.221" v="4356"/>
          <ac:spMkLst>
            <pc:docMk/>
            <pc:sldMk cId="0" sldId="313"/>
            <ac:spMk id="5111" creationId="{DCE474A3-77AF-E2AF-E3D8-890DE431DC0E}"/>
          </ac:spMkLst>
        </pc:spChg>
        <pc:spChg chg="add del mod">
          <ac:chgData name="Longkoi H [Probationer]" userId="d4e83e2c-c7d3-4fe6-ab74-6155d2bb8c63" providerId="ADAL" clId="{85C4EBEC-404E-46BC-B68B-D507855FBC7A}" dt="2024-06-12T14:41:45.747" v="4367" actId="478"/>
          <ac:spMkLst>
            <pc:docMk/>
            <pc:sldMk cId="0" sldId="313"/>
            <ac:spMk id="5112" creationId="{61CB8255-68E2-3950-1FD7-FD18742F650D}"/>
          </ac:spMkLst>
        </pc:spChg>
        <pc:spChg chg="add del">
          <ac:chgData name="Longkoi H [Probationer]" userId="d4e83e2c-c7d3-4fe6-ab74-6155d2bb8c63" providerId="ADAL" clId="{85C4EBEC-404E-46BC-B68B-D507855FBC7A}" dt="2024-06-12T14:41:46.993" v="4368" actId="478"/>
          <ac:spMkLst>
            <pc:docMk/>
            <pc:sldMk cId="0" sldId="313"/>
            <ac:spMk id="5113" creationId="{D7157CF5-CFD6-1455-F1D9-2434AAFA236D}"/>
          </ac:spMkLst>
        </pc:spChg>
        <pc:spChg chg="add del mod">
          <ac:chgData name="Longkoi H [Probationer]" userId="d4e83e2c-c7d3-4fe6-ab74-6155d2bb8c63" providerId="ADAL" clId="{85C4EBEC-404E-46BC-B68B-D507855FBC7A}" dt="2024-06-12T14:42:02.345" v="4387"/>
          <ac:spMkLst>
            <pc:docMk/>
            <pc:sldMk cId="0" sldId="313"/>
            <ac:spMk id="5114" creationId="{8C1998C1-585F-AFCB-6954-15B39D79B0CC}"/>
          </ac:spMkLst>
        </pc:spChg>
        <pc:spChg chg="add del mod">
          <ac:chgData name="Longkoi H [Probationer]" userId="d4e83e2c-c7d3-4fe6-ab74-6155d2bb8c63" providerId="ADAL" clId="{85C4EBEC-404E-46BC-B68B-D507855FBC7A}" dt="2024-06-12T14:42:02.366" v="4398"/>
          <ac:spMkLst>
            <pc:docMk/>
            <pc:sldMk cId="0" sldId="313"/>
            <ac:spMk id="5115" creationId="{861804D0-190B-60AC-4525-45003F2A597D}"/>
          </ac:spMkLst>
        </pc:spChg>
        <pc:spChg chg="add del">
          <ac:chgData name="Longkoi H [Probationer]" userId="d4e83e2c-c7d3-4fe6-ab74-6155d2bb8c63" providerId="ADAL" clId="{85C4EBEC-404E-46BC-B68B-D507855FBC7A}" dt="2024-06-12T14:42:02.366" v="4398"/>
          <ac:spMkLst>
            <pc:docMk/>
            <pc:sldMk cId="0" sldId="313"/>
            <ac:spMk id="5116" creationId="{55350CA7-361F-EEBF-1497-85BCD5708B8C}"/>
          </ac:spMkLst>
        </pc:spChg>
        <pc:spChg chg="del mod">
          <ac:chgData name="Longkoi H [Probationer]" userId="d4e83e2c-c7d3-4fe6-ab74-6155d2bb8c63" providerId="ADAL" clId="{85C4EBEC-404E-46BC-B68B-D507855FBC7A}" dt="2024-06-12T14:42:38.825" v="4539" actId="478"/>
          <ac:spMkLst>
            <pc:docMk/>
            <pc:sldMk cId="0" sldId="313"/>
            <ac:spMk id="5117" creationId="{EA3E5D5E-6F33-F77E-F1D1-40DD9FAC3AE6}"/>
          </ac:spMkLst>
        </pc:spChg>
        <pc:spChg chg="add del mod">
          <ac:chgData name="Longkoi H [Probationer]" userId="d4e83e2c-c7d3-4fe6-ab74-6155d2bb8c63" providerId="ADAL" clId="{85C4EBEC-404E-46BC-B68B-D507855FBC7A}" dt="2024-06-12T14:42:02.400" v="4409"/>
          <ac:spMkLst>
            <pc:docMk/>
            <pc:sldMk cId="0" sldId="313"/>
            <ac:spMk id="5118" creationId="{0029494E-EB97-18C4-FDBA-8372EC366051}"/>
          </ac:spMkLst>
        </pc:spChg>
        <pc:spChg chg="add del">
          <ac:chgData name="Longkoi H [Probationer]" userId="d4e83e2c-c7d3-4fe6-ab74-6155d2bb8c63" providerId="ADAL" clId="{85C4EBEC-404E-46BC-B68B-D507855FBC7A}" dt="2024-06-12T14:42:02.400" v="4409"/>
          <ac:spMkLst>
            <pc:docMk/>
            <pc:sldMk cId="0" sldId="313"/>
            <ac:spMk id="5119" creationId="{D8567A42-F562-27B4-9DE7-4AAFE2824E36}"/>
          </ac:spMkLst>
        </pc:spChg>
        <pc:spChg chg="del mod">
          <ac:chgData name="Longkoi H [Probationer]" userId="d4e83e2c-c7d3-4fe6-ab74-6155d2bb8c63" providerId="ADAL" clId="{85C4EBEC-404E-46BC-B68B-D507855FBC7A}" dt="2024-06-12T14:42:38.825" v="4539" actId="478"/>
          <ac:spMkLst>
            <pc:docMk/>
            <pc:sldMk cId="0" sldId="313"/>
            <ac:spMk id="5120" creationId="{263CA61E-5077-EBC8-BD89-99030D8943DC}"/>
          </ac:spMkLst>
        </pc:spChg>
        <pc:spChg chg="add del mod">
          <ac:chgData name="Longkoi H [Probationer]" userId="d4e83e2c-c7d3-4fe6-ab74-6155d2bb8c63" providerId="ADAL" clId="{85C4EBEC-404E-46BC-B68B-D507855FBC7A}" dt="2024-06-12T14:42:02.420" v="4420"/>
          <ac:spMkLst>
            <pc:docMk/>
            <pc:sldMk cId="0" sldId="313"/>
            <ac:spMk id="5121" creationId="{10319A52-EAE3-4214-3050-9A9B27273250}"/>
          </ac:spMkLst>
        </pc:spChg>
        <pc:spChg chg="add del">
          <ac:chgData name="Longkoi H [Probationer]" userId="d4e83e2c-c7d3-4fe6-ab74-6155d2bb8c63" providerId="ADAL" clId="{85C4EBEC-404E-46BC-B68B-D507855FBC7A}" dt="2024-06-12T14:42:02.420" v="4420"/>
          <ac:spMkLst>
            <pc:docMk/>
            <pc:sldMk cId="0" sldId="313"/>
            <ac:spMk id="5122" creationId="{607BA45E-F62B-7FF7-AF47-41FC98041422}"/>
          </ac:spMkLst>
        </pc:spChg>
        <pc:spChg chg="del mod">
          <ac:chgData name="Longkoi H [Probationer]" userId="d4e83e2c-c7d3-4fe6-ab74-6155d2bb8c63" providerId="ADAL" clId="{85C4EBEC-404E-46BC-B68B-D507855FBC7A}" dt="2024-06-12T14:42:38.825" v="4539" actId="478"/>
          <ac:spMkLst>
            <pc:docMk/>
            <pc:sldMk cId="0" sldId="313"/>
            <ac:spMk id="5123" creationId="{3365CE90-0D1B-31F8-0AC0-63777DB998A1}"/>
          </ac:spMkLst>
        </pc:spChg>
        <pc:spChg chg="add del mod">
          <ac:chgData name="Longkoi H [Probationer]" userId="d4e83e2c-c7d3-4fe6-ab74-6155d2bb8c63" providerId="ADAL" clId="{85C4EBEC-404E-46BC-B68B-D507855FBC7A}" dt="2024-06-12T14:42:02.437" v="4431"/>
          <ac:spMkLst>
            <pc:docMk/>
            <pc:sldMk cId="0" sldId="313"/>
            <ac:spMk id="5124" creationId="{219A90BB-900A-62CF-3F8C-9939E94223D7}"/>
          </ac:spMkLst>
        </pc:spChg>
        <pc:spChg chg="add del">
          <ac:chgData name="Longkoi H [Probationer]" userId="d4e83e2c-c7d3-4fe6-ab74-6155d2bb8c63" providerId="ADAL" clId="{85C4EBEC-404E-46BC-B68B-D507855FBC7A}" dt="2024-06-12T14:42:02.437" v="4431"/>
          <ac:spMkLst>
            <pc:docMk/>
            <pc:sldMk cId="0" sldId="313"/>
            <ac:spMk id="5125" creationId="{52864B89-55C9-CCF7-9BFB-164CC144B944}"/>
          </ac:spMkLst>
        </pc:spChg>
        <pc:spChg chg="del mod">
          <ac:chgData name="Longkoi H [Probationer]" userId="d4e83e2c-c7d3-4fe6-ab74-6155d2bb8c63" providerId="ADAL" clId="{85C4EBEC-404E-46BC-B68B-D507855FBC7A}" dt="2024-06-12T14:42:38.825" v="4539" actId="478"/>
          <ac:spMkLst>
            <pc:docMk/>
            <pc:sldMk cId="0" sldId="313"/>
            <ac:spMk id="5126" creationId="{CD6ECF86-F946-A592-B0B7-3202265F0911}"/>
          </ac:spMkLst>
        </pc:spChg>
        <pc:grpChg chg="add del mod">
          <ac:chgData name="Longkoi H [Probationer]" userId="d4e83e2c-c7d3-4fe6-ab74-6155d2bb8c63" providerId="ADAL" clId="{85C4EBEC-404E-46BC-B68B-D507855FBC7A}" dt="2024-06-12T11:35:42.681" v="107" actId="165"/>
          <ac:grpSpMkLst>
            <pc:docMk/>
            <pc:sldMk cId="0" sldId="313"/>
            <ac:grpSpMk id="17" creationId="{F43F5B96-9C15-FC63-C4C4-40A20C5E630B}"/>
          </ac:grpSpMkLst>
        </pc:grpChg>
        <pc:grpChg chg="del mod topLvl">
          <ac:chgData name="Longkoi H [Probationer]" userId="d4e83e2c-c7d3-4fe6-ab74-6155d2bb8c63" providerId="ADAL" clId="{85C4EBEC-404E-46BC-B68B-D507855FBC7A}" dt="2024-06-12T14:17:48.209" v="3156" actId="165"/>
          <ac:grpSpMkLst>
            <pc:docMk/>
            <pc:sldMk cId="0" sldId="313"/>
            <ac:grpSpMk id="22" creationId="{1193D548-C022-1EB4-BBA6-AEFA86C09EE6}"/>
          </ac:grpSpMkLst>
        </pc:grpChg>
        <pc:grpChg chg="del mod topLvl">
          <ac:chgData name="Longkoi H [Probationer]" userId="d4e83e2c-c7d3-4fe6-ab74-6155d2bb8c63" providerId="ADAL" clId="{85C4EBEC-404E-46BC-B68B-D507855FBC7A}" dt="2024-06-12T14:17:48.209" v="3156" actId="165"/>
          <ac:grpSpMkLst>
            <pc:docMk/>
            <pc:sldMk cId="0" sldId="313"/>
            <ac:grpSpMk id="23" creationId="{BB1A5DA3-7DD3-1880-61D7-7F923E337E4F}"/>
          </ac:grpSpMkLst>
        </pc:grpChg>
        <pc:grpChg chg="del mod topLvl">
          <ac:chgData name="Longkoi H [Probationer]" userId="d4e83e2c-c7d3-4fe6-ab74-6155d2bb8c63" providerId="ADAL" clId="{85C4EBEC-404E-46BC-B68B-D507855FBC7A}" dt="2024-06-12T14:17:48.209" v="3156" actId="165"/>
          <ac:grpSpMkLst>
            <pc:docMk/>
            <pc:sldMk cId="0" sldId="313"/>
            <ac:grpSpMk id="24" creationId="{C889DE7B-1832-4930-C0C3-2D8449A8361D}"/>
          </ac:grpSpMkLst>
        </pc:grpChg>
        <pc:grpChg chg="del mod topLvl">
          <ac:chgData name="Longkoi H [Probationer]" userId="d4e83e2c-c7d3-4fe6-ab74-6155d2bb8c63" providerId="ADAL" clId="{85C4EBEC-404E-46BC-B68B-D507855FBC7A}" dt="2024-06-12T14:17:48.209" v="3156" actId="165"/>
          <ac:grpSpMkLst>
            <pc:docMk/>
            <pc:sldMk cId="0" sldId="313"/>
            <ac:grpSpMk id="25" creationId="{63DDD81B-634A-9147-A98C-1CAB16044123}"/>
          </ac:grpSpMkLst>
        </pc:grpChg>
        <pc:grpChg chg="add del mod ord">
          <ac:chgData name="Longkoi H [Probationer]" userId="d4e83e2c-c7d3-4fe6-ab74-6155d2bb8c63" providerId="ADAL" clId="{85C4EBEC-404E-46BC-B68B-D507855FBC7A}" dt="2024-06-12T14:33:34.325" v="4000" actId="478"/>
          <ac:grpSpMkLst>
            <pc:docMk/>
            <pc:sldMk cId="0" sldId="313"/>
            <ac:grpSpMk id="61" creationId="{BE41273B-53A4-088D-B965-C86998B1315E}"/>
          </ac:grpSpMkLst>
        </pc:grpChg>
        <pc:grpChg chg="add del mod ord">
          <ac:chgData name="Longkoi H [Probationer]" userId="d4e83e2c-c7d3-4fe6-ab74-6155d2bb8c63" providerId="ADAL" clId="{85C4EBEC-404E-46BC-B68B-D507855FBC7A}" dt="2024-06-12T14:33:34.325" v="4000" actId="478"/>
          <ac:grpSpMkLst>
            <pc:docMk/>
            <pc:sldMk cId="0" sldId="313"/>
            <ac:grpSpMk id="4992" creationId="{922BADAB-9B7E-18CA-8A1F-90E4D987EB9D}"/>
          </ac:grpSpMkLst>
        </pc:grpChg>
        <pc:grpChg chg="add del mod ord">
          <ac:chgData name="Longkoi H [Probationer]" userId="d4e83e2c-c7d3-4fe6-ab74-6155d2bb8c63" providerId="ADAL" clId="{85C4EBEC-404E-46BC-B68B-D507855FBC7A}" dt="2024-06-12T14:33:34.325" v="4000" actId="478"/>
          <ac:grpSpMkLst>
            <pc:docMk/>
            <pc:sldMk cId="0" sldId="313"/>
            <ac:grpSpMk id="4995" creationId="{B58BB35E-7D42-9283-47C7-731EC37AA799}"/>
          </ac:grpSpMkLst>
        </pc:grpChg>
        <pc:grpChg chg="add del mod ord">
          <ac:chgData name="Longkoi H [Probationer]" userId="d4e83e2c-c7d3-4fe6-ab74-6155d2bb8c63" providerId="ADAL" clId="{85C4EBEC-404E-46BC-B68B-D507855FBC7A}" dt="2024-06-12T14:33:34.325" v="4000" actId="478"/>
          <ac:grpSpMkLst>
            <pc:docMk/>
            <pc:sldMk cId="0" sldId="313"/>
            <ac:grpSpMk id="4998" creationId="{586EBAAE-018B-BBAA-9D50-064795F38C91}"/>
          </ac:grpSpMkLst>
        </pc:grpChg>
        <pc:grpChg chg="add del mod">
          <ac:chgData name="Longkoi H [Probationer]" userId="d4e83e2c-c7d3-4fe6-ab74-6155d2bb8c63" providerId="ADAL" clId="{85C4EBEC-404E-46BC-B68B-D507855FBC7A}" dt="2024-06-12T14:33:15.378" v="3998" actId="478"/>
          <ac:grpSpMkLst>
            <pc:docMk/>
            <pc:sldMk cId="0" sldId="313"/>
            <ac:grpSpMk id="5001" creationId="{C1090F21-2F95-D2E2-AEF8-6FAA3161B708}"/>
          </ac:grpSpMkLst>
        </pc:grpChg>
        <pc:grpChg chg="add mod">
          <ac:chgData name="Longkoi H [Probationer]" userId="d4e83e2c-c7d3-4fe6-ab74-6155d2bb8c63" providerId="ADAL" clId="{85C4EBEC-404E-46BC-B68B-D507855FBC7A}" dt="2024-06-12T14:43:28.033" v="4546" actId="1036"/>
          <ac:grpSpMkLst>
            <pc:docMk/>
            <pc:sldMk cId="0" sldId="313"/>
            <ac:grpSpMk id="5006" creationId="{2AEFB7EF-C123-0E2F-3914-10BB720485BD}"/>
          </ac:grpSpMkLst>
        </pc:grpChg>
        <pc:grpChg chg="add del mod">
          <ac:chgData name="Longkoi H [Probationer]" userId="d4e83e2c-c7d3-4fe6-ab74-6155d2bb8c63" providerId="ADAL" clId="{85C4EBEC-404E-46BC-B68B-D507855FBC7A}" dt="2024-06-12T14:33:56.935" v="4006" actId="478"/>
          <ac:grpSpMkLst>
            <pc:docMk/>
            <pc:sldMk cId="0" sldId="313"/>
            <ac:grpSpMk id="5009" creationId="{201C878F-A0BD-1019-29CB-17EEB8E0EEFB}"/>
          </ac:grpSpMkLst>
        </pc:grpChg>
        <pc:grpChg chg="add mod">
          <ac:chgData name="Longkoi H [Probationer]" userId="d4e83e2c-c7d3-4fe6-ab74-6155d2bb8c63" providerId="ADAL" clId="{85C4EBEC-404E-46BC-B68B-D507855FBC7A}" dt="2024-06-12T14:43:28.033" v="4546" actId="1036"/>
          <ac:grpSpMkLst>
            <pc:docMk/>
            <pc:sldMk cId="0" sldId="313"/>
            <ac:grpSpMk id="5013" creationId="{BFF1EC3E-BF84-A8E0-A3E7-18DBACFA4AC6}"/>
          </ac:grpSpMkLst>
        </pc:grpChg>
        <pc:grpChg chg="add mod">
          <ac:chgData name="Longkoi H [Probationer]" userId="d4e83e2c-c7d3-4fe6-ab74-6155d2bb8c63" providerId="ADAL" clId="{85C4EBEC-404E-46BC-B68B-D507855FBC7A}" dt="2024-06-12T14:43:28.033" v="4546" actId="1036"/>
          <ac:grpSpMkLst>
            <pc:docMk/>
            <pc:sldMk cId="0" sldId="313"/>
            <ac:grpSpMk id="5018" creationId="{AF7A0C62-7654-86EC-3363-F07A7F621F66}"/>
          </ac:grpSpMkLst>
        </pc:grpChg>
        <pc:grpChg chg="add del mod">
          <ac:chgData name="Longkoi H [Probationer]" userId="d4e83e2c-c7d3-4fe6-ab74-6155d2bb8c63" providerId="ADAL" clId="{85C4EBEC-404E-46BC-B68B-D507855FBC7A}" dt="2024-06-12T14:42:26.094" v="4534" actId="165"/>
          <ac:grpSpMkLst>
            <pc:docMk/>
            <pc:sldMk cId="0" sldId="313"/>
            <ac:grpSpMk id="5034" creationId="{75ED7969-1EA1-C199-A90F-7BE21197AD4C}"/>
          </ac:grpSpMkLst>
        </pc:grpChg>
        <pc:grpChg chg="del mod">
          <ac:chgData name="Longkoi H [Probationer]" userId="d4e83e2c-c7d3-4fe6-ab74-6155d2bb8c63" providerId="ADAL" clId="{85C4EBEC-404E-46BC-B68B-D507855FBC7A}" dt="2024-06-12T11:36:15.795" v="114" actId="478"/>
          <ac:grpSpMkLst>
            <pc:docMk/>
            <pc:sldMk cId="0" sldId="313"/>
            <ac:grpSpMk id="5041" creationId="{00000000-0000-0000-0000-000000000000}"/>
          </ac:grpSpMkLst>
        </pc:grpChg>
        <pc:grpChg chg="del mod">
          <ac:chgData name="Longkoi H [Probationer]" userId="d4e83e2c-c7d3-4fe6-ab74-6155d2bb8c63" providerId="ADAL" clId="{85C4EBEC-404E-46BC-B68B-D507855FBC7A}" dt="2024-06-12T11:36:15.795" v="114" actId="478"/>
          <ac:grpSpMkLst>
            <pc:docMk/>
            <pc:sldMk cId="0" sldId="313"/>
            <ac:grpSpMk id="5045" creationId="{00000000-0000-0000-0000-000000000000}"/>
          </ac:grpSpMkLst>
        </pc:grpChg>
        <pc:grpChg chg="del mod">
          <ac:chgData name="Longkoi H [Probationer]" userId="d4e83e2c-c7d3-4fe6-ab74-6155d2bb8c63" providerId="ADAL" clId="{85C4EBEC-404E-46BC-B68B-D507855FBC7A}" dt="2024-06-12T11:36:15.795" v="114" actId="478"/>
          <ac:grpSpMkLst>
            <pc:docMk/>
            <pc:sldMk cId="0" sldId="313"/>
            <ac:grpSpMk id="5048" creationId="{00000000-0000-0000-0000-000000000000}"/>
          </ac:grpSpMkLst>
        </pc:grpChg>
        <pc:grpChg chg="del mod">
          <ac:chgData name="Longkoi H [Probationer]" userId="d4e83e2c-c7d3-4fe6-ab74-6155d2bb8c63" providerId="ADAL" clId="{85C4EBEC-404E-46BC-B68B-D507855FBC7A}" dt="2024-06-12T11:36:15.795" v="114" actId="478"/>
          <ac:grpSpMkLst>
            <pc:docMk/>
            <pc:sldMk cId="0" sldId="313"/>
            <ac:grpSpMk id="5051" creationId="{00000000-0000-0000-0000-000000000000}"/>
          </ac:grpSpMkLst>
        </pc:grpChg>
        <pc:grpChg chg="del mod">
          <ac:chgData name="Longkoi H [Probationer]" userId="d4e83e2c-c7d3-4fe6-ab74-6155d2bb8c63" providerId="ADAL" clId="{85C4EBEC-404E-46BC-B68B-D507855FBC7A}" dt="2024-06-12T11:36:15.795" v="114" actId="478"/>
          <ac:grpSpMkLst>
            <pc:docMk/>
            <pc:sldMk cId="0" sldId="313"/>
            <ac:grpSpMk id="5066" creationId="{00000000-0000-0000-0000-000000000000}"/>
          </ac:grpSpMkLst>
        </pc:grpChg>
        <pc:grpChg chg="del mod">
          <ac:chgData name="Longkoi H [Probationer]" userId="d4e83e2c-c7d3-4fe6-ab74-6155d2bb8c63" providerId="ADAL" clId="{85C4EBEC-404E-46BC-B68B-D507855FBC7A}" dt="2024-06-12T11:36:15.795" v="114" actId="478"/>
          <ac:grpSpMkLst>
            <pc:docMk/>
            <pc:sldMk cId="0" sldId="313"/>
            <ac:grpSpMk id="5071" creationId="{00000000-0000-0000-0000-000000000000}"/>
          </ac:grpSpMkLst>
        </pc:grpChg>
        <pc:grpChg chg="del mod">
          <ac:chgData name="Longkoi H [Probationer]" userId="d4e83e2c-c7d3-4fe6-ab74-6155d2bb8c63" providerId="ADAL" clId="{85C4EBEC-404E-46BC-B68B-D507855FBC7A}" dt="2024-06-12T11:36:15.795" v="114" actId="478"/>
          <ac:grpSpMkLst>
            <pc:docMk/>
            <pc:sldMk cId="0" sldId="313"/>
            <ac:grpSpMk id="5074" creationId="{00000000-0000-0000-0000-000000000000}"/>
          </ac:grpSpMkLst>
        </pc:grpChg>
        <pc:grpChg chg="del mod">
          <ac:chgData name="Longkoi H [Probationer]" userId="d4e83e2c-c7d3-4fe6-ab74-6155d2bb8c63" providerId="ADAL" clId="{85C4EBEC-404E-46BC-B68B-D507855FBC7A}" dt="2024-06-12T11:36:15.795" v="114" actId="478"/>
          <ac:grpSpMkLst>
            <pc:docMk/>
            <pc:sldMk cId="0" sldId="313"/>
            <ac:grpSpMk id="5080" creationId="{00000000-0000-0000-0000-000000000000}"/>
          </ac:grpSpMkLst>
        </pc:grpChg>
        <pc:grpChg chg="del mod">
          <ac:chgData name="Longkoi H [Probationer]" userId="d4e83e2c-c7d3-4fe6-ab74-6155d2bb8c63" providerId="ADAL" clId="{85C4EBEC-404E-46BC-B68B-D507855FBC7A}" dt="2024-06-12T11:36:15.795" v="114" actId="478"/>
          <ac:grpSpMkLst>
            <pc:docMk/>
            <pc:sldMk cId="0" sldId="313"/>
            <ac:grpSpMk id="5084" creationId="{00000000-0000-0000-0000-000000000000}"/>
          </ac:grpSpMkLst>
        </pc:grpChg>
        <pc:grpChg chg="del mod">
          <ac:chgData name="Longkoi H [Probationer]" userId="d4e83e2c-c7d3-4fe6-ab74-6155d2bb8c63" providerId="ADAL" clId="{85C4EBEC-404E-46BC-B68B-D507855FBC7A}" dt="2024-06-12T11:36:15.795" v="114" actId="478"/>
          <ac:grpSpMkLst>
            <pc:docMk/>
            <pc:sldMk cId="0" sldId="313"/>
            <ac:grpSpMk id="5089" creationId="{00000000-0000-0000-0000-000000000000}"/>
          </ac:grpSpMkLst>
        </pc:grpChg>
        <pc:picChg chg="add del mod">
          <ac:chgData name="Longkoi H [Probationer]" userId="d4e83e2c-c7d3-4fe6-ab74-6155d2bb8c63" providerId="ADAL" clId="{85C4EBEC-404E-46BC-B68B-D507855FBC7A}" dt="2024-06-12T14:33:34.325" v="4000" actId="478"/>
          <ac:picMkLst>
            <pc:docMk/>
            <pc:sldMk cId="0" sldId="313"/>
            <ac:picMk id="52" creationId="{7C3996D8-B478-A27B-5876-7DC96F8F59E9}"/>
          </ac:picMkLst>
        </pc:picChg>
        <pc:picChg chg="add del mod">
          <ac:chgData name="Longkoi H [Probationer]" userId="d4e83e2c-c7d3-4fe6-ab74-6155d2bb8c63" providerId="ADAL" clId="{85C4EBEC-404E-46BC-B68B-D507855FBC7A}" dt="2024-06-12T14:33:34.325" v="4000" actId="478"/>
          <ac:picMkLst>
            <pc:docMk/>
            <pc:sldMk cId="0" sldId="313"/>
            <ac:picMk id="54" creationId="{40B1A379-5B8C-4EBF-7951-16E891419943}"/>
          </ac:picMkLst>
        </pc:picChg>
        <pc:picChg chg="add del mod">
          <ac:chgData name="Longkoi H [Probationer]" userId="d4e83e2c-c7d3-4fe6-ab74-6155d2bb8c63" providerId="ADAL" clId="{85C4EBEC-404E-46BC-B68B-D507855FBC7A}" dt="2024-06-12T14:33:34.325" v="4000" actId="478"/>
          <ac:picMkLst>
            <pc:docMk/>
            <pc:sldMk cId="0" sldId="313"/>
            <ac:picMk id="56" creationId="{BDED9DB0-995C-5FFE-5592-C7697D944FF7}"/>
          </ac:picMkLst>
        </pc:picChg>
        <pc:picChg chg="add del mod">
          <ac:chgData name="Longkoi H [Probationer]" userId="d4e83e2c-c7d3-4fe6-ab74-6155d2bb8c63" providerId="ADAL" clId="{85C4EBEC-404E-46BC-B68B-D507855FBC7A}" dt="2024-06-12T13:28:37.375" v="2134" actId="478"/>
          <ac:picMkLst>
            <pc:docMk/>
            <pc:sldMk cId="0" sldId="313"/>
            <ac:picMk id="58" creationId="{3FFED3DB-DD4A-E79E-6C2C-19C03C752B21}"/>
          </ac:picMkLst>
        </pc:picChg>
        <pc:picChg chg="mod">
          <ac:chgData name="Longkoi H [Probationer]" userId="d4e83e2c-c7d3-4fe6-ab74-6155d2bb8c63" providerId="ADAL" clId="{85C4EBEC-404E-46BC-B68B-D507855FBC7A}" dt="2024-06-12T14:33:53.119" v="4005" actId="1076"/>
          <ac:picMkLst>
            <pc:docMk/>
            <pc:sldMk cId="0" sldId="313"/>
            <ac:picMk id="5010" creationId="{2F6825AC-EEB0-607D-2AA9-EA7DA1519083}"/>
          </ac:picMkLst>
        </pc:picChg>
        <pc:picChg chg="add del mod">
          <ac:chgData name="Longkoi H [Probationer]" userId="d4e83e2c-c7d3-4fe6-ab74-6155d2bb8c63" providerId="ADAL" clId="{85C4EBEC-404E-46BC-B68B-D507855FBC7A}" dt="2024-06-12T14:34:01.036" v="4007" actId="478"/>
          <ac:picMkLst>
            <pc:docMk/>
            <pc:sldMk cId="0" sldId="313"/>
            <ac:picMk id="5016" creationId="{844567AB-C6A0-F514-070A-8AD8CFEB8259}"/>
          </ac:picMkLst>
        </pc:picChg>
        <pc:picChg chg="add del mod">
          <ac:chgData name="Longkoi H [Probationer]" userId="d4e83e2c-c7d3-4fe6-ab74-6155d2bb8c63" providerId="ADAL" clId="{85C4EBEC-404E-46BC-B68B-D507855FBC7A}" dt="2024-06-12T14:33:56.935" v="4006" actId="478"/>
          <ac:picMkLst>
            <pc:docMk/>
            <pc:sldMk cId="0" sldId="313"/>
            <ac:picMk id="5021" creationId="{C6817DDE-C364-2A34-2A71-725608F6E341}"/>
          </ac:picMkLst>
        </pc:picChg>
        <pc:picChg chg="del mod">
          <ac:chgData name="Longkoi H [Probationer]" userId="d4e83e2c-c7d3-4fe6-ab74-6155d2bb8c63" providerId="ADAL" clId="{85C4EBEC-404E-46BC-B68B-D507855FBC7A}" dt="2024-06-12T11:36:15.795" v="114" actId="478"/>
          <ac:picMkLst>
            <pc:docMk/>
            <pc:sldMk cId="0" sldId="313"/>
            <ac:picMk id="5040" creationId="{00000000-0000-0000-0000-000000000000}"/>
          </ac:picMkLst>
        </pc:picChg>
        <pc:picChg chg="del mod">
          <ac:chgData name="Longkoi H [Probationer]" userId="d4e83e2c-c7d3-4fe6-ab74-6155d2bb8c63" providerId="ADAL" clId="{85C4EBEC-404E-46BC-B68B-D507855FBC7A}" dt="2024-06-12T11:36:15.795" v="114" actId="478"/>
          <ac:picMkLst>
            <pc:docMk/>
            <pc:sldMk cId="0" sldId="313"/>
            <ac:picMk id="5044" creationId="{00000000-0000-0000-0000-000000000000}"/>
          </ac:picMkLst>
        </pc:picChg>
        <pc:picChg chg="mod">
          <ac:chgData name="Longkoi H [Probationer]" userId="d4e83e2c-c7d3-4fe6-ab74-6155d2bb8c63" providerId="ADAL" clId="{85C4EBEC-404E-46BC-B68B-D507855FBC7A}" dt="2024-06-12T13:31:14.976" v="2221" actId="1035"/>
          <ac:picMkLst>
            <pc:docMk/>
            <pc:sldMk cId="0" sldId="313"/>
            <ac:picMk id="5062" creationId="{00000000-0000-0000-0000-000000000000}"/>
          </ac:picMkLst>
        </pc:picChg>
        <pc:picChg chg="del mod">
          <ac:chgData name="Longkoi H [Probationer]" userId="d4e83e2c-c7d3-4fe6-ab74-6155d2bb8c63" providerId="ADAL" clId="{85C4EBEC-404E-46BC-B68B-D507855FBC7A}" dt="2024-06-12T11:36:15.795" v="114" actId="478"/>
          <ac:picMkLst>
            <pc:docMk/>
            <pc:sldMk cId="0" sldId="313"/>
            <ac:picMk id="5064" creationId="{00000000-0000-0000-0000-000000000000}"/>
          </ac:picMkLst>
        </pc:picChg>
        <pc:picChg chg="del mod">
          <ac:chgData name="Longkoi H [Probationer]" userId="d4e83e2c-c7d3-4fe6-ab74-6155d2bb8c63" providerId="ADAL" clId="{85C4EBEC-404E-46BC-B68B-D507855FBC7A}" dt="2024-06-12T11:36:15.795" v="114" actId="478"/>
          <ac:picMkLst>
            <pc:docMk/>
            <pc:sldMk cId="0" sldId="313"/>
            <ac:picMk id="5065" creationId="{00000000-0000-0000-0000-000000000000}"/>
          </ac:picMkLst>
        </pc:picChg>
        <pc:picChg chg="del mod">
          <ac:chgData name="Longkoi H [Probationer]" userId="d4e83e2c-c7d3-4fe6-ab74-6155d2bb8c63" providerId="ADAL" clId="{85C4EBEC-404E-46BC-B68B-D507855FBC7A}" dt="2024-06-12T11:36:15.795" v="114" actId="478"/>
          <ac:picMkLst>
            <pc:docMk/>
            <pc:sldMk cId="0" sldId="313"/>
            <ac:picMk id="5077" creationId="{00000000-0000-0000-0000-000000000000}"/>
          </ac:picMkLst>
        </pc:picChg>
        <pc:picChg chg="del mod">
          <ac:chgData name="Longkoi H [Probationer]" userId="d4e83e2c-c7d3-4fe6-ab74-6155d2bb8c63" providerId="ADAL" clId="{85C4EBEC-404E-46BC-B68B-D507855FBC7A}" dt="2024-06-12T11:36:15.795" v="114" actId="478"/>
          <ac:picMkLst>
            <pc:docMk/>
            <pc:sldMk cId="0" sldId="313"/>
            <ac:picMk id="5078" creationId="{00000000-0000-0000-0000-000000000000}"/>
          </ac:picMkLst>
        </pc:picChg>
        <pc:picChg chg="del mod">
          <ac:chgData name="Longkoi H [Probationer]" userId="d4e83e2c-c7d3-4fe6-ab74-6155d2bb8c63" providerId="ADAL" clId="{85C4EBEC-404E-46BC-B68B-D507855FBC7A}" dt="2024-06-12T11:36:15.795" v="114" actId="478"/>
          <ac:picMkLst>
            <pc:docMk/>
            <pc:sldMk cId="0" sldId="313"/>
            <ac:picMk id="5079" creationId="{00000000-0000-0000-0000-000000000000}"/>
          </ac:picMkLst>
        </pc:picChg>
        <pc:picChg chg="add mod">
          <ac:chgData name="Longkoi H [Probationer]" userId="d4e83e2c-c7d3-4fe6-ab74-6155d2bb8c63" providerId="ADAL" clId="{85C4EBEC-404E-46BC-B68B-D507855FBC7A}" dt="2024-06-12T14:39:23.669" v="4140" actId="14100"/>
          <ac:picMkLst>
            <pc:docMk/>
            <pc:sldMk cId="0" sldId="313"/>
            <ac:picMk id="5097" creationId="{C40027DF-97A5-3D50-A5A2-9A5EF9AA7270}"/>
          </ac:picMkLst>
        </pc:picChg>
        <pc:picChg chg="add mod">
          <ac:chgData name="Longkoi H [Probationer]" userId="d4e83e2c-c7d3-4fe6-ab74-6155d2bb8c63" providerId="ADAL" clId="{85C4EBEC-404E-46BC-B68B-D507855FBC7A}" dt="2024-06-12T14:39:23.669" v="4140" actId="14100"/>
          <ac:picMkLst>
            <pc:docMk/>
            <pc:sldMk cId="0" sldId="313"/>
            <ac:picMk id="5099" creationId="{7E68E62E-E702-1C74-4586-86A97EF93716}"/>
          </ac:picMkLst>
        </pc:picChg>
        <pc:picChg chg="add mod">
          <ac:chgData name="Longkoi H [Probationer]" userId="d4e83e2c-c7d3-4fe6-ab74-6155d2bb8c63" providerId="ADAL" clId="{85C4EBEC-404E-46BC-B68B-D507855FBC7A}" dt="2024-06-12T14:39:09.266" v="4121"/>
          <ac:picMkLst>
            <pc:docMk/>
            <pc:sldMk cId="0" sldId="313"/>
            <ac:picMk id="5101" creationId="{867EDB9E-8720-3D28-2F75-8A8266DD177D}"/>
          </ac:picMkLst>
        </pc:picChg>
        <pc:cxnChg chg="del mod topLvl">
          <ac:chgData name="Longkoi H [Probationer]" userId="d4e83e2c-c7d3-4fe6-ab74-6155d2bb8c63" providerId="ADAL" clId="{85C4EBEC-404E-46BC-B68B-D507855FBC7A}" dt="2024-06-12T11:35:55.980" v="112" actId="478"/>
          <ac:cxnSpMkLst>
            <pc:docMk/>
            <pc:sldMk cId="0" sldId="313"/>
            <ac:cxnSpMk id="26" creationId="{4433E791-951C-8856-71E0-380E0AC6F6AF}"/>
          </ac:cxnSpMkLst>
        </pc:cxnChg>
        <pc:cxnChg chg="del mod topLvl">
          <ac:chgData name="Longkoi H [Probationer]" userId="d4e83e2c-c7d3-4fe6-ab74-6155d2bb8c63" providerId="ADAL" clId="{85C4EBEC-404E-46BC-B68B-D507855FBC7A}" dt="2024-06-12T11:35:55.453" v="111" actId="478"/>
          <ac:cxnSpMkLst>
            <pc:docMk/>
            <pc:sldMk cId="0" sldId="313"/>
            <ac:cxnSpMk id="27" creationId="{2F82F8E1-B634-5D49-7A89-0587656FBA15}"/>
          </ac:cxnSpMkLst>
        </pc:cxnChg>
        <pc:cxnChg chg="del mod topLvl">
          <ac:chgData name="Longkoi H [Probationer]" userId="d4e83e2c-c7d3-4fe6-ab74-6155d2bb8c63" providerId="ADAL" clId="{85C4EBEC-404E-46BC-B68B-D507855FBC7A}" dt="2024-06-12T11:35:54.826" v="110" actId="478"/>
          <ac:cxnSpMkLst>
            <pc:docMk/>
            <pc:sldMk cId="0" sldId="313"/>
            <ac:cxnSpMk id="28" creationId="{363213D7-13DC-9650-D807-B50A3059505F}"/>
          </ac:cxnSpMkLst>
        </pc:cxnChg>
        <pc:cxnChg chg="del mod topLvl">
          <ac:chgData name="Longkoi H [Probationer]" userId="d4e83e2c-c7d3-4fe6-ab74-6155d2bb8c63" providerId="ADAL" clId="{85C4EBEC-404E-46BC-B68B-D507855FBC7A}" dt="2024-06-12T11:35:53.399" v="109" actId="478"/>
          <ac:cxnSpMkLst>
            <pc:docMk/>
            <pc:sldMk cId="0" sldId="313"/>
            <ac:cxnSpMk id="29" creationId="{57A9DF58-6138-7F44-5E2C-5D7A8AB699DF}"/>
          </ac:cxnSpMkLst>
        </pc:cxnChg>
        <pc:cxnChg chg="add del mod">
          <ac:chgData name="Longkoi H [Probationer]" userId="d4e83e2c-c7d3-4fe6-ab74-6155d2bb8c63" providerId="ADAL" clId="{85C4EBEC-404E-46BC-B68B-D507855FBC7A}" dt="2024-06-12T14:33:47.157" v="4004" actId="478"/>
          <ac:cxnSpMkLst>
            <pc:docMk/>
            <pc:sldMk cId="0" sldId="313"/>
            <ac:cxnSpMk id="46" creationId="{00DD8DBB-A821-C757-BD7E-621B8C436364}"/>
          </ac:cxnSpMkLst>
        </pc:cxnChg>
        <pc:cxnChg chg="add del mod">
          <ac:chgData name="Longkoi H [Probationer]" userId="d4e83e2c-c7d3-4fe6-ab74-6155d2bb8c63" providerId="ADAL" clId="{85C4EBEC-404E-46BC-B68B-D507855FBC7A}" dt="2024-06-12T14:33:47.157" v="4004" actId="478"/>
          <ac:cxnSpMkLst>
            <pc:docMk/>
            <pc:sldMk cId="0" sldId="313"/>
            <ac:cxnSpMk id="47" creationId="{B9A6789D-E69D-9501-1332-D0238AE140A2}"/>
          </ac:cxnSpMkLst>
        </pc:cxnChg>
        <pc:cxnChg chg="add del mod">
          <ac:chgData name="Longkoi H [Probationer]" userId="d4e83e2c-c7d3-4fe6-ab74-6155d2bb8c63" providerId="ADAL" clId="{85C4EBEC-404E-46BC-B68B-D507855FBC7A}" dt="2024-06-12T14:33:47.157" v="4004" actId="478"/>
          <ac:cxnSpMkLst>
            <pc:docMk/>
            <pc:sldMk cId="0" sldId="313"/>
            <ac:cxnSpMk id="48" creationId="{FEA30D8B-4EEE-E781-8189-B7168EAD12A7}"/>
          </ac:cxnSpMkLst>
        </pc:cxnChg>
        <pc:cxnChg chg="add del mod">
          <ac:chgData name="Longkoi H [Probationer]" userId="d4e83e2c-c7d3-4fe6-ab74-6155d2bb8c63" providerId="ADAL" clId="{85C4EBEC-404E-46BC-B68B-D507855FBC7A}" dt="2024-06-12T14:33:47.157" v="4004" actId="478"/>
          <ac:cxnSpMkLst>
            <pc:docMk/>
            <pc:sldMk cId="0" sldId="313"/>
            <ac:cxnSpMk id="49" creationId="{3BC2FB93-97FE-D1E4-71B7-5DE3FF69C329}"/>
          </ac:cxnSpMkLst>
        </pc:cxnChg>
        <pc:cxnChg chg="mod topLvl">
          <ac:chgData name="Longkoi H [Probationer]" userId="d4e83e2c-c7d3-4fe6-ab74-6155d2bb8c63" providerId="ADAL" clId="{85C4EBEC-404E-46BC-B68B-D507855FBC7A}" dt="2024-06-12T14:42:32.018" v="4538" actId="408"/>
          <ac:cxnSpMkLst>
            <pc:docMk/>
            <pc:sldMk cId="0" sldId="313"/>
            <ac:cxnSpMk id="5035" creationId="{857DE0D9-767A-937F-7966-F5C3343D4F54}"/>
          </ac:cxnSpMkLst>
        </pc:cxnChg>
        <pc:cxnChg chg="mod topLvl">
          <ac:chgData name="Longkoi H [Probationer]" userId="d4e83e2c-c7d3-4fe6-ab74-6155d2bb8c63" providerId="ADAL" clId="{85C4EBEC-404E-46BC-B68B-D507855FBC7A}" dt="2024-06-12T14:42:32.018" v="4538" actId="408"/>
          <ac:cxnSpMkLst>
            <pc:docMk/>
            <pc:sldMk cId="0" sldId="313"/>
            <ac:cxnSpMk id="5036" creationId="{ACCBBB42-38E5-28BA-95BD-D6604F057209}"/>
          </ac:cxnSpMkLst>
        </pc:cxnChg>
        <pc:cxnChg chg="mod topLvl">
          <ac:chgData name="Longkoi H [Probationer]" userId="d4e83e2c-c7d3-4fe6-ab74-6155d2bb8c63" providerId="ADAL" clId="{85C4EBEC-404E-46BC-B68B-D507855FBC7A}" dt="2024-06-12T14:42:32.018" v="4538" actId="408"/>
          <ac:cxnSpMkLst>
            <pc:docMk/>
            <pc:sldMk cId="0" sldId="313"/>
            <ac:cxnSpMk id="5037" creationId="{0461DCAE-DB18-7599-F41B-5D158627FBB2}"/>
          </ac:cxnSpMkLst>
        </pc:cxnChg>
      </pc:sldChg>
      <pc:sldChg chg="addSp delSp modSp del mod modClrScheme chgLayout">
        <pc:chgData name="Longkoi H [Probationer]" userId="d4e83e2c-c7d3-4fe6-ab74-6155d2bb8c63" providerId="ADAL" clId="{85C4EBEC-404E-46BC-B68B-D507855FBC7A}" dt="2024-06-12T13:18:57.819" v="2020" actId="47"/>
        <pc:sldMkLst>
          <pc:docMk/>
          <pc:sldMk cId="0" sldId="314"/>
        </pc:sldMkLst>
        <pc:spChg chg="del">
          <ac:chgData name="Longkoi H [Probationer]" userId="d4e83e2c-c7d3-4fe6-ab74-6155d2bb8c63" providerId="ADAL" clId="{85C4EBEC-404E-46BC-B68B-D507855FBC7A}" dt="2024-06-12T12:33:30.680" v="1636" actId="6264"/>
          <ac:spMkLst>
            <pc:docMk/>
            <pc:sldMk cId="0" sldId="314"/>
            <ac:spMk id="2" creationId="{957F4A70-B8EC-23B1-B84D-181B00E782A1}"/>
          </ac:spMkLst>
        </pc:spChg>
        <pc:spChg chg="add del mod ord">
          <ac:chgData name="Longkoi H [Probationer]" userId="d4e83e2c-c7d3-4fe6-ab74-6155d2bb8c63" providerId="ADAL" clId="{85C4EBEC-404E-46BC-B68B-D507855FBC7A}" dt="2024-06-12T12:33:30.957" v="1637" actId="6264"/>
          <ac:spMkLst>
            <pc:docMk/>
            <pc:sldMk cId="0" sldId="314"/>
            <ac:spMk id="3" creationId="{3E2E7348-168B-7ABC-BD18-AFA20A19596F}"/>
          </ac:spMkLst>
        </pc:spChg>
        <pc:spChg chg="add del mod ord">
          <ac:chgData name="Longkoi H [Probationer]" userId="d4e83e2c-c7d3-4fe6-ab74-6155d2bb8c63" providerId="ADAL" clId="{85C4EBEC-404E-46BC-B68B-D507855FBC7A}" dt="2024-06-12T12:37:14.454" v="1648" actId="700"/>
          <ac:spMkLst>
            <pc:docMk/>
            <pc:sldMk cId="0" sldId="314"/>
            <ac:spMk id="4" creationId="{77BEBD2B-7FF4-7182-86E5-D580FC9F0811}"/>
          </ac:spMkLst>
        </pc:spChg>
        <pc:spChg chg="add del mod">
          <ac:chgData name="Longkoi H [Probationer]" userId="d4e83e2c-c7d3-4fe6-ab74-6155d2bb8c63" providerId="ADAL" clId="{85C4EBEC-404E-46BC-B68B-D507855FBC7A}" dt="2024-06-12T12:33:45.834" v="1642" actId="478"/>
          <ac:spMkLst>
            <pc:docMk/>
            <pc:sldMk cId="0" sldId="314"/>
            <ac:spMk id="5" creationId="{4A601856-0D88-981C-2ACC-2C73FEBCBFA3}"/>
          </ac:spMkLst>
        </pc:spChg>
        <pc:spChg chg="mod">
          <ac:chgData name="Longkoi H [Probationer]" userId="d4e83e2c-c7d3-4fe6-ab74-6155d2bb8c63" providerId="ADAL" clId="{85C4EBEC-404E-46BC-B68B-D507855FBC7A}" dt="2024-06-12T12:33:43.242" v="1640"/>
          <ac:spMkLst>
            <pc:docMk/>
            <pc:sldMk cId="0" sldId="314"/>
            <ac:spMk id="7" creationId="{D2D5C5F7-D5E8-8755-23D2-AA965B3C3662}"/>
          </ac:spMkLst>
        </pc:spChg>
        <pc:spChg chg="add mod">
          <ac:chgData name="Longkoi H [Probationer]" userId="d4e83e2c-c7d3-4fe6-ab74-6155d2bb8c63" providerId="ADAL" clId="{85C4EBEC-404E-46BC-B68B-D507855FBC7A}" dt="2024-06-12T12:45:48.642" v="1946" actId="555"/>
          <ac:spMkLst>
            <pc:docMk/>
            <pc:sldMk cId="0" sldId="314"/>
            <ac:spMk id="9" creationId="{1BFA0BE8-B1A3-E026-F520-B1BEDF128F65}"/>
          </ac:spMkLst>
        </pc:spChg>
        <pc:spChg chg="add mod">
          <ac:chgData name="Longkoi H [Probationer]" userId="d4e83e2c-c7d3-4fe6-ab74-6155d2bb8c63" providerId="ADAL" clId="{85C4EBEC-404E-46BC-B68B-D507855FBC7A}" dt="2024-06-12T12:43:26.250" v="1919" actId="1076"/>
          <ac:spMkLst>
            <pc:docMk/>
            <pc:sldMk cId="0" sldId="314"/>
            <ac:spMk id="10" creationId="{80A6810B-4A9D-AA1B-575B-65E7131BB93F}"/>
          </ac:spMkLst>
        </pc:spChg>
        <pc:spChg chg="add mod">
          <ac:chgData name="Longkoi H [Probationer]" userId="d4e83e2c-c7d3-4fe6-ab74-6155d2bb8c63" providerId="ADAL" clId="{85C4EBEC-404E-46BC-B68B-D507855FBC7A}" dt="2024-06-12T12:48:19.410" v="2006" actId="2711"/>
          <ac:spMkLst>
            <pc:docMk/>
            <pc:sldMk cId="0" sldId="314"/>
            <ac:spMk id="11" creationId="{8E16A4B7-2C0D-93C4-5868-E878EA939101}"/>
          </ac:spMkLst>
        </pc:spChg>
        <pc:spChg chg="add mod">
          <ac:chgData name="Longkoi H [Probationer]" userId="d4e83e2c-c7d3-4fe6-ab74-6155d2bb8c63" providerId="ADAL" clId="{85C4EBEC-404E-46BC-B68B-D507855FBC7A}" dt="2024-06-12T12:48:19.410" v="2006" actId="2711"/>
          <ac:spMkLst>
            <pc:docMk/>
            <pc:sldMk cId="0" sldId="314"/>
            <ac:spMk id="12" creationId="{31C3563D-2D80-7D18-6F21-DF78FDD30794}"/>
          </ac:spMkLst>
        </pc:spChg>
        <pc:spChg chg="add mod">
          <ac:chgData name="Longkoi H [Probationer]" userId="d4e83e2c-c7d3-4fe6-ab74-6155d2bb8c63" providerId="ADAL" clId="{85C4EBEC-404E-46BC-B68B-D507855FBC7A}" dt="2024-06-12T12:46:13.669" v="1961" actId="1076"/>
          <ac:spMkLst>
            <pc:docMk/>
            <pc:sldMk cId="0" sldId="314"/>
            <ac:spMk id="14" creationId="{7E3C7051-8485-F9F0-7FA8-45D9022FDBAF}"/>
          </ac:spMkLst>
        </pc:spChg>
        <pc:spChg chg="add mod ord">
          <ac:chgData name="Longkoi H [Probationer]" userId="d4e83e2c-c7d3-4fe6-ab74-6155d2bb8c63" providerId="ADAL" clId="{85C4EBEC-404E-46BC-B68B-D507855FBC7A}" dt="2024-06-12T12:46:13.669" v="1961" actId="1076"/>
          <ac:spMkLst>
            <pc:docMk/>
            <pc:sldMk cId="0" sldId="314"/>
            <ac:spMk id="15" creationId="{DD3AA92E-6B5C-A519-9472-95A48FF7BA14}"/>
          </ac:spMkLst>
        </pc:spChg>
        <pc:spChg chg="add del mod">
          <ac:chgData name="Longkoi H [Probationer]" userId="d4e83e2c-c7d3-4fe6-ab74-6155d2bb8c63" providerId="ADAL" clId="{85C4EBEC-404E-46BC-B68B-D507855FBC7A}" dt="2024-06-12T12:43:04.610" v="1886"/>
          <ac:spMkLst>
            <pc:docMk/>
            <pc:sldMk cId="0" sldId="314"/>
            <ac:spMk id="16" creationId="{3649DB3E-2178-F706-EECF-BA72E1B13ED7}"/>
          </ac:spMkLst>
        </pc:spChg>
        <pc:spChg chg="add del mod">
          <ac:chgData name="Longkoi H [Probationer]" userId="d4e83e2c-c7d3-4fe6-ab74-6155d2bb8c63" providerId="ADAL" clId="{85C4EBEC-404E-46BC-B68B-D507855FBC7A}" dt="2024-06-12T12:43:04.603" v="1880"/>
          <ac:spMkLst>
            <pc:docMk/>
            <pc:sldMk cId="0" sldId="314"/>
            <ac:spMk id="17" creationId="{61EE650C-3C4B-B004-C7BF-BACB339C14E6}"/>
          </ac:spMkLst>
        </pc:spChg>
        <pc:spChg chg="add del mod">
          <ac:chgData name="Longkoi H [Probationer]" userId="d4e83e2c-c7d3-4fe6-ab74-6155d2bb8c63" providerId="ADAL" clId="{85C4EBEC-404E-46BC-B68B-D507855FBC7A}" dt="2024-06-12T12:43:09.370" v="1912"/>
          <ac:spMkLst>
            <pc:docMk/>
            <pc:sldMk cId="0" sldId="314"/>
            <ac:spMk id="18" creationId="{7346A7CA-C83B-4CCF-331C-81E574B524B9}"/>
          </ac:spMkLst>
        </pc:spChg>
        <pc:spChg chg="add del mod">
          <ac:chgData name="Longkoi H [Probationer]" userId="d4e83e2c-c7d3-4fe6-ab74-6155d2bb8c63" providerId="ADAL" clId="{85C4EBEC-404E-46BC-B68B-D507855FBC7A}" dt="2024-06-12T12:43:09.360" v="1906"/>
          <ac:spMkLst>
            <pc:docMk/>
            <pc:sldMk cId="0" sldId="314"/>
            <ac:spMk id="19" creationId="{9FAA19D1-FB5C-9A63-5A32-CA6FDC75E6A7}"/>
          </ac:spMkLst>
        </pc:spChg>
        <pc:spChg chg="add del mod">
          <ac:chgData name="Longkoi H [Probationer]" userId="d4e83e2c-c7d3-4fe6-ab74-6155d2bb8c63" providerId="ADAL" clId="{85C4EBEC-404E-46BC-B68B-D507855FBC7A}" dt="2024-06-12T12:43:07.097" v="1899"/>
          <ac:spMkLst>
            <pc:docMk/>
            <pc:sldMk cId="0" sldId="314"/>
            <ac:spMk id="20" creationId="{7C2B81FA-47EF-876C-7D4A-E09FABB808F3}"/>
          </ac:spMkLst>
        </pc:spChg>
        <pc:spChg chg="add del mod">
          <ac:chgData name="Longkoi H [Probationer]" userId="d4e83e2c-c7d3-4fe6-ab74-6155d2bb8c63" providerId="ADAL" clId="{85C4EBEC-404E-46BC-B68B-D507855FBC7A}" dt="2024-06-12T12:43:07.089" v="1893"/>
          <ac:spMkLst>
            <pc:docMk/>
            <pc:sldMk cId="0" sldId="314"/>
            <ac:spMk id="21" creationId="{8ACBD28B-7C51-3325-22CF-B5CB8A28066A}"/>
          </ac:spMkLst>
        </pc:spChg>
        <pc:spChg chg="add del mod">
          <ac:chgData name="Longkoi H [Probationer]" userId="d4e83e2c-c7d3-4fe6-ab74-6155d2bb8c63" providerId="ADAL" clId="{85C4EBEC-404E-46BC-B68B-D507855FBC7A}" dt="2024-06-12T12:41:57.907" v="1800"/>
          <ac:spMkLst>
            <pc:docMk/>
            <pc:sldMk cId="0" sldId="314"/>
            <ac:spMk id="25" creationId="{BA9AEFD8-AC72-F339-B827-8DFC5C9FC0E0}"/>
          </ac:spMkLst>
        </pc:spChg>
        <pc:spChg chg="add del mod">
          <ac:chgData name="Longkoi H [Probationer]" userId="d4e83e2c-c7d3-4fe6-ab74-6155d2bb8c63" providerId="ADAL" clId="{85C4EBEC-404E-46BC-B68B-D507855FBC7A}" dt="2024-06-12T12:41:57.930" v="1811"/>
          <ac:spMkLst>
            <pc:docMk/>
            <pc:sldMk cId="0" sldId="314"/>
            <ac:spMk id="26" creationId="{74D8455F-7F78-A44D-96A4-C6BE6D0671EF}"/>
          </ac:spMkLst>
        </pc:spChg>
        <pc:spChg chg="add del">
          <ac:chgData name="Longkoi H [Probationer]" userId="d4e83e2c-c7d3-4fe6-ab74-6155d2bb8c63" providerId="ADAL" clId="{85C4EBEC-404E-46BC-B68B-D507855FBC7A}" dt="2024-06-12T12:41:57.930" v="1811"/>
          <ac:spMkLst>
            <pc:docMk/>
            <pc:sldMk cId="0" sldId="314"/>
            <ac:spMk id="27" creationId="{62C97A33-69FC-4018-06E7-32CAEFED4749}"/>
          </ac:spMkLst>
        </pc:spChg>
        <pc:spChg chg="del mod">
          <ac:chgData name="Longkoi H [Probationer]" userId="d4e83e2c-c7d3-4fe6-ab74-6155d2bb8c63" providerId="ADAL" clId="{85C4EBEC-404E-46BC-B68B-D507855FBC7A}" dt="2024-06-12T12:44:01.216" v="1938" actId="478"/>
          <ac:spMkLst>
            <pc:docMk/>
            <pc:sldMk cId="0" sldId="314"/>
            <ac:spMk id="28" creationId="{4E89559F-7F4D-A21A-5D26-9344CD15D850}"/>
          </ac:spMkLst>
        </pc:spChg>
        <pc:spChg chg="add del mod">
          <ac:chgData name="Longkoi H [Probationer]" userId="d4e83e2c-c7d3-4fe6-ab74-6155d2bb8c63" providerId="ADAL" clId="{85C4EBEC-404E-46BC-B68B-D507855FBC7A}" dt="2024-06-12T12:41:57.956" v="1822"/>
          <ac:spMkLst>
            <pc:docMk/>
            <pc:sldMk cId="0" sldId="314"/>
            <ac:spMk id="29" creationId="{B3E3D227-E4FA-82E7-8BFF-20F09E415D53}"/>
          </ac:spMkLst>
        </pc:spChg>
        <pc:spChg chg="add del">
          <ac:chgData name="Longkoi H [Probationer]" userId="d4e83e2c-c7d3-4fe6-ab74-6155d2bb8c63" providerId="ADAL" clId="{85C4EBEC-404E-46BC-B68B-D507855FBC7A}" dt="2024-06-12T12:41:57.956" v="1822"/>
          <ac:spMkLst>
            <pc:docMk/>
            <pc:sldMk cId="0" sldId="314"/>
            <ac:spMk id="30" creationId="{1A50140F-E717-4410-7545-3A93D3BB48CF}"/>
          </ac:spMkLst>
        </pc:spChg>
        <pc:spChg chg="del mod">
          <ac:chgData name="Longkoi H [Probationer]" userId="d4e83e2c-c7d3-4fe6-ab74-6155d2bb8c63" providerId="ADAL" clId="{85C4EBEC-404E-46BC-B68B-D507855FBC7A}" dt="2024-06-12T12:44:01.216" v="1938" actId="478"/>
          <ac:spMkLst>
            <pc:docMk/>
            <pc:sldMk cId="0" sldId="314"/>
            <ac:spMk id="31" creationId="{E6488DE3-64AD-AF15-45D6-4BA9361AD02D}"/>
          </ac:spMkLst>
        </pc:spChg>
        <pc:spChg chg="add mod">
          <ac:chgData name="Longkoi H [Probationer]" userId="d4e83e2c-c7d3-4fe6-ab74-6155d2bb8c63" providerId="ADAL" clId="{85C4EBEC-404E-46BC-B68B-D507855FBC7A}" dt="2024-06-12T12:48:45.146" v="2010" actId="20577"/>
          <ac:spMkLst>
            <pc:docMk/>
            <pc:sldMk cId="0" sldId="314"/>
            <ac:spMk id="32" creationId="{BE0D24BA-ED14-CEA8-298D-B3439676BAF4}"/>
          </ac:spMkLst>
        </pc:spChg>
        <pc:spChg chg="add mod">
          <ac:chgData name="Longkoi H [Probationer]" userId="d4e83e2c-c7d3-4fe6-ab74-6155d2bb8c63" providerId="ADAL" clId="{85C4EBEC-404E-46BC-B68B-D507855FBC7A}" dt="2024-06-12T12:48:34.774" v="2007" actId="554"/>
          <ac:spMkLst>
            <pc:docMk/>
            <pc:sldMk cId="0" sldId="314"/>
            <ac:spMk id="33" creationId="{C39309D3-5515-4D49-E3CD-DA5C459F18E6}"/>
          </ac:spMkLst>
        </pc:spChg>
        <pc:spChg chg="add mod">
          <ac:chgData name="Longkoi H [Probationer]" userId="d4e83e2c-c7d3-4fe6-ab74-6155d2bb8c63" providerId="ADAL" clId="{85C4EBEC-404E-46BC-B68B-D507855FBC7A}" dt="2024-06-12T12:46:32.384" v="1972"/>
          <ac:spMkLst>
            <pc:docMk/>
            <pc:sldMk cId="0" sldId="314"/>
            <ac:spMk id="34" creationId="{B87BC52B-024C-56FD-2522-D45F6B64A944}"/>
          </ac:spMkLst>
        </pc:spChg>
        <pc:spChg chg="add del mod">
          <ac:chgData name="Longkoi H [Probationer]" userId="d4e83e2c-c7d3-4fe6-ab74-6155d2bb8c63" providerId="ADAL" clId="{85C4EBEC-404E-46BC-B68B-D507855FBC7A}" dt="2024-06-12T12:46:10.647" v="1960" actId="478"/>
          <ac:spMkLst>
            <pc:docMk/>
            <pc:sldMk cId="0" sldId="314"/>
            <ac:spMk id="35" creationId="{F5AD03A5-CBAF-CD9E-62CF-740558A08225}"/>
          </ac:spMkLst>
        </pc:spChg>
        <pc:spChg chg="del mod">
          <ac:chgData name="Longkoi H [Probationer]" userId="d4e83e2c-c7d3-4fe6-ab74-6155d2bb8c63" providerId="ADAL" clId="{85C4EBEC-404E-46BC-B68B-D507855FBC7A}" dt="2024-06-12T12:33:48.572" v="1643" actId="478"/>
          <ac:spMkLst>
            <pc:docMk/>
            <pc:sldMk cId="0" sldId="314"/>
            <ac:spMk id="5097" creationId="{00000000-0000-0000-0000-000000000000}"/>
          </ac:spMkLst>
        </pc:spChg>
        <pc:spChg chg="del mod ord">
          <ac:chgData name="Longkoi H [Probationer]" userId="d4e83e2c-c7d3-4fe6-ab74-6155d2bb8c63" providerId="ADAL" clId="{85C4EBEC-404E-46BC-B68B-D507855FBC7A}" dt="2024-06-12T12:33:48.572" v="1643" actId="478"/>
          <ac:spMkLst>
            <pc:docMk/>
            <pc:sldMk cId="0" sldId="314"/>
            <ac:spMk id="5098" creationId="{00000000-0000-0000-0000-000000000000}"/>
          </ac:spMkLst>
        </pc:spChg>
        <pc:spChg chg="del mod">
          <ac:chgData name="Longkoi H [Probationer]" userId="d4e83e2c-c7d3-4fe6-ab74-6155d2bb8c63" providerId="ADAL" clId="{85C4EBEC-404E-46BC-B68B-D507855FBC7A}" dt="2024-06-12T12:33:48.572" v="1643" actId="478"/>
          <ac:spMkLst>
            <pc:docMk/>
            <pc:sldMk cId="0" sldId="314"/>
            <ac:spMk id="5099" creationId="{00000000-0000-0000-0000-000000000000}"/>
          </ac:spMkLst>
        </pc:spChg>
        <pc:spChg chg="del mod ord">
          <ac:chgData name="Longkoi H [Probationer]" userId="d4e83e2c-c7d3-4fe6-ab74-6155d2bb8c63" providerId="ADAL" clId="{85C4EBEC-404E-46BC-B68B-D507855FBC7A}" dt="2024-06-12T12:33:48.572" v="1643" actId="478"/>
          <ac:spMkLst>
            <pc:docMk/>
            <pc:sldMk cId="0" sldId="314"/>
            <ac:spMk id="5100" creationId="{00000000-0000-0000-0000-000000000000}"/>
          </ac:spMkLst>
        </pc:spChg>
        <pc:spChg chg="del mod">
          <ac:chgData name="Longkoi H [Probationer]" userId="d4e83e2c-c7d3-4fe6-ab74-6155d2bb8c63" providerId="ADAL" clId="{85C4EBEC-404E-46BC-B68B-D507855FBC7A}" dt="2024-06-12T12:33:48.572" v="1643" actId="478"/>
          <ac:spMkLst>
            <pc:docMk/>
            <pc:sldMk cId="0" sldId="314"/>
            <ac:spMk id="5101" creationId="{00000000-0000-0000-0000-000000000000}"/>
          </ac:spMkLst>
        </pc:spChg>
        <pc:spChg chg="del mod ord">
          <ac:chgData name="Longkoi H [Probationer]" userId="d4e83e2c-c7d3-4fe6-ab74-6155d2bb8c63" providerId="ADAL" clId="{85C4EBEC-404E-46BC-B68B-D507855FBC7A}" dt="2024-06-12T12:33:48.572" v="1643" actId="478"/>
          <ac:spMkLst>
            <pc:docMk/>
            <pc:sldMk cId="0" sldId="314"/>
            <ac:spMk id="5102" creationId="{00000000-0000-0000-0000-000000000000}"/>
          </ac:spMkLst>
        </pc:spChg>
        <pc:spChg chg="del mod ord">
          <ac:chgData name="Longkoi H [Probationer]" userId="d4e83e2c-c7d3-4fe6-ab74-6155d2bb8c63" providerId="ADAL" clId="{85C4EBEC-404E-46BC-B68B-D507855FBC7A}" dt="2024-06-12T12:33:48.572" v="1643" actId="478"/>
          <ac:spMkLst>
            <pc:docMk/>
            <pc:sldMk cId="0" sldId="314"/>
            <ac:spMk id="5103" creationId="{00000000-0000-0000-0000-000000000000}"/>
          </ac:spMkLst>
        </pc:spChg>
        <pc:spChg chg="del mod ord">
          <ac:chgData name="Longkoi H [Probationer]" userId="d4e83e2c-c7d3-4fe6-ab74-6155d2bb8c63" providerId="ADAL" clId="{85C4EBEC-404E-46BC-B68B-D507855FBC7A}" dt="2024-06-12T12:33:48.572" v="1643" actId="478"/>
          <ac:spMkLst>
            <pc:docMk/>
            <pc:sldMk cId="0" sldId="314"/>
            <ac:spMk id="5104" creationId="{00000000-0000-0000-0000-000000000000}"/>
          </ac:spMkLst>
        </pc:spChg>
        <pc:spChg chg="del mod ord">
          <ac:chgData name="Longkoi H [Probationer]" userId="d4e83e2c-c7d3-4fe6-ab74-6155d2bb8c63" providerId="ADAL" clId="{85C4EBEC-404E-46BC-B68B-D507855FBC7A}" dt="2024-06-12T12:33:48.572" v="1643" actId="478"/>
          <ac:spMkLst>
            <pc:docMk/>
            <pc:sldMk cId="0" sldId="314"/>
            <ac:spMk id="5105" creationId="{00000000-0000-0000-0000-000000000000}"/>
          </ac:spMkLst>
        </pc:spChg>
        <pc:spChg chg="del mod ord">
          <ac:chgData name="Longkoi H [Probationer]" userId="d4e83e2c-c7d3-4fe6-ab74-6155d2bb8c63" providerId="ADAL" clId="{85C4EBEC-404E-46BC-B68B-D507855FBC7A}" dt="2024-06-12T12:33:48.572" v="1643" actId="478"/>
          <ac:spMkLst>
            <pc:docMk/>
            <pc:sldMk cId="0" sldId="314"/>
            <ac:spMk id="5110" creationId="{00000000-0000-0000-0000-000000000000}"/>
          </ac:spMkLst>
        </pc:spChg>
        <pc:spChg chg="del mod">
          <ac:chgData name="Longkoi H [Probationer]" userId="d4e83e2c-c7d3-4fe6-ab74-6155d2bb8c63" providerId="ADAL" clId="{85C4EBEC-404E-46BC-B68B-D507855FBC7A}" dt="2024-06-12T12:33:48.572" v="1643" actId="478"/>
          <ac:spMkLst>
            <pc:docMk/>
            <pc:sldMk cId="0" sldId="314"/>
            <ac:spMk id="5111" creationId="{00000000-0000-0000-0000-000000000000}"/>
          </ac:spMkLst>
        </pc:spChg>
        <pc:spChg chg="del mod">
          <ac:chgData name="Longkoi H [Probationer]" userId="d4e83e2c-c7d3-4fe6-ab74-6155d2bb8c63" providerId="ADAL" clId="{85C4EBEC-404E-46BC-B68B-D507855FBC7A}" dt="2024-06-12T12:33:48.572" v="1643" actId="478"/>
          <ac:spMkLst>
            <pc:docMk/>
            <pc:sldMk cId="0" sldId="314"/>
            <ac:spMk id="5112" creationId="{00000000-0000-0000-0000-000000000000}"/>
          </ac:spMkLst>
        </pc:spChg>
        <pc:grpChg chg="add del mod">
          <ac:chgData name="Longkoi H [Probationer]" userId="d4e83e2c-c7d3-4fe6-ab74-6155d2bb8c63" providerId="ADAL" clId="{85C4EBEC-404E-46BC-B68B-D507855FBC7A}" dt="2024-06-12T12:33:45.834" v="1642" actId="478"/>
          <ac:grpSpMkLst>
            <pc:docMk/>
            <pc:sldMk cId="0" sldId="314"/>
            <ac:grpSpMk id="6" creationId="{730B4A6B-931D-AE1D-B9C2-7C488AA6A21B}"/>
          </ac:grpSpMkLst>
        </pc:grpChg>
        <pc:grpChg chg="del mod">
          <ac:chgData name="Longkoi H [Probationer]" userId="d4e83e2c-c7d3-4fe6-ab74-6155d2bb8c63" providerId="ADAL" clId="{85C4EBEC-404E-46BC-B68B-D507855FBC7A}" dt="2024-06-12T12:33:48.572" v="1643" actId="478"/>
          <ac:grpSpMkLst>
            <pc:docMk/>
            <pc:sldMk cId="0" sldId="314"/>
            <ac:grpSpMk id="5106" creationId="{00000000-0000-0000-0000-000000000000}"/>
          </ac:grpSpMkLst>
        </pc:grpChg>
        <pc:picChg chg="mod">
          <ac:chgData name="Longkoi H [Probationer]" userId="d4e83e2c-c7d3-4fe6-ab74-6155d2bb8c63" providerId="ADAL" clId="{85C4EBEC-404E-46BC-B68B-D507855FBC7A}" dt="2024-06-12T12:33:43.242" v="1640"/>
          <ac:picMkLst>
            <pc:docMk/>
            <pc:sldMk cId="0" sldId="314"/>
            <ac:picMk id="8" creationId="{86312685-4FB0-FD50-7F6F-55190834DAEB}"/>
          </ac:picMkLst>
        </pc:picChg>
        <pc:picChg chg="add mod">
          <ac:chgData name="Longkoi H [Probationer]" userId="d4e83e2c-c7d3-4fe6-ab74-6155d2bb8c63" providerId="ADAL" clId="{85C4EBEC-404E-46BC-B68B-D507855FBC7A}" dt="2024-06-12T12:39:39.051" v="1698" actId="1036"/>
          <ac:picMkLst>
            <pc:docMk/>
            <pc:sldMk cId="0" sldId="314"/>
            <ac:picMk id="13" creationId="{F156DA9F-7F80-7DB7-FEC3-10B6F3C3B832}"/>
          </ac:picMkLst>
        </pc:picChg>
        <pc:picChg chg="add mod">
          <ac:chgData name="Longkoi H [Probationer]" userId="d4e83e2c-c7d3-4fe6-ab74-6155d2bb8c63" providerId="ADAL" clId="{85C4EBEC-404E-46BC-B68B-D507855FBC7A}" dt="2024-06-12T12:47:51.053" v="2001" actId="1076"/>
          <ac:picMkLst>
            <pc:docMk/>
            <pc:sldMk cId="0" sldId="314"/>
            <ac:picMk id="22" creationId="{F4F05BB6-D479-A21F-9466-B81F36EAA0E7}"/>
          </ac:picMkLst>
        </pc:picChg>
        <pc:picChg chg="del mod">
          <ac:chgData name="Longkoi H [Probationer]" userId="d4e83e2c-c7d3-4fe6-ab74-6155d2bb8c63" providerId="ADAL" clId="{85C4EBEC-404E-46BC-B68B-D507855FBC7A}" dt="2024-06-12T12:33:48.572" v="1643" actId="478"/>
          <ac:picMkLst>
            <pc:docMk/>
            <pc:sldMk cId="0" sldId="314"/>
            <ac:picMk id="5109" creationId="{00000000-0000-0000-0000-000000000000}"/>
          </ac:picMkLst>
        </pc:picChg>
        <pc:picChg chg="del mod">
          <ac:chgData name="Longkoi H [Probationer]" userId="d4e83e2c-c7d3-4fe6-ab74-6155d2bb8c63" providerId="ADAL" clId="{85C4EBEC-404E-46BC-B68B-D507855FBC7A}" dt="2024-06-12T12:33:48.572" v="1643" actId="478"/>
          <ac:picMkLst>
            <pc:docMk/>
            <pc:sldMk cId="0" sldId="314"/>
            <ac:picMk id="5113" creationId="{00000000-0000-0000-0000-000000000000}"/>
          </ac:picMkLst>
        </pc:picChg>
        <pc:cxnChg chg="add del mod">
          <ac:chgData name="Longkoi H [Probationer]" userId="d4e83e2c-c7d3-4fe6-ab74-6155d2bb8c63" providerId="ADAL" clId="{85C4EBEC-404E-46BC-B68B-D507855FBC7A}" dt="2024-06-12T12:42:52.919" v="1873" actId="478"/>
          <ac:cxnSpMkLst>
            <pc:docMk/>
            <pc:sldMk cId="0" sldId="314"/>
            <ac:cxnSpMk id="23" creationId="{150AB157-3271-923C-C09C-740A05DE699E}"/>
          </ac:cxnSpMkLst>
        </pc:cxnChg>
        <pc:cxnChg chg="add mod">
          <ac:chgData name="Longkoi H [Probationer]" userId="d4e83e2c-c7d3-4fe6-ab74-6155d2bb8c63" providerId="ADAL" clId="{85C4EBEC-404E-46BC-B68B-D507855FBC7A}" dt="2024-06-12T12:47:46.550" v="1999" actId="1036"/>
          <ac:cxnSpMkLst>
            <pc:docMk/>
            <pc:sldMk cId="0" sldId="314"/>
            <ac:cxnSpMk id="36" creationId="{FC531ACA-8F45-53E3-DA7B-E007BC66E39C}"/>
          </ac:cxnSpMkLst>
        </pc:cxnChg>
        <pc:cxnChg chg="del mod">
          <ac:chgData name="Longkoi H [Probationer]" userId="d4e83e2c-c7d3-4fe6-ab74-6155d2bb8c63" providerId="ADAL" clId="{85C4EBEC-404E-46BC-B68B-D507855FBC7A}" dt="2024-06-12T12:33:48.572" v="1643" actId="478"/>
          <ac:cxnSpMkLst>
            <pc:docMk/>
            <pc:sldMk cId="0" sldId="314"/>
            <ac:cxnSpMk id="5114" creationId="{00000000-0000-0000-0000-000000000000}"/>
          </ac:cxnSpMkLst>
        </pc:cxnChg>
      </pc:sldChg>
      <pc:sldChg chg="addSp delSp modSp mod ord chgLayout">
        <pc:chgData name="Longkoi H [Probationer]" userId="d4e83e2c-c7d3-4fe6-ab74-6155d2bb8c63" providerId="ADAL" clId="{85C4EBEC-404E-46BC-B68B-D507855FBC7A}" dt="2024-06-12T15:00:31.637" v="4581"/>
        <pc:sldMkLst>
          <pc:docMk/>
          <pc:sldMk cId="0" sldId="315"/>
        </pc:sldMkLst>
        <pc:spChg chg="del">
          <ac:chgData name="Longkoi H [Probationer]" userId="d4e83e2c-c7d3-4fe6-ab74-6155d2bb8c63" providerId="ADAL" clId="{85C4EBEC-404E-46BC-B68B-D507855FBC7A}" dt="2024-06-12T13:44:27.030" v="2366" actId="478"/>
          <ac:spMkLst>
            <pc:docMk/>
            <pc:sldMk cId="0" sldId="315"/>
            <ac:spMk id="2" creationId="{F89D054F-F80B-FA65-8BF7-A90F7E087132}"/>
          </ac:spMkLst>
        </pc:spChg>
        <pc:spChg chg="add del mod">
          <ac:chgData name="Longkoi H [Probationer]" userId="d4e83e2c-c7d3-4fe6-ab74-6155d2bb8c63" providerId="ADAL" clId="{85C4EBEC-404E-46BC-B68B-D507855FBC7A}" dt="2024-06-12T13:44:32.630" v="2368" actId="6264"/>
          <ac:spMkLst>
            <pc:docMk/>
            <pc:sldMk cId="0" sldId="315"/>
            <ac:spMk id="3" creationId="{29CC215B-003F-8125-C683-519872713AB8}"/>
          </ac:spMkLst>
        </pc:spChg>
        <pc:spChg chg="add del mod ord">
          <ac:chgData name="Longkoi H [Probationer]" userId="d4e83e2c-c7d3-4fe6-ab74-6155d2bb8c63" providerId="ADAL" clId="{85C4EBEC-404E-46BC-B68B-D507855FBC7A}" dt="2024-06-12T13:44:32.957" v="2369" actId="6264"/>
          <ac:spMkLst>
            <pc:docMk/>
            <pc:sldMk cId="0" sldId="315"/>
            <ac:spMk id="4" creationId="{757419C9-180C-4D5F-DB76-E39EE6927538}"/>
          </ac:spMkLst>
        </pc:spChg>
        <pc:spChg chg="add del mod ord">
          <ac:chgData name="Longkoi H [Probationer]" userId="d4e83e2c-c7d3-4fe6-ab74-6155d2bb8c63" providerId="ADAL" clId="{85C4EBEC-404E-46BC-B68B-D507855FBC7A}" dt="2024-06-12T13:44:52.567" v="2378" actId="20577"/>
          <ac:spMkLst>
            <pc:docMk/>
            <pc:sldMk cId="0" sldId="315"/>
            <ac:spMk id="5" creationId="{C9178E0C-7D14-9B52-B7E0-9375C27342AE}"/>
          </ac:spMkLst>
        </pc:spChg>
        <pc:spChg chg="add mod">
          <ac:chgData name="Longkoi H [Probationer]" userId="d4e83e2c-c7d3-4fe6-ab74-6155d2bb8c63" providerId="ADAL" clId="{85C4EBEC-404E-46BC-B68B-D507855FBC7A}" dt="2024-06-12T13:45:00.308" v="2381"/>
          <ac:spMkLst>
            <pc:docMk/>
            <pc:sldMk cId="0" sldId="315"/>
            <ac:spMk id="6" creationId="{AD57D389-D847-7979-E72B-0D4514F93621}"/>
          </ac:spMkLst>
        </pc:spChg>
        <pc:spChg chg="add del mod">
          <ac:chgData name="Longkoi H [Probationer]" userId="d4e83e2c-c7d3-4fe6-ab74-6155d2bb8c63" providerId="ADAL" clId="{85C4EBEC-404E-46BC-B68B-D507855FBC7A}" dt="2024-06-12T13:44:37.953" v="2372" actId="478"/>
          <ac:spMkLst>
            <pc:docMk/>
            <pc:sldMk cId="0" sldId="315"/>
            <ac:spMk id="7" creationId="{BEECE995-8B68-5949-7BD4-D04BEA9F8023}"/>
          </ac:spMkLst>
        </pc:spChg>
        <pc:spChg chg="add mod">
          <ac:chgData name="Longkoi H [Probationer]" userId="d4e83e2c-c7d3-4fe6-ab74-6155d2bb8c63" providerId="ADAL" clId="{85C4EBEC-404E-46BC-B68B-D507855FBC7A}" dt="2024-06-12T13:44:34.227" v="2370"/>
          <ac:spMkLst>
            <pc:docMk/>
            <pc:sldMk cId="0" sldId="315"/>
            <ac:spMk id="8" creationId="{1E79E7C3-96C9-53CC-25A9-02D1BFECB4AF}"/>
          </ac:spMkLst>
        </pc:spChg>
        <pc:spChg chg="add mod">
          <ac:chgData name="Longkoi H [Probationer]" userId="d4e83e2c-c7d3-4fe6-ab74-6155d2bb8c63" providerId="ADAL" clId="{85C4EBEC-404E-46BC-B68B-D507855FBC7A}" dt="2024-06-12T13:44:34.227" v="2370"/>
          <ac:spMkLst>
            <pc:docMk/>
            <pc:sldMk cId="0" sldId="315"/>
            <ac:spMk id="9" creationId="{50511286-E0DE-0001-DE73-57985F537201}"/>
          </ac:spMkLst>
        </pc:spChg>
        <pc:spChg chg="add mod">
          <ac:chgData name="Longkoi H [Probationer]" userId="d4e83e2c-c7d3-4fe6-ab74-6155d2bb8c63" providerId="ADAL" clId="{85C4EBEC-404E-46BC-B68B-D507855FBC7A}" dt="2024-06-12T13:44:34.227" v="2370"/>
          <ac:spMkLst>
            <pc:docMk/>
            <pc:sldMk cId="0" sldId="315"/>
            <ac:spMk id="10" creationId="{E8C8D640-02EC-549D-4745-1D3F9AAA4E06}"/>
          </ac:spMkLst>
        </pc:spChg>
        <pc:spChg chg="add mod">
          <ac:chgData name="Longkoi H [Probationer]" userId="d4e83e2c-c7d3-4fe6-ab74-6155d2bb8c63" providerId="ADAL" clId="{85C4EBEC-404E-46BC-B68B-D507855FBC7A}" dt="2024-06-12T13:44:34.227" v="2370"/>
          <ac:spMkLst>
            <pc:docMk/>
            <pc:sldMk cId="0" sldId="315"/>
            <ac:spMk id="11" creationId="{044D7F2B-1A74-3BB9-6CDA-1EE8ED74867B}"/>
          </ac:spMkLst>
        </pc:spChg>
        <pc:spChg chg="add mod">
          <ac:chgData name="Longkoi H [Probationer]" userId="d4e83e2c-c7d3-4fe6-ab74-6155d2bb8c63" providerId="ADAL" clId="{85C4EBEC-404E-46BC-B68B-D507855FBC7A}" dt="2024-06-12T13:44:34.227" v="2370"/>
          <ac:spMkLst>
            <pc:docMk/>
            <pc:sldMk cId="0" sldId="315"/>
            <ac:spMk id="12" creationId="{1D34D513-FEE7-9179-D479-6E0ECE30850B}"/>
          </ac:spMkLst>
        </pc:spChg>
        <pc:spChg chg="add mod">
          <ac:chgData name="Longkoi H [Probationer]" userId="d4e83e2c-c7d3-4fe6-ab74-6155d2bb8c63" providerId="ADAL" clId="{85C4EBEC-404E-46BC-B68B-D507855FBC7A}" dt="2024-06-12T13:44:34.227" v="2370"/>
          <ac:spMkLst>
            <pc:docMk/>
            <pc:sldMk cId="0" sldId="315"/>
            <ac:spMk id="13" creationId="{2C51531C-2771-B1C6-7A9F-AAC5C187AE1D}"/>
          </ac:spMkLst>
        </pc:spChg>
        <pc:spChg chg="add mod">
          <ac:chgData name="Longkoi H [Probationer]" userId="d4e83e2c-c7d3-4fe6-ab74-6155d2bb8c63" providerId="ADAL" clId="{85C4EBEC-404E-46BC-B68B-D507855FBC7A}" dt="2024-06-12T13:48:33.633" v="2435" actId="2711"/>
          <ac:spMkLst>
            <pc:docMk/>
            <pc:sldMk cId="0" sldId="315"/>
            <ac:spMk id="14" creationId="{AFEE0F39-4E72-3E4E-1D62-A472F50DD409}"/>
          </ac:spMkLst>
        </pc:spChg>
        <pc:spChg chg="add mod">
          <ac:chgData name="Longkoi H [Probationer]" userId="d4e83e2c-c7d3-4fe6-ab74-6155d2bb8c63" providerId="ADAL" clId="{85C4EBEC-404E-46BC-B68B-D507855FBC7A}" dt="2024-06-12T14:45:57.188" v="4572" actId="20577"/>
          <ac:spMkLst>
            <pc:docMk/>
            <pc:sldMk cId="0" sldId="315"/>
            <ac:spMk id="15" creationId="{C30881F7-CD16-453A-C9F4-1176FCA56054}"/>
          </ac:spMkLst>
        </pc:spChg>
        <pc:spChg chg="mod">
          <ac:chgData name="Longkoi H [Probationer]" userId="d4e83e2c-c7d3-4fe6-ab74-6155d2bb8c63" providerId="ADAL" clId="{85C4EBEC-404E-46BC-B68B-D507855FBC7A}" dt="2024-06-12T13:44:34.227" v="2370"/>
          <ac:spMkLst>
            <pc:docMk/>
            <pc:sldMk cId="0" sldId="315"/>
            <ac:spMk id="17" creationId="{BBDD9C4D-24D6-E956-1116-5AD0AE9CB08C}"/>
          </ac:spMkLst>
        </pc:spChg>
        <pc:spChg chg="mod">
          <ac:chgData name="Longkoi H [Probationer]" userId="d4e83e2c-c7d3-4fe6-ab74-6155d2bb8c63" providerId="ADAL" clId="{85C4EBEC-404E-46BC-B68B-D507855FBC7A}" dt="2024-06-12T13:44:34.227" v="2370"/>
          <ac:spMkLst>
            <pc:docMk/>
            <pc:sldMk cId="0" sldId="315"/>
            <ac:spMk id="20" creationId="{00974E19-9037-223B-BFA4-B9EC7B644A76}"/>
          </ac:spMkLst>
        </pc:spChg>
        <pc:spChg chg="mod">
          <ac:chgData name="Longkoi H [Probationer]" userId="d4e83e2c-c7d3-4fe6-ab74-6155d2bb8c63" providerId="ADAL" clId="{85C4EBEC-404E-46BC-B68B-D507855FBC7A}" dt="2024-06-12T13:44:34.227" v="2370"/>
          <ac:spMkLst>
            <pc:docMk/>
            <pc:sldMk cId="0" sldId="315"/>
            <ac:spMk id="21" creationId="{46509087-7122-97E2-FC4A-84BAC8F70D09}"/>
          </ac:spMkLst>
        </pc:spChg>
        <pc:spChg chg="add mod">
          <ac:chgData name="Longkoi H [Probationer]" userId="d4e83e2c-c7d3-4fe6-ab74-6155d2bb8c63" providerId="ADAL" clId="{85C4EBEC-404E-46BC-B68B-D507855FBC7A}" dt="2024-06-12T13:48:37.603" v="2436" actId="1076"/>
          <ac:spMkLst>
            <pc:docMk/>
            <pc:sldMk cId="0" sldId="315"/>
            <ac:spMk id="23" creationId="{3D2562FC-1162-6990-AFEE-EA6765BF1986}"/>
          </ac:spMkLst>
        </pc:spChg>
        <pc:spChg chg="add del mod">
          <ac:chgData name="Longkoi H [Probationer]" userId="d4e83e2c-c7d3-4fe6-ab74-6155d2bb8c63" providerId="ADAL" clId="{85C4EBEC-404E-46BC-B68B-D507855FBC7A}" dt="2024-06-12T13:44:51.108" v="2377" actId="478"/>
          <ac:spMkLst>
            <pc:docMk/>
            <pc:sldMk cId="0" sldId="315"/>
            <ac:spMk id="26" creationId="{0B2E734A-59BC-BC4C-B033-81E3E891AEB2}"/>
          </ac:spMkLst>
        </pc:spChg>
        <pc:spChg chg="add mod">
          <ac:chgData name="Longkoi H [Probationer]" userId="d4e83e2c-c7d3-4fe6-ab74-6155d2bb8c63" providerId="ADAL" clId="{85C4EBEC-404E-46BC-B68B-D507855FBC7A}" dt="2024-06-12T13:48:44.899" v="2441" actId="1076"/>
          <ac:spMkLst>
            <pc:docMk/>
            <pc:sldMk cId="0" sldId="315"/>
            <ac:spMk id="28" creationId="{B1911410-5815-1D6A-46E8-86F11B827B1A}"/>
          </ac:spMkLst>
        </pc:spChg>
        <pc:spChg chg="del">
          <ac:chgData name="Longkoi H [Probationer]" userId="d4e83e2c-c7d3-4fe6-ab74-6155d2bb8c63" providerId="ADAL" clId="{85C4EBEC-404E-46BC-B68B-D507855FBC7A}" dt="2024-06-12T13:44:27.030" v="2366" actId="478"/>
          <ac:spMkLst>
            <pc:docMk/>
            <pc:sldMk cId="0" sldId="315"/>
            <ac:spMk id="5119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3:44:27.030" v="2366" actId="478"/>
          <ac:spMkLst>
            <pc:docMk/>
            <pc:sldMk cId="0" sldId="315"/>
            <ac:spMk id="5120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3:44:27.030" v="2366" actId="478"/>
          <ac:spMkLst>
            <pc:docMk/>
            <pc:sldMk cId="0" sldId="315"/>
            <ac:spMk id="5121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3:44:27.030" v="2366" actId="478"/>
          <ac:spMkLst>
            <pc:docMk/>
            <pc:sldMk cId="0" sldId="315"/>
            <ac:spMk id="5122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3:44:27.030" v="2366" actId="478"/>
          <ac:spMkLst>
            <pc:docMk/>
            <pc:sldMk cId="0" sldId="315"/>
            <ac:spMk id="5123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3:44:27.030" v="2366" actId="478"/>
          <ac:spMkLst>
            <pc:docMk/>
            <pc:sldMk cId="0" sldId="315"/>
            <ac:spMk id="5124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3:44:27.030" v="2366" actId="478"/>
          <ac:spMkLst>
            <pc:docMk/>
            <pc:sldMk cId="0" sldId="315"/>
            <ac:spMk id="5125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3:44:27.030" v="2366" actId="478"/>
          <ac:spMkLst>
            <pc:docMk/>
            <pc:sldMk cId="0" sldId="315"/>
            <ac:spMk id="5126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3:44:27.030" v="2366" actId="478"/>
          <ac:spMkLst>
            <pc:docMk/>
            <pc:sldMk cId="0" sldId="315"/>
            <ac:spMk id="5127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3:44:27.030" v="2366" actId="478"/>
          <ac:spMkLst>
            <pc:docMk/>
            <pc:sldMk cId="0" sldId="315"/>
            <ac:spMk id="5132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3:44:27.030" v="2366" actId="478"/>
          <ac:spMkLst>
            <pc:docMk/>
            <pc:sldMk cId="0" sldId="315"/>
            <ac:spMk id="5133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3:44:27.030" v="2366" actId="478"/>
          <ac:spMkLst>
            <pc:docMk/>
            <pc:sldMk cId="0" sldId="315"/>
            <ac:spMk id="5140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3:44:27.030" v="2366" actId="478"/>
          <ac:spMkLst>
            <pc:docMk/>
            <pc:sldMk cId="0" sldId="315"/>
            <ac:spMk id="5141" creationId="{00000000-0000-0000-0000-000000000000}"/>
          </ac:spMkLst>
        </pc:spChg>
        <pc:grpChg chg="add mod">
          <ac:chgData name="Longkoi H [Probationer]" userId="d4e83e2c-c7d3-4fe6-ab74-6155d2bb8c63" providerId="ADAL" clId="{85C4EBEC-404E-46BC-B68B-D507855FBC7A}" dt="2024-06-12T13:44:34.227" v="2370"/>
          <ac:grpSpMkLst>
            <pc:docMk/>
            <pc:sldMk cId="0" sldId="315"/>
            <ac:grpSpMk id="16" creationId="{2458708E-AF0A-C3DF-BE54-AE58D6647FE0}"/>
          </ac:grpSpMkLst>
        </pc:grpChg>
        <pc:grpChg chg="add mod">
          <ac:chgData name="Longkoi H [Probationer]" userId="d4e83e2c-c7d3-4fe6-ab74-6155d2bb8c63" providerId="ADAL" clId="{85C4EBEC-404E-46BC-B68B-D507855FBC7A}" dt="2024-06-12T13:48:52.334" v="2446" actId="465"/>
          <ac:grpSpMkLst>
            <pc:docMk/>
            <pc:sldMk cId="0" sldId="315"/>
            <ac:grpSpMk id="19" creationId="{2BDAF9EC-9620-32E8-DB11-7E0A0F3C37CB}"/>
          </ac:grpSpMkLst>
        </pc:grpChg>
        <pc:grpChg chg="del mod">
          <ac:chgData name="Longkoi H [Probationer]" userId="d4e83e2c-c7d3-4fe6-ab74-6155d2bb8c63" providerId="ADAL" clId="{85C4EBEC-404E-46BC-B68B-D507855FBC7A}" dt="2024-06-12T13:44:27.030" v="2366" actId="478"/>
          <ac:grpSpMkLst>
            <pc:docMk/>
            <pc:sldMk cId="0" sldId="315"/>
            <ac:grpSpMk id="5128" creationId="{00000000-0000-0000-0000-000000000000}"/>
          </ac:grpSpMkLst>
        </pc:grpChg>
        <pc:grpChg chg="del">
          <ac:chgData name="Longkoi H [Probationer]" userId="d4e83e2c-c7d3-4fe6-ab74-6155d2bb8c63" providerId="ADAL" clId="{85C4EBEC-404E-46BC-B68B-D507855FBC7A}" dt="2024-06-12T13:44:27.030" v="2366" actId="478"/>
          <ac:grpSpMkLst>
            <pc:docMk/>
            <pc:sldMk cId="0" sldId="315"/>
            <ac:grpSpMk id="5134" creationId="{00000000-0000-0000-0000-000000000000}"/>
          </ac:grpSpMkLst>
        </pc:grpChg>
        <pc:picChg chg="mod">
          <ac:chgData name="Longkoi H [Probationer]" userId="d4e83e2c-c7d3-4fe6-ab74-6155d2bb8c63" providerId="ADAL" clId="{85C4EBEC-404E-46BC-B68B-D507855FBC7A}" dt="2024-06-12T13:44:34.227" v="2370"/>
          <ac:picMkLst>
            <pc:docMk/>
            <pc:sldMk cId="0" sldId="315"/>
            <ac:picMk id="18" creationId="{95FE238D-5A19-5781-47D1-A5DFCDCB2937}"/>
          </ac:picMkLst>
        </pc:picChg>
        <pc:picChg chg="add del mod">
          <ac:chgData name="Longkoi H [Probationer]" userId="d4e83e2c-c7d3-4fe6-ab74-6155d2bb8c63" providerId="ADAL" clId="{85C4EBEC-404E-46BC-B68B-D507855FBC7A}" dt="2024-06-12T13:45:47.016" v="2398" actId="478"/>
          <ac:picMkLst>
            <pc:docMk/>
            <pc:sldMk cId="0" sldId="315"/>
            <ac:picMk id="24" creationId="{AC203E4A-E1F2-32B6-7084-C4915A0375F3}"/>
          </ac:picMkLst>
        </pc:picChg>
        <pc:picChg chg="add mod">
          <ac:chgData name="Longkoi H [Probationer]" userId="d4e83e2c-c7d3-4fe6-ab74-6155d2bb8c63" providerId="ADAL" clId="{85C4EBEC-404E-46BC-B68B-D507855FBC7A}" dt="2024-06-12T13:48:49.477" v="2443" actId="1035"/>
          <ac:picMkLst>
            <pc:docMk/>
            <pc:sldMk cId="0" sldId="315"/>
            <ac:picMk id="27" creationId="{59D3316D-E7F0-6323-D4A6-0263DCDC972A}"/>
          </ac:picMkLst>
        </pc:picChg>
        <pc:picChg chg="del">
          <ac:chgData name="Longkoi H [Probationer]" userId="d4e83e2c-c7d3-4fe6-ab74-6155d2bb8c63" providerId="ADAL" clId="{85C4EBEC-404E-46BC-B68B-D507855FBC7A}" dt="2024-06-12T13:44:27.030" v="2366" actId="478"/>
          <ac:picMkLst>
            <pc:docMk/>
            <pc:sldMk cId="0" sldId="315"/>
            <ac:picMk id="5131" creationId="{00000000-0000-0000-0000-000000000000}"/>
          </ac:picMkLst>
        </pc:picChg>
        <pc:picChg chg="del">
          <ac:chgData name="Longkoi H [Probationer]" userId="d4e83e2c-c7d3-4fe6-ab74-6155d2bb8c63" providerId="ADAL" clId="{85C4EBEC-404E-46BC-B68B-D507855FBC7A}" dt="2024-06-12T13:44:27.030" v="2366" actId="478"/>
          <ac:picMkLst>
            <pc:docMk/>
            <pc:sldMk cId="0" sldId="315"/>
            <ac:picMk id="5138" creationId="{00000000-0000-0000-0000-000000000000}"/>
          </ac:picMkLst>
        </pc:picChg>
        <pc:cxnChg chg="mod">
          <ac:chgData name="Longkoi H [Probationer]" userId="d4e83e2c-c7d3-4fe6-ab74-6155d2bb8c63" providerId="ADAL" clId="{85C4EBEC-404E-46BC-B68B-D507855FBC7A}" dt="2024-06-12T13:44:34.227" v="2370"/>
          <ac:cxnSpMkLst>
            <pc:docMk/>
            <pc:sldMk cId="0" sldId="315"/>
            <ac:cxnSpMk id="22" creationId="{B0F020E6-1CE4-59E6-57EA-F8EED5977077}"/>
          </ac:cxnSpMkLst>
        </pc:cxnChg>
        <pc:cxnChg chg="del mod">
          <ac:chgData name="Longkoi H [Probationer]" userId="d4e83e2c-c7d3-4fe6-ab74-6155d2bb8c63" providerId="ADAL" clId="{85C4EBEC-404E-46BC-B68B-D507855FBC7A}" dt="2024-06-12T13:44:27.030" v="2366" actId="478"/>
          <ac:cxnSpMkLst>
            <pc:docMk/>
            <pc:sldMk cId="0" sldId="315"/>
            <ac:cxnSpMk id="5139" creationId="{00000000-0000-0000-0000-000000000000}"/>
          </ac:cxnSpMkLst>
        </pc:cxnChg>
      </pc:sldChg>
      <pc:sldChg chg="addSp delSp modSp mod">
        <pc:chgData name="Longkoi H [Probationer]" userId="d4e83e2c-c7d3-4fe6-ab74-6155d2bb8c63" providerId="ADAL" clId="{85C4EBEC-404E-46BC-B68B-D507855FBC7A}" dt="2024-06-12T14:46:33.343" v="4574" actId="948"/>
        <pc:sldMkLst>
          <pc:docMk/>
          <pc:sldMk cId="0" sldId="316"/>
        </pc:sldMkLst>
        <pc:spChg chg="del">
          <ac:chgData name="Longkoi H [Probationer]" userId="d4e83e2c-c7d3-4fe6-ab74-6155d2bb8c63" providerId="ADAL" clId="{85C4EBEC-404E-46BC-B68B-D507855FBC7A}" dt="2024-06-12T13:49:37.547" v="2447" actId="478"/>
          <ac:spMkLst>
            <pc:docMk/>
            <pc:sldMk cId="0" sldId="316"/>
            <ac:spMk id="2" creationId="{E48137C4-C9F7-C7B7-AC59-376F72A54885}"/>
          </ac:spMkLst>
        </pc:spChg>
        <pc:spChg chg="add del">
          <ac:chgData name="Longkoi H [Probationer]" userId="d4e83e2c-c7d3-4fe6-ab74-6155d2bb8c63" providerId="ADAL" clId="{85C4EBEC-404E-46BC-B68B-D507855FBC7A}" dt="2024-06-12T13:49:40.197" v="2449" actId="478"/>
          <ac:spMkLst>
            <pc:docMk/>
            <pc:sldMk cId="0" sldId="316"/>
            <ac:spMk id="4" creationId="{08608987-AE44-7E09-0AF6-F00BC6D010AF}"/>
          </ac:spMkLst>
        </pc:spChg>
        <pc:spChg chg="add del mod">
          <ac:chgData name="Longkoi H [Probationer]" userId="d4e83e2c-c7d3-4fe6-ab74-6155d2bb8c63" providerId="ADAL" clId="{85C4EBEC-404E-46BC-B68B-D507855FBC7A}" dt="2024-06-12T13:49:53.477" v="2451" actId="478"/>
          <ac:spMkLst>
            <pc:docMk/>
            <pc:sldMk cId="0" sldId="316"/>
            <ac:spMk id="5" creationId="{E227B727-A439-53F1-A84E-248AF08A7116}"/>
          </ac:spMkLst>
        </pc:spChg>
        <pc:spChg chg="add mod">
          <ac:chgData name="Longkoi H [Probationer]" userId="d4e83e2c-c7d3-4fe6-ab74-6155d2bb8c63" providerId="ADAL" clId="{85C4EBEC-404E-46BC-B68B-D507855FBC7A}" dt="2024-06-12T13:55:12.889" v="2458"/>
          <ac:spMkLst>
            <pc:docMk/>
            <pc:sldMk cId="0" sldId="316"/>
            <ac:spMk id="6" creationId="{73A6A96E-8B4B-F2D5-0F49-83408B27E815}"/>
          </ac:spMkLst>
        </pc:spChg>
        <pc:spChg chg="add mod">
          <ac:chgData name="Longkoi H [Probationer]" userId="d4e83e2c-c7d3-4fe6-ab74-6155d2bb8c63" providerId="ADAL" clId="{85C4EBEC-404E-46BC-B68B-D507855FBC7A}" dt="2024-06-12T13:49:47.861" v="2450"/>
          <ac:spMkLst>
            <pc:docMk/>
            <pc:sldMk cId="0" sldId="316"/>
            <ac:spMk id="7" creationId="{837B9F35-AB09-38B2-4F84-E210A293FE11}"/>
          </ac:spMkLst>
        </pc:spChg>
        <pc:spChg chg="add mod">
          <ac:chgData name="Longkoi H [Probationer]" userId="d4e83e2c-c7d3-4fe6-ab74-6155d2bb8c63" providerId="ADAL" clId="{85C4EBEC-404E-46BC-B68B-D507855FBC7A}" dt="2024-06-12T13:49:47.861" v="2450"/>
          <ac:spMkLst>
            <pc:docMk/>
            <pc:sldMk cId="0" sldId="316"/>
            <ac:spMk id="8" creationId="{7B46139E-1705-2504-F2DB-4800C71B1B8F}"/>
          </ac:spMkLst>
        </pc:spChg>
        <pc:spChg chg="add mod">
          <ac:chgData name="Longkoi H [Probationer]" userId="d4e83e2c-c7d3-4fe6-ab74-6155d2bb8c63" providerId="ADAL" clId="{85C4EBEC-404E-46BC-B68B-D507855FBC7A}" dt="2024-06-12T13:49:47.861" v="2450"/>
          <ac:spMkLst>
            <pc:docMk/>
            <pc:sldMk cId="0" sldId="316"/>
            <ac:spMk id="9" creationId="{0C1E193C-7B3E-F8CE-C738-469F4F87CEF6}"/>
          </ac:spMkLst>
        </pc:spChg>
        <pc:spChg chg="add mod">
          <ac:chgData name="Longkoi H [Probationer]" userId="d4e83e2c-c7d3-4fe6-ab74-6155d2bb8c63" providerId="ADAL" clId="{85C4EBEC-404E-46BC-B68B-D507855FBC7A}" dt="2024-06-12T13:49:47.861" v="2450"/>
          <ac:spMkLst>
            <pc:docMk/>
            <pc:sldMk cId="0" sldId="316"/>
            <ac:spMk id="10" creationId="{CC1ACA16-EEE4-9B72-7141-ED1B7F5A2CFD}"/>
          </ac:spMkLst>
        </pc:spChg>
        <pc:spChg chg="add mod">
          <ac:chgData name="Longkoi H [Probationer]" userId="d4e83e2c-c7d3-4fe6-ab74-6155d2bb8c63" providerId="ADAL" clId="{85C4EBEC-404E-46BC-B68B-D507855FBC7A}" dt="2024-06-12T13:49:47.861" v="2450"/>
          <ac:spMkLst>
            <pc:docMk/>
            <pc:sldMk cId="0" sldId="316"/>
            <ac:spMk id="11" creationId="{4A99329F-9467-7A6F-0E3E-37D69C57D3DA}"/>
          </ac:spMkLst>
        </pc:spChg>
        <pc:spChg chg="add mod">
          <ac:chgData name="Longkoi H [Probationer]" userId="d4e83e2c-c7d3-4fe6-ab74-6155d2bb8c63" providerId="ADAL" clId="{85C4EBEC-404E-46BC-B68B-D507855FBC7A}" dt="2024-06-12T13:49:47.861" v="2450"/>
          <ac:spMkLst>
            <pc:docMk/>
            <pc:sldMk cId="0" sldId="316"/>
            <ac:spMk id="12" creationId="{B7576897-0F11-2938-7772-CDA723992680}"/>
          </ac:spMkLst>
        </pc:spChg>
        <pc:spChg chg="add mod">
          <ac:chgData name="Longkoi H [Probationer]" userId="d4e83e2c-c7d3-4fe6-ab74-6155d2bb8c63" providerId="ADAL" clId="{85C4EBEC-404E-46BC-B68B-D507855FBC7A}" dt="2024-06-12T14:46:33.343" v="4574" actId="948"/>
          <ac:spMkLst>
            <pc:docMk/>
            <pc:sldMk cId="0" sldId="316"/>
            <ac:spMk id="13" creationId="{5DF44DE9-E817-F282-684B-776DD879B830}"/>
          </ac:spMkLst>
        </pc:spChg>
        <pc:spChg chg="add mod">
          <ac:chgData name="Longkoi H [Probationer]" userId="d4e83e2c-c7d3-4fe6-ab74-6155d2bb8c63" providerId="ADAL" clId="{85C4EBEC-404E-46BC-B68B-D507855FBC7A}" dt="2024-06-12T14:46:33.343" v="4574" actId="948"/>
          <ac:spMkLst>
            <pc:docMk/>
            <pc:sldMk cId="0" sldId="316"/>
            <ac:spMk id="14" creationId="{AE4FC78C-F035-1840-3A05-989E89BBBE81}"/>
          </ac:spMkLst>
        </pc:spChg>
        <pc:spChg chg="mod">
          <ac:chgData name="Longkoi H [Probationer]" userId="d4e83e2c-c7d3-4fe6-ab74-6155d2bb8c63" providerId="ADAL" clId="{85C4EBEC-404E-46BC-B68B-D507855FBC7A}" dt="2024-06-12T13:49:47.861" v="2450"/>
          <ac:spMkLst>
            <pc:docMk/>
            <pc:sldMk cId="0" sldId="316"/>
            <ac:spMk id="16" creationId="{A80F9BD6-6C5E-5783-608C-F5E5804854C9}"/>
          </ac:spMkLst>
        </pc:spChg>
        <pc:spChg chg="mod">
          <ac:chgData name="Longkoi H [Probationer]" userId="d4e83e2c-c7d3-4fe6-ab74-6155d2bb8c63" providerId="ADAL" clId="{85C4EBEC-404E-46BC-B68B-D507855FBC7A}" dt="2024-06-12T13:49:47.861" v="2450"/>
          <ac:spMkLst>
            <pc:docMk/>
            <pc:sldMk cId="0" sldId="316"/>
            <ac:spMk id="19" creationId="{534507D7-FA08-DB41-7D88-5A376987A02E}"/>
          </ac:spMkLst>
        </pc:spChg>
        <pc:spChg chg="mod">
          <ac:chgData name="Longkoi H [Probationer]" userId="d4e83e2c-c7d3-4fe6-ab74-6155d2bb8c63" providerId="ADAL" clId="{85C4EBEC-404E-46BC-B68B-D507855FBC7A}" dt="2024-06-12T13:49:47.861" v="2450"/>
          <ac:spMkLst>
            <pc:docMk/>
            <pc:sldMk cId="0" sldId="316"/>
            <ac:spMk id="20" creationId="{6F23E675-84AC-3B41-0316-52190B040C0C}"/>
          </ac:spMkLst>
        </pc:spChg>
        <pc:spChg chg="add mod">
          <ac:chgData name="Longkoi H [Probationer]" userId="d4e83e2c-c7d3-4fe6-ab74-6155d2bb8c63" providerId="ADAL" clId="{85C4EBEC-404E-46BC-B68B-D507855FBC7A}" dt="2024-06-12T14:46:33.343" v="4574" actId="948"/>
          <ac:spMkLst>
            <pc:docMk/>
            <pc:sldMk cId="0" sldId="316"/>
            <ac:spMk id="22" creationId="{824A7E5A-BA2B-8EAB-D15F-10E6053ACFBB}"/>
          </ac:spMkLst>
        </pc:spChg>
        <pc:spChg chg="add mod">
          <ac:chgData name="Longkoi H [Probationer]" userId="d4e83e2c-c7d3-4fe6-ab74-6155d2bb8c63" providerId="ADAL" clId="{85C4EBEC-404E-46BC-B68B-D507855FBC7A}" dt="2024-06-12T14:46:33.343" v="4574" actId="948"/>
          <ac:spMkLst>
            <pc:docMk/>
            <pc:sldMk cId="0" sldId="316"/>
            <ac:spMk id="24" creationId="{4B7CCF63-FBD1-02C0-55E9-BF3309C07D81}"/>
          </ac:spMkLst>
        </pc:spChg>
        <pc:spChg chg="add mod">
          <ac:chgData name="Longkoi H [Probationer]" userId="d4e83e2c-c7d3-4fe6-ab74-6155d2bb8c63" providerId="ADAL" clId="{85C4EBEC-404E-46BC-B68B-D507855FBC7A}" dt="2024-06-12T13:54:10.689" v="2455" actId="20577"/>
          <ac:spMkLst>
            <pc:docMk/>
            <pc:sldMk cId="0" sldId="316"/>
            <ac:spMk id="26" creationId="{328D4680-FEF9-9CF1-38D5-CB297726C765}"/>
          </ac:spMkLst>
        </pc:spChg>
        <pc:spChg chg="del">
          <ac:chgData name="Longkoi H [Probationer]" userId="d4e83e2c-c7d3-4fe6-ab74-6155d2bb8c63" providerId="ADAL" clId="{85C4EBEC-404E-46BC-B68B-D507855FBC7A}" dt="2024-06-12T13:49:37.547" v="2447" actId="478"/>
          <ac:spMkLst>
            <pc:docMk/>
            <pc:sldMk cId="0" sldId="316"/>
            <ac:spMk id="5146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3:49:37.547" v="2447" actId="478"/>
          <ac:spMkLst>
            <pc:docMk/>
            <pc:sldMk cId="0" sldId="316"/>
            <ac:spMk id="5147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3:49:37.547" v="2447" actId="478"/>
          <ac:spMkLst>
            <pc:docMk/>
            <pc:sldMk cId="0" sldId="316"/>
            <ac:spMk id="5148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3:49:37.547" v="2447" actId="478"/>
          <ac:spMkLst>
            <pc:docMk/>
            <pc:sldMk cId="0" sldId="316"/>
            <ac:spMk id="5149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3:49:37.547" v="2447" actId="478"/>
          <ac:spMkLst>
            <pc:docMk/>
            <pc:sldMk cId="0" sldId="316"/>
            <ac:spMk id="5150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3:49:37.547" v="2447" actId="478"/>
          <ac:spMkLst>
            <pc:docMk/>
            <pc:sldMk cId="0" sldId="316"/>
            <ac:spMk id="5151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3:49:37.547" v="2447" actId="478"/>
          <ac:spMkLst>
            <pc:docMk/>
            <pc:sldMk cId="0" sldId="316"/>
            <ac:spMk id="5152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3:49:37.547" v="2447" actId="478"/>
          <ac:spMkLst>
            <pc:docMk/>
            <pc:sldMk cId="0" sldId="316"/>
            <ac:spMk id="5153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3:49:37.547" v="2447" actId="478"/>
          <ac:spMkLst>
            <pc:docMk/>
            <pc:sldMk cId="0" sldId="316"/>
            <ac:spMk id="5154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3:49:37.547" v="2447" actId="478"/>
          <ac:spMkLst>
            <pc:docMk/>
            <pc:sldMk cId="0" sldId="316"/>
            <ac:spMk id="5164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3:49:37.547" v="2447" actId="478"/>
          <ac:spMkLst>
            <pc:docMk/>
            <pc:sldMk cId="0" sldId="316"/>
            <ac:spMk id="5165" creationId="{00000000-0000-0000-0000-000000000000}"/>
          </ac:spMkLst>
        </pc:spChg>
        <pc:grpChg chg="add mod">
          <ac:chgData name="Longkoi H [Probationer]" userId="d4e83e2c-c7d3-4fe6-ab74-6155d2bb8c63" providerId="ADAL" clId="{85C4EBEC-404E-46BC-B68B-D507855FBC7A}" dt="2024-06-12T13:49:47.861" v="2450"/>
          <ac:grpSpMkLst>
            <pc:docMk/>
            <pc:sldMk cId="0" sldId="316"/>
            <ac:grpSpMk id="15" creationId="{096C0C21-739A-BEEB-5DE6-6B0FA9D70057}"/>
          </ac:grpSpMkLst>
        </pc:grpChg>
        <pc:grpChg chg="add del mod">
          <ac:chgData name="Longkoi H [Probationer]" userId="d4e83e2c-c7d3-4fe6-ab74-6155d2bb8c63" providerId="ADAL" clId="{85C4EBEC-404E-46BC-B68B-D507855FBC7A}" dt="2024-06-12T13:55:34.320" v="2468" actId="478"/>
          <ac:grpSpMkLst>
            <pc:docMk/>
            <pc:sldMk cId="0" sldId="316"/>
            <ac:grpSpMk id="18" creationId="{3D4B2E79-041B-00DA-ED34-1876003433C8}"/>
          </ac:grpSpMkLst>
        </pc:grpChg>
        <pc:grpChg chg="del mod">
          <ac:chgData name="Longkoi H [Probationer]" userId="d4e83e2c-c7d3-4fe6-ab74-6155d2bb8c63" providerId="ADAL" clId="{85C4EBEC-404E-46BC-B68B-D507855FBC7A}" dt="2024-06-12T13:49:37.547" v="2447" actId="478"/>
          <ac:grpSpMkLst>
            <pc:docMk/>
            <pc:sldMk cId="0" sldId="316"/>
            <ac:grpSpMk id="5155" creationId="{00000000-0000-0000-0000-000000000000}"/>
          </ac:grpSpMkLst>
        </pc:grpChg>
        <pc:grpChg chg="del">
          <ac:chgData name="Longkoi H [Probationer]" userId="d4e83e2c-c7d3-4fe6-ab74-6155d2bb8c63" providerId="ADAL" clId="{85C4EBEC-404E-46BC-B68B-D507855FBC7A}" dt="2024-06-12T13:49:37.547" v="2447" actId="478"/>
          <ac:grpSpMkLst>
            <pc:docMk/>
            <pc:sldMk cId="0" sldId="316"/>
            <ac:grpSpMk id="5159" creationId="{00000000-0000-0000-0000-000000000000}"/>
          </ac:grpSpMkLst>
        </pc:grpChg>
        <pc:picChg chg="mod">
          <ac:chgData name="Longkoi H [Probationer]" userId="d4e83e2c-c7d3-4fe6-ab74-6155d2bb8c63" providerId="ADAL" clId="{85C4EBEC-404E-46BC-B68B-D507855FBC7A}" dt="2024-06-12T13:49:47.861" v="2450"/>
          <ac:picMkLst>
            <pc:docMk/>
            <pc:sldMk cId="0" sldId="316"/>
            <ac:picMk id="17" creationId="{EDD55079-11C1-28BA-D015-34CA16D1F7CE}"/>
          </ac:picMkLst>
        </pc:picChg>
        <pc:picChg chg="add del mod">
          <ac:chgData name="Longkoi H [Probationer]" userId="d4e83e2c-c7d3-4fe6-ab74-6155d2bb8c63" providerId="ADAL" clId="{85C4EBEC-404E-46BC-B68B-D507855FBC7A}" dt="2024-06-12T13:55:32.711" v="2467" actId="478"/>
          <ac:picMkLst>
            <pc:docMk/>
            <pc:sldMk cId="0" sldId="316"/>
            <ac:picMk id="23" creationId="{E0898ED4-26B8-C8AA-1A6E-4351F0AB41C8}"/>
          </ac:picMkLst>
        </pc:picChg>
        <pc:picChg chg="del">
          <ac:chgData name="Longkoi H [Probationer]" userId="d4e83e2c-c7d3-4fe6-ab74-6155d2bb8c63" providerId="ADAL" clId="{85C4EBEC-404E-46BC-B68B-D507855FBC7A}" dt="2024-06-12T13:49:37.547" v="2447" actId="478"/>
          <ac:picMkLst>
            <pc:docMk/>
            <pc:sldMk cId="0" sldId="316"/>
            <ac:picMk id="5158" creationId="{00000000-0000-0000-0000-000000000000}"/>
          </ac:picMkLst>
        </pc:picChg>
        <pc:picChg chg="del">
          <ac:chgData name="Longkoi H [Probationer]" userId="d4e83e2c-c7d3-4fe6-ab74-6155d2bb8c63" providerId="ADAL" clId="{85C4EBEC-404E-46BC-B68B-D507855FBC7A}" dt="2024-06-12T13:49:37.547" v="2447" actId="478"/>
          <ac:picMkLst>
            <pc:docMk/>
            <pc:sldMk cId="0" sldId="316"/>
            <ac:picMk id="5167" creationId="{00000000-0000-0000-0000-000000000000}"/>
          </ac:picMkLst>
        </pc:picChg>
        <pc:cxnChg chg="mod">
          <ac:chgData name="Longkoi H [Probationer]" userId="d4e83e2c-c7d3-4fe6-ab74-6155d2bb8c63" providerId="ADAL" clId="{85C4EBEC-404E-46BC-B68B-D507855FBC7A}" dt="2024-06-12T13:49:47.861" v="2450"/>
          <ac:cxnSpMkLst>
            <pc:docMk/>
            <pc:sldMk cId="0" sldId="316"/>
            <ac:cxnSpMk id="21" creationId="{5F8BFFA8-F5CE-4929-B13A-94B0BD9D8965}"/>
          </ac:cxnSpMkLst>
        </pc:cxnChg>
        <pc:cxnChg chg="del mod">
          <ac:chgData name="Longkoi H [Probationer]" userId="d4e83e2c-c7d3-4fe6-ab74-6155d2bb8c63" providerId="ADAL" clId="{85C4EBEC-404E-46BC-B68B-D507855FBC7A}" dt="2024-06-12T13:49:37.547" v="2447" actId="478"/>
          <ac:cxnSpMkLst>
            <pc:docMk/>
            <pc:sldMk cId="0" sldId="316"/>
            <ac:cxnSpMk id="5166" creationId="{00000000-0000-0000-0000-000000000000}"/>
          </ac:cxnSpMkLst>
        </pc:cxnChg>
      </pc:sldChg>
      <pc:sldChg chg="del">
        <pc:chgData name="Longkoi H [Probationer]" userId="d4e83e2c-c7d3-4fe6-ab74-6155d2bb8c63" providerId="ADAL" clId="{85C4EBEC-404E-46BC-B68B-D507855FBC7A}" dt="2024-06-12T13:57:07.726" v="2497" actId="47"/>
        <pc:sldMkLst>
          <pc:docMk/>
          <pc:sldMk cId="0" sldId="317"/>
        </pc:sldMkLst>
      </pc:sldChg>
      <pc:sldChg chg="addSp delSp modSp mod chgLayout">
        <pc:chgData name="Longkoi H [Probationer]" userId="d4e83e2c-c7d3-4fe6-ab74-6155d2bb8c63" providerId="ADAL" clId="{85C4EBEC-404E-46BC-B68B-D507855FBC7A}" dt="2024-06-12T14:44:50.974" v="4566" actId="120"/>
        <pc:sldMkLst>
          <pc:docMk/>
          <pc:sldMk cId="0" sldId="318"/>
        </pc:sldMkLst>
        <pc:spChg chg="del">
          <ac:chgData name="Longkoi H [Probationer]" userId="d4e83e2c-c7d3-4fe6-ab74-6155d2bb8c63" providerId="ADAL" clId="{85C4EBEC-404E-46BC-B68B-D507855FBC7A}" dt="2024-06-12T14:00:00.189" v="2498" actId="478"/>
          <ac:spMkLst>
            <pc:docMk/>
            <pc:sldMk cId="0" sldId="318"/>
            <ac:spMk id="2" creationId="{5EB1A25D-BAF6-9675-5B01-C9B23FD25E0A}"/>
          </ac:spMkLst>
        </pc:spChg>
        <pc:spChg chg="add del mod">
          <ac:chgData name="Longkoi H [Probationer]" userId="d4e83e2c-c7d3-4fe6-ab74-6155d2bb8c63" providerId="ADAL" clId="{85C4EBEC-404E-46BC-B68B-D507855FBC7A}" dt="2024-06-12T14:00:03.975" v="2500" actId="6264"/>
          <ac:spMkLst>
            <pc:docMk/>
            <pc:sldMk cId="0" sldId="318"/>
            <ac:spMk id="3" creationId="{A25E3D58-75D3-BA77-DEA0-DA8D8397F5AB}"/>
          </ac:spMkLst>
        </pc:spChg>
        <pc:spChg chg="add del mod ord">
          <ac:chgData name="Longkoi H [Probationer]" userId="d4e83e2c-c7d3-4fe6-ab74-6155d2bb8c63" providerId="ADAL" clId="{85C4EBEC-404E-46BC-B68B-D507855FBC7A}" dt="2024-06-12T14:00:51.142" v="2505" actId="478"/>
          <ac:spMkLst>
            <pc:docMk/>
            <pc:sldMk cId="0" sldId="318"/>
            <ac:spMk id="4" creationId="{2688FC3F-47CD-9C9B-AA7C-1DC31F554929}"/>
          </ac:spMkLst>
        </pc:spChg>
        <pc:spChg chg="add mod">
          <ac:chgData name="Longkoi H [Probationer]" userId="d4e83e2c-c7d3-4fe6-ab74-6155d2bb8c63" providerId="ADAL" clId="{85C4EBEC-404E-46BC-B68B-D507855FBC7A}" dt="2024-06-12T14:01:18.958" v="2513" actId="12789"/>
          <ac:spMkLst>
            <pc:docMk/>
            <pc:sldMk cId="0" sldId="318"/>
            <ac:spMk id="5" creationId="{4B380BF2-BB83-4454-849D-532D043AB0E6}"/>
          </ac:spMkLst>
        </pc:spChg>
        <pc:spChg chg="add mod ord">
          <ac:chgData name="Longkoi H [Probationer]" userId="d4e83e2c-c7d3-4fe6-ab74-6155d2bb8c63" providerId="ADAL" clId="{85C4EBEC-404E-46BC-B68B-D507855FBC7A}" dt="2024-06-12T14:07:08.353" v="2757" actId="554"/>
          <ac:spMkLst>
            <pc:docMk/>
            <pc:sldMk cId="0" sldId="318"/>
            <ac:spMk id="6" creationId="{EEDF09EF-1E71-8FA4-BEC2-D643A7F12879}"/>
          </ac:spMkLst>
        </pc:spChg>
        <pc:spChg chg="add mod">
          <ac:chgData name="Longkoi H [Probationer]" userId="d4e83e2c-c7d3-4fe6-ab74-6155d2bb8c63" providerId="ADAL" clId="{85C4EBEC-404E-46BC-B68B-D507855FBC7A}" dt="2024-06-12T14:09:07.374" v="2904"/>
          <ac:spMkLst>
            <pc:docMk/>
            <pc:sldMk cId="0" sldId="318"/>
            <ac:spMk id="7" creationId="{9807A9B3-B05C-308F-C732-5DD777B3D135}"/>
          </ac:spMkLst>
        </pc:spChg>
        <pc:spChg chg="add mod">
          <ac:chgData name="Longkoi H [Probationer]" userId="d4e83e2c-c7d3-4fe6-ab74-6155d2bb8c63" providerId="ADAL" clId="{85C4EBEC-404E-46BC-B68B-D507855FBC7A}" dt="2024-06-12T14:44:47.742" v="4564" actId="120"/>
          <ac:spMkLst>
            <pc:docMk/>
            <pc:sldMk cId="0" sldId="318"/>
            <ac:spMk id="8" creationId="{4BDAC46D-8688-B864-D484-30816CE575BC}"/>
          </ac:spMkLst>
        </pc:spChg>
        <pc:spChg chg="add mod">
          <ac:chgData name="Longkoi H [Probationer]" userId="d4e83e2c-c7d3-4fe6-ab74-6155d2bb8c63" providerId="ADAL" clId="{85C4EBEC-404E-46BC-B68B-D507855FBC7A}" dt="2024-06-12T14:44:50.974" v="4566" actId="120"/>
          <ac:spMkLst>
            <pc:docMk/>
            <pc:sldMk cId="0" sldId="318"/>
            <ac:spMk id="9" creationId="{40859B9C-FD0C-3C20-8AA1-64AE096F9BED}"/>
          </ac:spMkLst>
        </pc:spChg>
        <pc:spChg chg="add mod">
          <ac:chgData name="Longkoi H [Probationer]" userId="d4e83e2c-c7d3-4fe6-ab74-6155d2bb8c63" providerId="ADAL" clId="{85C4EBEC-404E-46BC-B68B-D507855FBC7A}" dt="2024-06-12T14:04:09.089" v="2561" actId="571"/>
          <ac:spMkLst>
            <pc:docMk/>
            <pc:sldMk cId="0" sldId="318"/>
            <ac:spMk id="13" creationId="{264F86C6-1D2F-A60C-0BC9-92D955AF2456}"/>
          </ac:spMkLst>
        </pc:spChg>
        <pc:spChg chg="add mod">
          <ac:chgData name="Longkoi H [Probationer]" userId="d4e83e2c-c7d3-4fe6-ab74-6155d2bb8c63" providerId="ADAL" clId="{85C4EBEC-404E-46BC-B68B-D507855FBC7A}" dt="2024-06-12T14:10:13.841" v="2954" actId="12789"/>
          <ac:spMkLst>
            <pc:docMk/>
            <pc:sldMk cId="0" sldId="318"/>
            <ac:spMk id="16" creationId="{088BA2F6-B8CA-38CE-F6B6-03951B5CFF1B}"/>
          </ac:spMkLst>
        </pc:spChg>
        <pc:spChg chg="add mod">
          <ac:chgData name="Longkoi H [Probationer]" userId="d4e83e2c-c7d3-4fe6-ab74-6155d2bb8c63" providerId="ADAL" clId="{85C4EBEC-404E-46BC-B68B-D507855FBC7A}" dt="2024-06-12T14:08:33.211" v="2885" actId="1076"/>
          <ac:spMkLst>
            <pc:docMk/>
            <pc:sldMk cId="0" sldId="318"/>
            <ac:spMk id="17" creationId="{7900B5A2-AF50-B891-C3A5-9CBBAA1C7D95}"/>
          </ac:spMkLst>
        </pc:spChg>
        <pc:spChg chg="add mod">
          <ac:chgData name="Longkoi H [Probationer]" userId="d4e83e2c-c7d3-4fe6-ab74-6155d2bb8c63" providerId="ADAL" clId="{85C4EBEC-404E-46BC-B68B-D507855FBC7A}" dt="2024-06-12T14:44:47.742" v="4564" actId="120"/>
          <ac:spMkLst>
            <pc:docMk/>
            <pc:sldMk cId="0" sldId="318"/>
            <ac:spMk id="18" creationId="{BA1CAD2F-8DAA-4C64-F3EF-54DEAADCB666}"/>
          </ac:spMkLst>
        </pc:spChg>
        <pc:spChg chg="add mod">
          <ac:chgData name="Longkoi H [Probationer]" userId="d4e83e2c-c7d3-4fe6-ab74-6155d2bb8c63" providerId="ADAL" clId="{85C4EBEC-404E-46BC-B68B-D507855FBC7A}" dt="2024-06-12T14:44:50.974" v="4566" actId="120"/>
          <ac:spMkLst>
            <pc:docMk/>
            <pc:sldMk cId="0" sldId="318"/>
            <ac:spMk id="19" creationId="{1549C34F-68F0-BF5A-0B2A-A59290C4F678}"/>
          </ac:spMkLst>
        </pc:spChg>
        <pc:spChg chg="add mod">
          <ac:chgData name="Longkoi H [Probationer]" userId="d4e83e2c-c7d3-4fe6-ab74-6155d2bb8c63" providerId="ADAL" clId="{85C4EBEC-404E-46BC-B68B-D507855FBC7A}" dt="2024-06-12T14:10:04.440" v="2950" actId="12789"/>
          <ac:spMkLst>
            <pc:docMk/>
            <pc:sldMk cId="0" sldId="318"/>
            <ac:spMk id="20" creationId="{E63079AD-F362-397A-28DE-CD79C82447F4}"/>
          </ac:spMkLst>
        </pc:spChg>
        <pc:spChg chg="add mod">
          <ac:chgData name="Longkoi H [Probationer]" userId="d4e83e2c-c7d3-4fe6-ab74-6155d2bb8c63" providerId="ADAL" clId="{85C4EBEC-404E-46BC-B68B-D507855FBC7A}" dt="2024-06-12T14:08:33.211" v="2885" actId="1076"/>
          <ac:spMkLst>
            <pc:docMk/>
            <pc:sldMk cId="0" sldId="318"/>
            <ac:spMk id="21" creationId="{385E313D-3BD2-49E2-EE10-04B3F73ACF87}"/>
          </ac:spMkLst>
        </pc:spChg>
        <pc:spChg chg="add mod">
          <ac:chgData name="Longkoi H [Probationer]" userId="d4e83e2c-c7d3-4fe6-ab74-6155d2bb8c63" providerId="ADAL" clId="{85C4EBEC-404E-46BC-B68B-D507855FBC7A}" dt="2024-06-12T14:10:11.290" v="2952" actId="12789"/>
          <ac:spMkLst>
            <pc:docMk/>
            <pc:sldMk cId="0" sldId="318"/>
            <ac:spMk id="22" creationId="{2CF7F0BA-782D-E723-343D-E5755B6A6FF6}"/>
          </ac:spMkLst>
        </pc:spChg>
        <pc:spChg chg="add mod">
          <ac:chgData name="Longkoi H [Probationer]" userId="d4e83e2c-c7d3-4fe6-ab74-6155d2bb8c63" providerId="ADAL" clId="{85C4EBEC-404E-46BC-B68B-D507855FBC7A}" dt="2024-06-12T14:08:33.211" v="2885" actId="1076"/>
          <ac:spMkLst>
            <pc:docMk/>
            <pc:sldMk cId="0" sldId="318"/>
            <ac:spMk id="23" creationId="{631B0CAE-F7B4-7415-5A30-8EC2655E82A5}"/>
          </ac:spMkLst>
        </pc:spChg>
        <pc:spChg chg="add del mod">
          <ac:chgData name="Longkoi H [Probationer]" userId="d4e83e2c-c7d3-4fe6-ab74-6155d2bb8c63" providerId="ADAL" clId="{85C4EBEC-404E-46BC-B68B-D507855FBC7A}" dt="2024-06-12T14:08:48.747" v="2892" actId="478"/>
          <ac:spMkLst>
            <pc:docMk/>
            <pc:sldMk cId="0" sldId="318"/>
            <ac:spMk id="24" creationId="{B377466F-797F-D6C1-056C-9459C3B68471}"/>
          </ac:spMkLst>
        </pc:spChg>
        <pc:spChg chg="add del mod">
          <ac:chgData name="Longkoi H [Probationer]" userId="d4e83e2c-c7d3-4fe6-ab74-6155d2bb8c63" providerId="ADAL" clId="{85C4EBEC-404E-46BC-B68B-D507855FBC7A}" dt="2024-06-12T14:07:01.598" v="2745" actId="478"/>
          <ac:spMkLst>
            <pc:docMk/>
            <pc:sldMk cId="0" sldId="318"/>
            <ac:spMk id="25" creationId="{995A35DC-2845-CF3B-7403-43A9D06A42B0}"/>
          </ac:spMkLst>
        </pc:spChg>
        <pc:spChg chg="add del mod">
          <ac:chgData name="Longkoi H [Probationer]" userId="d4e83e2c-c7d3-4fe6-ab74-6155d2bb8c63" providerId="ADAL" clId="{85C4EBEC-404E-46BC-B68B-D507855FBC7A}" dt="2024-06-12T14:07:19.899" v="2760"/>
          <ac:spMkLst>
            <pc:docMk/>
            <pc:sldMk cId="0" sldId="318"/>
            <ac:spMk id="26" creationId="{78CE48FE-A5BB-C797-4911-70A322C50EED}"/>
          </ac:spMkLst>
        </pc:spChg>
        <pc:spChg chg="add del mod">
          <ac:chgData name="Longkoi H [Probationer]" userId="d4e83e2c-c7d3-4fe6-ab74-6155d2bb8c63" providerId="ADAL" clId="{85C4EBEC-404E-46BC-B68B-D507855FBC7A}" dt="2024-06-12T14:07:19.920" v="2771"/>
          <ac:spMkLst>
            <pc:docMk/>
            <pc:sldMk cId="0" sldId="318"/>
            <ac:spMk id="27" creationId="{EF8640BA-5C4F-11B3-44D3-91EAF100A37F}"/>
          </ac:spMkLst>
        </pc:spChg>
        <pc:spChg chg="add del">
          <ac:chgData name="Longkoi H [Probationer]" userId="d4e83e2c-c7d3-4fe6-ab74-6155d2bb8c63" providerId="ADAL" clId="{85C4EBEC-404E-46BC-B68B-D507855FBC7A}" dt="2024-06-12T14:07:19.920" v="2771"/>
          <ac:spMkLst>
            <pc:docMk/>
            <pc:sldMk cId="0" sldId="318"/>
            <ac:spMk id="28" creationId="{B6322A4F-8EB2-5F38-B5D6-EF3F0B37C1F8}"/>
          </ac:spMkLst>
        </pc:spChg>
        <pc:spChg chg="del mod">
          <ac:chgData name="Longkoi H [Probationer]" userId="d4e83e2c-c7d3-4fe6-ab74-6155d2bb8c63" providerId="ADAL" clId="{85C4EBEC-404E-46BC-B68B-D507855FBC7A}" dt="2024-06-12T14:08:47.717" v="2890" actId="478"/>
          <ac:spMkLst>
            <pc:docMk/>
            <pc:sldMk cId="0" sldId="318"/>
            <ac:spMk id="29" creationId="{B8D0C4BE-BBD6-F2A2-A3C7-6BD52E244645}"/>
          </ac:spMkLst>
        </pc:spChg>
        <pc:spChg chg="add del mod">
          <ac:chgData name="Longkoi H [Probationer]" userId="d4e83e2c-c7d3-4fe6-ab74-6155d2bb8c63" providerId="ADAL" clId="{85C4EBEC-404E-46BC-B68B-D507855FBC7A}" dt="2024-06-12T14:07:19.937" v="2782"/>
          <ac:spMkLst>
            <pc:docMk/>
            <pc:sldMk cId="0" sldId="318"/>
            <ac:spMk id="30" creationId="{F90EAA7C-9C38-3213-C9A3-8907DA76A5E0}"/>
          </ac:spMkLst>
        </pc:spChg>
        <pc:spChg chg="add del">
          <ac:chgData name="Longkoi H [Probationer]" userId="d4e83e2c-c7d3-4fe6-ab74-6155d2bb8c63" providerId="ADAL" clId="{85C4EBEC-404E-46BC-B68B-D507855FBC7A}" dt="2024-06-12T14:07:19.937" v="2782"/>
          <ac:spMkLst>
            <pc:docMk/>
            <pc:sldMk cId="0" sldId="318"/>
            <ac:spMk id="31" creationId="{D5121CBB-FA3E-3FC9-0DEA-5CA14E64597B}"/>
          </ac:spMkLst>
        </pc:spChg>
        <pc:spChg chg="del mod">
          <ac:chgData name="Longkoi H [Probationer]" userId="d4e83e2c-c7d3-4fe6-ab74-6155d2bb8c63" providerId="ADAL" clId="{85C4EBEC-404E-46BC-B68B-D507855FBC7A}" dt="2024-06-12T14:08:47.031" v="2889" actId="478"/>
          <ac:spMkLst>
            <pc:docMk/>
            <pc:sldMk cId="0" sldId="318"/>
            <ac:spMk id="32" creationId="{114CC8D3-18B1-DF53-9456-C563D1417F03}"/>
          </ac:spMkLst>
        </pc:spChg>
        <pc:spChg chg="add del mod">
          <ac:chgData name="Longkoi H [Probationer]" userId="d4e83e2c-c7d3-4fe6-ab74-6155d2bb8c63" providerId="ADAL" clId="{85C4EBEC-404E-46BC-B68B-D507855FBC7A}" dt="2024-06-12T14:07:19.964" v="2793"/>
          <ac:spMkLst>
            <pc:docMk/>
            <pc:sldMk cId="0" sldId="318"/>
            <ac:spMk id="33" creationId="{BF72B0AD-9143-3993-12B5-AE5E58A0E451}"/>
          </ac:spMkLst>
        </pc:spChg>
        <pc:spChg chg="add del">
          <ac:chgData name="Longkoi H [Probationer]" userId="d4e83e2c-c7d3-4fe6-ab74-6155d2bb8c63" providerId="ADAL" clId="{85C4EBEC-404E-46BC-B68B-D507855FBC7A}" dt="2024-06-12T14:07:19.964" v="2793"/>
          <ac:spMkLst>
            <pc:docMk/>
            <pc:sldMk cId="0" sldId="318"/>
            <ac:spMk id="34" creationId="{A067C54D-0535-BE1E-51C5-DB83BDE3DFCF}"/>
          </ac:spMkLst>
        </pc:spChg>
        <pc:spChg chg="del mod">
          <ac:chgData name="Longkoi H [Probationer]" userId="d4e83e2c-c7d3-4fe6-ab74-6155d2bb8c63" providerId="ADAL" clId="{85C4EBEC-404E-46BC-B68B-D507855FBC7A}" dt="2024-06-12T14:08:47.927" v="2891" actId="478"/>
          <ac:spMkLst>
            <pc:docMk/>
            <pc:sldMk cId="0" sldId="318"/>
            <ac:spMk id="35" creationId="{82B9D2E8-C0E4-CCA0-FF17-697B0C456A52}"/>
          </ac:spMkLst>
        </pc:spChg>
        <pc:spChg chg="add del mod">
          <ac:chgData name="Longkoi H [Probationer]" userId="d4e83e2c-c7d3-4fe6-ab74-6155d2bb8c63" providerId="ADAL" clId="{85C4EBEC-404E-46BC-B68B-D507855FBC7A}" dt="2024-06-12T14:07:19.982" v="2804"/>
          <ac:spMkLst>
            <pc:docMk/>
            <pc:sldMk cId="0" sldId="318"/>
            <ac:spMk id="36" creationId="{1CBBF02B-90C3-F955-D075-BB651165D8FE}"/>
          </ac:spMkLst>
        </pc:spChg>
        <pc:spChg chg="add del">
          <ac:chgData name="Longkoi H [Probationer]" userId="d4e83e2c-c7d3-4fe6-ab74-6155d2bb8c63" providerId="ADAL" clId="{85C4EBEC-404E-46BC-B68B-D507855FBC7A}" dt="2024-06-12T14:07:19.982" v="2804"/>
          <ac:spMkLst>
            <pc:docMk/>
            <pc:sldMk cId="0" sldId="318"/>
            <ac:spMk id="37" creationId="{69A90E47-82A5-9A29-738D-8D65273CC21E}"/>
          </ac:spMkLst>
        </pc:spChg>
        <pc:spChg chg="del mod">
          <ac:chgData name="Longkoi H [Probationer]" userId="d4e83e2c-c7d3-4fe6-ab74-6155d2bb8c63" providerId="ADAL" clId="{85C4EBEC-404E-46BC-B68B-D507855FBC7A}" dt="2024-06-12T14:08:45.756" v="2888" actId="478"/>
          <ac:spMkLst>
            <pc:docMk/>
            <pc:sldMk cId="0" sldId="318"/>
            <ac:spMk id="38" creationId="{8654BBC9-B5DE-33E7-595B-A0F84D0E7E4E}"/>
          </ac:spMkLst>
        </pc:spChg>
        <pc:spChg chg="add mod">
          <ac:chgData name="Longkoi H [Probationer]" userId="d4e83e2c-c7d3-4fe6-ab74-6155d2bb8c63" providerId="ADAL" clId="{85C4EBEC-404E-46BC-B68B-D507855FBC7A}" dt="2024-06-12T14:10:25.967" v="2996"/>
          <ac:spMkLst>
            <pc:docMk/>
            <pc:sldMk cId="0" sldId="318"/>
            <ac:spMk id="51" creationId="{0361A59A-9FAE-F1EE-7914-23C784BFD36E}"/>
          </ac:spMkLst>
        </pc:spChg>
        <pc:spChg chg="add mod">
          <ac:chgData name="Longkoi H [Probationer]" userId="d4e83e2c-c7d3-4fe6-ab74-6155d2bb8c63" providerId="ADAL" clId="{85C4EBEC-404E-46BC-B68B-D507855FBC7A}" dt="2024-06-12T14:10:25.966" v="2994"/>
          <ac:spMkLst>
            <pc:docMk/>
            <pc:sldMk cId="0" sldId="318"/>
            <ac:spMk id="52" creationId="{DD997731-DC30-3707-0504-96803ED40796}"/>
          </ac:spMkLst>
        </pc:spChg>
        <pc:spChg chg="add mod">
          <ac:chgData name="Longkoi H [Probationer]" userId="d4e83e2c-c7d3-4fe6-ab74-6155d2bb8c63" providerId="ADAL" clId="{85C4EBEC-404E-46BC-B68B-D507855FBC7A}" dt="2024-06-12T14:10:25.966" v="2992"/>
          <ac:spMkLst>
            <pc:docMk/>
            <pc:sldMk cId="0" sldId="318"/>
            <ac:spMk id="53" creationId="{FE1081E3-BDCF-AB79-D696-5F69ED67F444}"/>
          </ac:spMkLst>
        </pc:spChg>
        <pc:spChg chg="add mod">
          <ac:chgData name="Longkoi H [Probationer]" userId="d4e83e2c-c7d3-4fe6-ab74-6155d2bb8c63" providerId="ADAL" clId="{85C4EBEC-404E-46BC-B68B-D507855FBC7A}" dt="2024-06-12T14:10:25.965" v="2990"/>
          <ac:spMkLst>
            <pc:docMk/>
            <pc:sldMk cId="0" sldId="318"/>
            <ac:spMk id="54" creationId="{371A1E6D-026A-C775-7EB8-A7AF8D84C407}"/>
          </ac:spMkLst>
        </pc:spChg>
        <pc:spChg chg="mod">
          <ac:chgData name="Longkoi H [Probationer]" userId="d4e83e2c-c7d3-4fe6-ab74-6155d2bb8c63" providerId="ADAL" clId="{85C4EBEC-404E-46BC-B68B-D507855FBC7A}" dt="2024-06-12T14:11:20.770" v="2999"/>
          <ac:spMkLst>
            <pc:docMk/>
            <pc:sldMk cId="0" sldId="318"/>
            <ac:spMk id="57" creationId="{61F549B4-504B-A6B8-E12B-0BBD59F3813D}"/>
          </ac:spMkLst>
        </pc:spChg>
        <pc:spChg chg="mod">
          <ac:chgData name="Longkoi H [Probationer]" userId="d4e83e2c-c7d3-4fe6-ab74-6155d2bb8c63" providerId="ADAL" clId="{85C4EBEC-404E-46BC-B68B-D507855FBC7A}" dt="2024-06-12T14:11:20.770" v="2999"/>
          <ac:spMkLst>
            <pc:docMk/>
            <pc:sldMk cId="0" sldId="318"/>
            <ac:spMk id="58" creationId="{5A2BD227-61FB-6B9E-5075-F4261F820634}"/>
          </ac:spMkLst>
        </pc:spChg>
        <pc:spChg chg="mod">
          <ac:chgData name="Longkoi H [Probationer]" userId="d4e83e2c-c7d3-4fe6-ab74-6155d2bb8c63" providerId="ADAL" clId="{85C4EBEC-404E-46BC-B68B-D507855FBC7A}" dt="2024-06-12T14:11:20.770" v="2999"/>
          <ac:spMkLst>
            <pc:docMk/>
            <pc:sldMk cId="0" sldId="318"/>
            <ac:spMk id="59" creationId="{7854FCD4-F39E-F9FF-B234-34231286448F}"/>
          </ac:spMkLst>
        </pc:spChg>
        <pc:spChg chg="mod">
          <ac:chgData name="Longkoi H [Probationer]" userId="d4e83e2c-c7d3-4fe6-ab74-6155d2bb8c63" providerId="ADAL" clId="{85C4EBEC-404E-46BC-B68B-D507855FBC7A}" dt="2024-06-12T14:11:20.770" v="2999"/>
          <ac:spMkLst>
            <pc:docMk/>
            <pc:sldMk cId="0" sldId="318"/>
            <ac:spMk id="60" creationId="{AD2635C9-8945-A132-250F-D04F44BADA41}"/>
          </ac:spMkLst>
        </pc:spChg>
        <pc:spChg chg="mod">
          <ac:chgData name="Longkoi H [Probationer]" userId="d4e83e2c-c7d3-4fe6-ab74-6155d2bb8c63" providerId="ADAL" clId="{85C4EBEC-404E-46BC-B68B-D507855FBC7A}" dt="2024-06-12T14:11:20.770" v="2999"/>
          <ac:spMkLst>
            <pc:docMk/>
            <pc:sldMk cId="0" sldId="318"/>
            <ac:spMk id="61" creationId="{E8A45B6C-97FE-6055-1547-989C96871B47}"/>
          </ac:spMkLst>
        </pc:spChg>
        <pc:spChg chg="mod">
          <ac:chgData name="Longkoi H [Probationer]" userId="d4e83e2c-c7d3-4fe6-ab74-6155d2bb8c63" providerId="ADAL" clId="{85C4EBEC-404E-46BC-B68B-D507855FBC7A}" dt="2024-06-12T14:11:20.770" v="2999"/>
          <ac:spMkLst>
            <pc:docMk/>
            <pc:sldMk cId="0" sldId="318"/>
            <ac:spMk id="5184" creationId="{73945F4F-F2B0-7DBB-F22D-26FECE377936}"/>
          </ac:spMkLst>
        </pc:spChg>
        <pc:spChg chg="mod">
          <ac:chgData name="Longkoi H [Probationer]" userId="d4e83e2c-c7d3-4fe6-ab74-6155d2bb8c63" providerId="ADAL" clId="{85C4EBEC-404E-46BC-B68B-D507855FBC7A}" dt="2024-06-12T14:11:20.770" v="2999"/>
          <ac:spMkLst>
            <pc:docMk/>
            <pc:sldMk cId="0" sldId="318"/>
            <ac:spMk id="5185" creationId="{7FFB2F3B-63A1-1563-3EDE-AC999F398DE5}"/>
          </ac:spMkLst>
        </pc:spChg>
        <pc:spChg chg="mod">
          <ac:chgData name="Longkoi H [Probationer]" userId="d4e83e2c-c7d3-4fe6-ab74-6155d2bb8c63" providerId="ADAL" clId="{85C4EBEC-404E-46BC-B68B-D507855FBC7A}" dt="2024-06-12T14:11:20.770" v="2999"/>
          <ac:spMkLst>
            <pc:docMk/>
            <pc:sldMk cId="0" sldId="318"/>
            <ac:spMk id="5186" creationId="{B2725BB9-7C1C-9FC0-4FA5-7879F5119A10}"/>
          </ac:spMkLst>
        </pc:spChg>
        <pc:spChg chg="mod">
          <ac:chgData name="Longkoi H [Probationer]" userId="d4e83e2c-c7d3-4fe6-ab74-6155d2bb8c63" providerId="ADAL" clId="{85C4EBEC-404E-46BC-B68B-D507855FBC7A}" dt="2024-06-12T14:11:20.770" v="2999"/>
          <ac:spMkLst>
            <pc:docMk/>
            <pc:sldMk cId="0" sldId="318"/>
            <ac:spMk id="5187" creationId="{9005829F-F7D4-A8E3-BC8F-F04690AD8B82}"/>
          </ac:spMkLst>
        </pc:spChg>
        <pc:spChg chg="mod">
          <ac:chgData name="Longkoi H [Probationer]" userId="d4e83e2c-c7d3-4fe6-ab74-6155d2bb8c63" providerId="ADAL" clId="{85C4EBEC-404E-46BC-B68B-D507855FBC7A}" dt="2024-06-12T14:11:20.770" v="2999"/>
          <ac:spMkLst>
            <pc:docMk/>
            <pc:sldMk cId="0" sldId="318"/>
            <ac:spMk id="5188" creationId="{F4A94852-D981-DC49-8034-BEA11C97AE6A}"/>
          </ac:spMkLst>
        </pc:spChg>
        <pc:spChg chg="mod">
          <ac:chgData name="Longkoi H [Probationer]" userId="d4e83e2c-c7d3-4fe6-ab74-6155d2bb8c63" providerId="ADAL" clId="{85C4EBEC-404E-46BC-B68B-D507855FBC7A}" dt="2024-06-12T14:11:20.770" v="2999"/>
          <ac:spMkLst>
            <pc:docMk/>
            <pc:sldMk cId="0" sldId="318"/>
            <ac:spMk id="5189" creationId="{ED62F121-7FAC-AB9D-CCB6-D5DD6B3B85C3}"/>
          </ac:spMkLst>
        </pc:spChg>
        <pc:spChg chg="mod">
          <ac:chgData name="Longkoi H [Probationer]" userId="d4e83e2c-c7d3-4fe6-ab74-6155d2bb8c63" providerId="ADAL" clId="{85C4EBEC-404E-46BC-B68B-D507855FBC7A}" dt="2024-06-12T14:11:20.770" v="2999"/>
          <ac:spMkLst>
            <pc:docMk/>
            <pc:sldMk cId="0" sldId="318"/>
            <ac:spMk id="5190" creationId="{92171101-1F64-2934-27C7-7A863B7310AF}"/>
          </ac:spMkLst>
        </pc:spChg>
        <pc:spChg chg="mod">
          <ac:chgData name="Longkoi H [Probationer]" userId="d4e83e2c-c7d3-4fe6-ab74-6155d2bb8c63" providerId="ADAL" clId="{85C4EBEC-404E-46BC-B68B-D507855FBC7A}" dt="2024-06-12T14:11:38.252" v="3003"/>
          <ac:spMkLst>
            <pc:docMk/>
            <pc:sldMk cId="0" sldId="318"/>
            <ac:spMk id="5192" creationId="{E89060CE-D0F8-5CDE-3964-290909A8948A}"/>
          </ac:spMkLst>
        </pc:spChg>
        <pc:spChg chg="del">
          <ac:chgData name="Longkoi H [Probationer]" userId="d4e83e2c-c7d3-4fe6-ab74-6155d2bb8c63" providerId="ADAL" clId="{85C4EBEC-404E-46BC-B68B-D507855FBC7A}" dt="2024-06-12T14:00:00.189" v="2498" actId="478"/>
          <ac:spMkLst>
            <pc:docMk/>
            <pc:sldMk cId="0" sldId="318"/>
            <ac:spMk id="5196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4:00:00.189" v="2498" actId="478"/>
          <ac:spMkLst>
            <pc:docMk/>
            <pc:sldMk cId="0" sldId="318"/>
            <ac:spMk id="5197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4:00:00.189" v="2498" actId="478"/>
          <ac:spMkLst>
            <pc:docMk/>
            <pc:sldMk cId="0" sldId="318"/>
            <ac:spMk id="5198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4:00:00.189" v="2498" actId="478"/>
          <ac:spMkLst>
            <pc:docMk/>
            <pc:sldMk cId="0" sldId="318"/>
            <ac:spMk id="5199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4:00:00.189" v="2498" actId="478"/>
          <ac:spMkLst>
            <pc:docMk/>
            <pc:sldMk cId="0" sldId="318"/>
            <ac:spMk id="5203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4:00:00.189" v="2498" actId="478"/>
          <ac:spMkLst>
            <pc:docMk/>
            <pc:sldMk cId="0" sldId="318"/>
            <ac:spMk id="5213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4:00:00.189" v="2498" actId="478"/>
          <ac:spMkLst>
            <pc:docMk/>
            <pc:sldMk cId="0" sldId="318"/>
            <ac:spMk id="5214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4:00:00.189" v="2498" actId="478"/>
          <ac:spMkLst>
            <pc:docMk/>
            <pc:sldMk cId="0" sldId="318"/>
            <ac:spMk id="5215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4:00:00.189" v="2498" actId="478"/>
          <ac:spMkLst>
            <pc:docMk/>
            <pc:sldMk cId="0" sldId="318"/>
            <ac:spMk id="5216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4:00:00.189" v="2498" actId="478"/>
          <ac:spMkLst>
            <pc:docMk/>
            <pc:sldMk cId="0" sldId="318"/>
            <ac:spMk id="5217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4:00:00.189" v="2498" actId="478"/>
          <ac:spMkLst>
            <pc:docMk/>
            <pc:sldMk cId="0" sldId="318"/>
            <ac:spMk id="5218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4:00:00.189" v="2498" actId="478"/>
          <ac:spMkLst>
            <pc:docMk/>
            <pc:sldMk cId="0" sldId="318"/>
            <ac:spMk id="5219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4:00:00.189" v="2498" actId="478"/>
          <ac:spMkLst>
            <pc:docMk/>
            <pc:sldMk cId="0" sldId="318"/>
            <ac:spMk id="5220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4:00:00.189" v="2498" actId="478"/>
          <ac:spMkLst>
            <pc:docMk/>
            <pc:sldMk cId="0" sldId="318"/>
            <ac:spMk id="5221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4:00:00.189" v="2498" actId="478"/>
          <ac:spMkLst>
            <pc:docMk/>
            <pc:sldMk cId="0" sldId="318"/>
            <ac:spMk id="5222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4:00:00.189" v="2498" actId="478"/>
          <ac:spMkLst>
            <pc:docMk/>
            <pc:sldMk cId="0" sldId="318"/>
            <ac:spMk id="5223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4:00:00.189" v="2498" actId="478"/>
          <ac:spMkLst>
            <pc:docMk/>
            <pc:sldMk cId="0" sldId="318"/>
            <ac:spMk id="5224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4:00:00.189" v="2498" actId="478"/>
          <ac:spMkLst>
            <pc:docMk/>
            <pc:sldMk cId="0" sldId="318"/>
            <ac:spMk id="5225" creationId="{00000000-0000-0000-0000-000000000000}"/>
          </ac:spMkLst>
        </pc:spChg>
        <pc:spChg chg="del">
          <ac:chgData name="Longkoi H [Probationer]" userId="d4e83e2c-c7d3-4fe6-ab74-6155d2bb8c63" providerId="ADAL" clId="{85C4EBEC-404E-46BC-B68B-D507855FBC7A}" dt="2024-06-12T14:00:00.189" v="2498" actId="478"/>
          <ac:spMkLst>
            <pc:docMk/>
            <pc:sldMk cId="0" sldId="318"/>
            <ac:spMk id="5226" creationId="{00000000-0000-0000-0000-000000000000}"/>
          </ac:spMkLst>
        </pc:spChg>
        <pc:grpChg chg="add mod">
          <ac:chgData name="Longkoi H [Probationer]" userId="d4e83e2c-c7d3-4fe6-ab74-6155d2bb8c63" providerId="ADAL" clId="{85C4EBEC-404E-46BC-B68B-D507855FBC7A}" dt="2024-06-12T14:08:59.695" v="2894" actId="164"/>
          <ac:grpSpMkLst>
            <pc:docMk/>
            <pc:sldMk cId="0" sldId="318"/>
            <ac:grpSpMk id="46" creationId="{201CFA57-93BC-13E2-D0BB-24C37FF3A281}"/>
          </ac:grpSpMkLst>
        </pc:grpChg>
        <pc:grpChg chg="add mod">
          <ac:chgData name="Longkoi H [Probationer]" userId="d4e83e2c-c7d3-4fe6-ab74-6155d2bb8c63" providerId="ADAL" clId="{85C4EBEC-404E-46BC-B68B-D507855FBC7A}" dt="2024-06-12T14:10:25.968" v="2998"/>
          <ac:grpSpMkLst>
            <pc:docMk/>
            <pc:sldMk cId="0" sldId="318"/>
            <ac:grpSpMk id="47" creationId="{56B8E4EA-C847-48CE-6FDF-8F43DC5C4BE9}"/>
          </ac:grpSpMkLst>
        </pc:grpChg>
        <pc:grpChg chg="add del mod ord">
          <ac:chgData name="Longkoi H [Probationer]" userId="d4e83e2c-c7d3-4fe6-ab74-6155d2bb8c63" providerId="ADAL" clId="{85C4EBEC-404E-46BC-B68B-D507855FBC7A}" dt="2024-06-12T14:11:30.981" v="3002" actId="478"/>
          <ac:grpSpMkLst>
            <pc:docMk/>
            <pc:sldMk cId="0" sldId="318"/>
            <ac:grpSpMk id="55" creationId="{192DA5DF-8B06-DDC8-0289-0BB34936ACEA}"/>
          </ac:grpSpMkLst>
        </pc:grpChg>
        <pc:grpChg chg="mod">
          <ac:chgData name="Longkoi H [Probationer]" userId="d4e83e2c-c7d3-4fe6-ab74-6155d2bb8c63" providerId="ADAL" clId="{85C4EBEC-404E-46BC-B68B-D507855FBC7A}" dt="2024-06-12T14:11:20.770" v="2999"/>
          <ac:grpSpMkLst>
            <pc:docMk/>
            <pc:sldMk cId="0" sldId="318"/>
            <ac:grpSpMk id="56" creationId="{1D6C9D97-0D3C-C354-F57C-B93121355D15}"/>
          </ac:grpSpMkLst>
        </pc:grpChg>
        <pc:grpChg chg="mod">
          <ac:chgData name="Longkoi H [Probationer]" userId="d4e83e2c-c7d3-4fe6-ab74-6155d2bb8c63" providerId="ADAL" clId="{85C4EBEC-404E-46BC-B68B-D507855FBC7A}" dt="2024-06-12T14:11:20.770" v="2999"/>
          <ac:grpSpMkLst>
            <pc:docMk/>
            <pc:sldMk cId="0" sldId="318"/>
            <ac:grpSpMk id="63" creationId="{276C86FE-6287-F2BA-B938-7D8B3D6C433D}"/>
          </ac:grpSpMkLst>
        </pc:grpChg>
        <pc:grpChg chg="add mod ord">
          <ac:chgData name="Longkoi H [Probationer]" userId="d4e83e2c-c7d3-4fe6-ab74-6155d2bb8c63" providerId="ADAL" clId="{85C4EBEC-404E-46BC-B68B-D507855FBC7A}" dt="2024-06-12T14:11:40.583" v="3007" actId="167"/>
          <ac:grpSpMkLst>
            <pc:docMk/>
            <pc:sldMk cId="0" sldId="318"/>
            <ac:grpSpMk id="5191" creationId="{E192A0BA-AB34-1148-0C93-97C93CF2AA80}"/>
          </ac:grpSpMkLst>
        </pc:grpChg>
        <pc:grpChg chg="del">
          <ac:chgData name="Longkoi H [Probationer]" userId="d4e83e2c-c7d3-4fe6-ab74-6155d2bb8c63" providerId="ADAL" clId="{85C4EBEC-404E-46BC-B68B-D507855FBC7A}" dt="2024-06-12T14:00:00.189" v="2498" actId="478"/>
          <ac:grpSpMkLst>
            <pc:docMk/>
            <pc:sldMk cId="0" sldId="318"/>
            <ac:grpSpMk id="5200" creationId="{00000000-0000-0000-0000-000000000000}"/>
          </ac:grpSpMkLst>
        </pc:grpChg>
        <pc:grpChg chg="del">
          <ac:chgData name="Longkoi H [Probationer]" userId="d4e83e2c-c7d3-4fe6-ab74-6155d2bb8c63" providerId="ADAL" clId="{85C4EBEC-404E-46BC-B68B-D507855FBC7A}" dt="2024-06-12T14:00:00.189" v="2498" actId="478"/>
          <ac:grpSpMkLst>
            <pc:docMk/>
            <pc:sldMk cId="0" sldId="318"/>
            <ac:grpSpMk id="5204" creationId="{00000000-0000-0000-0000-000000000000}"/>
          </ac:grpSpMkLst>
        </pc:grpChg>
        <pc:grpChg chg="del">
          <ac:chgData name="Longkoi H [Probationer]" userId="d4e83e2c-c7d3-4fe6-ab74-6155d2bb8c63" providerId="ADAL" clId="{85C4EBEC-404E-46BC-B68B-D507855FBC7A}" dt="2024-06-12T14:00:00.189" v="2498" actId="478"/>
          <ac:grpSpMkLst>
            <pc:docMk/>
            <pc:sldMk cId="0" sldId="318"/>
            <ac:grpSpMk id="5207" creationId="{00000000-0000-0000-0000-000000000000}"/>
          </ac:grpSpMkLst>
        </pc:grpChg>
        <pc:grpChg chg="del">
          <ac:chgData name="Longkoi H [Probationer]" userId="d4e83e2c-c7d3-4fe6-ab74-6155d2bb8c63" providerId="ADAL" clId="{85C4EBEC-404E-46BC-B68B-D507855FBC7A}" dt="2024-06-12T14:00:00.189" v="2498" actId="478"/>
          <ac:grpSpMkLst>
            <pc:docMk/>
            <pc:sldMk cId="0" sldId="318"/>
            <ac:grpSpMk id="5210" creationId="{00000000-0000-0000-0000-000000000000}"/>
          </ac:grpSpMkLst>
        </pc:grpChg>
        <pc:grpChg chg="del">
          <ac:chgData name="Longkoi H [Probationer]" userId="d4e83e2c-c7d3-4fe6-ab74-6155d2bb8c63" providerId="ADAL" clId="{85C4EBEC-404E-46BC-B68B-D507855FBC7A}" dt="2024-06-12T14:00:00.189" v="2498" actId="478"/>
          <ac:grpSpMkLst>
            <pc:docMk/>
            <pc:sldMk cId="0" sldId="318"/>
            <ac:grpSpMk id="5227" creationId="{00000000-0000-0000-0000-000000000000}"/>
          </ac:grpSpMkLst>
        </pc:grpChg>
        <pc:grpChg chg="del">
          <ac:chgData name="Longkoi H [Probationer]" userId="d4e83e2c-c7d3-4fe6-ab74-6155d2bb8c63" providerId="ADAL" clId="{85C4EBEC-404E-46BC-B68B-D507855FBC7A}" dt="2024-06-12T14:00:00.189" v="2498" actId="478"/>
          <ac:grpSpMkLst>
            <pc:docMk/>
            <pc:sldMk cId="0" sldId="318"/>
            <ac:grpSpMk id="5230" creationId="{00000000-0000-0000-0000-000000000000}"/>
          </ac:grpSpMkLst>
        </pc:grpChg>
        <pc:grpChg chg="del">
          <ac:chgData name="Longkoi H [Probationer]" userId="d4e83e2c-c7d3-4fe6-ab74-6155d2bb8c63" providerId="ADAL" clId="{85C4EBEC-404E-46BC-B68B-D507855FBC7A}" dt="2024-06-12T14:00:00.189" v="2498" actId="478"/>
          <ac:grpSpMkLst>
            <pc:docMk/>
            <pc:sldMk cId="0" sldId="318"/>
            <ac:grpSpMk id="5235" creationId="{00000000-0000-0000-0000-000000000000}"/>
          </ac:grpSpMkLst>
        </pc:grpChg>
        <pc:picChg chg="mod">
          <ac:chgData name="Longkoi H [Probationer]" userId="d4e83e2c-c7d3-4fe6-ab74-6155d2bb8c63" providerId="ADAL" clId="{85C4EBEC-404E-46BC-B68B-D507855FBC7A}" dt="2024-06-12T14:11:20.770" v="2999"/>
          <ac:picMkLst>
            <pc:docMk/>
            <pc:sldMk cId="0" sldId="318"/>
            <ac:picMk id="62" creationId="{8E6365C3-2036-54D4-717A-F8A1B8211576}"/>
          </ac:picMkLst>
        </pc:picChg>
        <pc:picChg chg="mod">
          <ac:chgData name="Longkoi H [Probationer]" userId="d4e83e2c-c7d3-4fe6-ab74-6155d2bb8c63" providerId="ADAL" clId="{85C4EBEC-404E-46BC-B68B-D507855FBC7A}" dt="2024-06-12T14:11:38.252" v="3003"/>
          <ac:picMkLst>
            <pc:docMk/>
            <pc:sldMk cId="0" sldId="318"/>
            <ac:picMk id="5193" creationId="{95A4430F-895D-3068-8DA9-FC3EEB9AD62A}"/>
          </ac:picMkLst>
        </pc:picChg>
        <pc:cxnChg chg="add mod">
          <ac:chgData name="Longkoi H [Probationer]" userId="d4e83e2c-c7d3-4fe6-ab74-6155d2bb8c63" providerId="ADAL" clId="{85C4EBEC-404E-46BC-B68B-D507855FBC7A}" dt="2024-06-12T14:08:59.695" v="2894" actId="164"/>
          <ac:cxnSpMkLst>
            <pc:docMk/>
            <pc:sldMk cId="0" sldId="318"/>
            <ac:cxnSpMk id="11" creationId="{13EDEBA2-B9C5-E555-685B-D5F18F974301}"/>
          </ac:cxnSpMkLst>
        </pc:cxnChg>
        <pc:cxnChg chg="add mod">
          <ac:chgData name="Longkoi H [Probationer]" userId="d4e83e2c-c7d3-4fe6-ab74-6155d2bb8c63" providerId="ADAL" clId="{85C4EBEC-404E-46BC-B68B-D507855FBC7A}" dt="2024-06-12T14:08:59.695" v="2894" actId="164"/>
          <ac:cxnSpMkLst>
            <pc:docMk/>
            <pc:sldMk cId="0" sldId="318"/>
            <ac:cxnSpMk id="12" creationId="{B48B9496-F267-9CC0-9B0F-7E0013DD6204}"/>
          </ac:cxnSpMkLst>
        </pc:cxnChg>
        <pc:cxnChg chg="add mod">
          <ac:chgData name="Longkoi H [Probationer]" userId="d4e83e2c-c7d3-4fe6-ab74-6155d2bb8c63" providerId="ADAL" clId="{85C4EBEC-404E-46BC-B68B-D507855FBC7A}" dt="2024-06-12T14:04:09.089" v="2561" actId="571"/>
          <ac:cxnSpMkLst>
            <pc:docMk/>
            <pc:sldMk cId="0" sldId="318"/>
            <ac:cxnSpMk id="14" creationId="{11451E44-8062-D682-CB5E-10D9D5D7DF34}"/>
          </ac:cxnSpMkLst>
        </pc:cxnChg>
        <pc:cxnChg chg="add mod">
          <ac:chgData name="Longkoi H [Probationer]" userId="d4e83e2c-c7d3-4fe6-ab74-6155d2bb8c63" providerId="ADAL" clId="{85C4EBEC-404E-46BC-B68B-D507855FBC7A}" dt="2024-06-12T14:08:59.695" v="2894" actId="164"/>
          <ac:cxnSpMkLst>
            <pc:docMk/>
            <pc:sldMk cId="0" sldId="318"/>
            <ac:cxnSpMk id="15" creationId="{8BCE2C0D-F97E-2CC6-F499-F5734034D526}"/>
          </ac:cxnSpMkLst>
        </pc:cxnChg>
        <pc:cxnChg chg="add del">
          <ac:chgData name="Longkoi H [Probationer]" userId="d4e83e2c-c7d3-4fe6-ab74-6155d2bb8c63" providerId="ADAL" clId="{85C4EBEC-404E-46BC-B68B-D507855FBC7A}" dt="2024-06-12T14:08:05.276" v="2879" actId="11529"/>
          <ac:cxnSpMkLst>
            <pc:docMk/>
            <pc:sldMk cId="0" sldId="318"/>
            <ac:cxnSpMk id="40" creationId="{BF5338BC-38AB-616A-60C3-9B88A813CBB3}"/>
          </ac:cxnSpMkLst>
        </pc:cxnChg>
        <pc:cxnChg chg="add del mod">
          <ac:chgData name="Longkoi H [Probationer]" userId="d4e83e2c-c7d3-4fe6-ab74-6155d2bb8c63" providerId="ADAL" clId="{85C4EBEC-404E-46BC-B68B-D507855FBC7A}" dt="2024-06-12T14:08:55.290" v="2893" actId="478"/>
          <ac:cxnSpMkLst>
            <pc:docMk/>
            <pc:sldMk cId="0" sldId="318"/>
            <ac:cxnSpMk id="42" creationId="{F8A2FBDA-5910-0C07-724F-9A2B0A7E611F}"/>
          </ac:cxnSpMkLst>
        </pc:cxnChg>
        <pc:cxnChg chg="mod">
          <ac:chgData name="Longkoi H [Probationer]" userId="d4e83e2c-c7d3-4fe6-ab74-6155d2bb8c63" providerId="ADAL" clId="{85C4EBEC-404E-46BC-B68B-D507855FBC7A}" dt="2024-06-12T14:10:25.968" v="2998"/>
          <ac:cxnSpMkLst>
            <pc:docMk/>
            <pc:sldMk cId="0" sldId="318"/>
            <ac:cxnSpMk id="48" creationId="{279E9726-53FA-1DB5-B4A2-5322A6272238}"/>
          </ac:cxnSpMkLst>
        </pc:cxnChg>
        <pc:cxnChg chg="mod">
          <ac:chgData name="Longkoi H [Probationer]" userId="d4e83e2c-c7d3-4fe6-ab74-6155d2bb8c63" providerId="ADAL" clId="{85C4EBEC-404E-46BC-B68B-D507855FBC7A}" dt="2024-06-12T14:10:25.968" v="2998"/>
          <ac:cxnSpMkLst>
            <pc:docMk/>
            <pc:sldMk cId="0" sldId="318"/>
            <ac:cxnSpMk id="49" creationId="{AA52C948-2BE1-8499-DF1A-21E075D85630}"/>
          </ac:cxnSpMkLst>
        </pc:cxnChg>
        <pc:cxnChg chg="mod">
          <ac:chgData name="Longkoi H [Probationer]" userId="d4e83e2c-c7d3-4fe6-ab74-6155d2bb8c63" providerId="ADAL" clId="{85C4EBEC-404E-46BC-B68B-D507855FBC7A}" dt="2024-06-12T14:10:25.968" v="2998"/>
          <ac:cxnSpMkLst>
            <pc:docMk/>
            <pc:sldMk cId="0" sldId="318"/>
            <ac:cxnSpMk id="50" creationId="{1F77414F-B4D0-A9A6-7D6B-53556699347F}"/>
          </ac:cxnSpMkLst>
        </pc:cxnChg>
      </pc:sldChg>
      <pc:sldChg chg="addSp delSp modSp add mod modClrScheme chgLayout">
        <pc:chgData name="Longkoi H [Probationer]" userId="d4e83e2c-c7d3-4fe6-ab74-6155d2bb8c63" providerId="ADAL" clId="{85C4EBEC-404E-46BC-B68B-D507855FBC7A}" dt="2024-06-12T14:58:28.148" v="4577" actId="700"/>
        <pc:sldMkLst>
          <pc:docMk/>
          <pc:sldMk cId="3819318977" sldId="336"/>
        </pc:sldMkLst>
        <pc:spChg chg="add mod topLvl">
          <ac:chgData name="Longkoi H [Probationer]" userId="d4e83e2c-c7d3-4fe6-ab74-6155d2bb8c63" providerId="ADAL" clId="{85C4EBEC-404E-46BC-B68B-D507855FBC7A}" dt="2024-06-12T14:29:11.116" v="3986" actId="14100"/>
          <ac:spMkLst>
            <pc:docMk/>
            <pc:sldMk cId="3819318977" sldId="336"/>
            <ac:spMk id="12" creationId="{AFFF166F-3D2D-868D-D5C0-3DF712D81C75}"/>
          </ac:spMkLst>
        </pc:spChg>
        <pc:spChg chg="add mod topLvl">
          <ac:chgData name="Longkoi H [Probationer]" userId="d4e83e2c-c7d3-4fe6-ab74-6155d2bb8c63" providerId="ADAL" clId="{85C4EBEC-404E-46BC-B68B-D507855FBC7A}" dt="2024-06-12T14:29:11.116" v="3986" actId="14100"/>
          <ac:spMkLst>
            <pc:docMk/>
            <pc:sldMk cId="3819318977" sldId="336"/>
            <ac:spMk id="13" creationId="{E388C747-9961-BA6C-CBED-C80B8241DCDE}"/>
          </ac:spMkLst>
        </pc:spChg>
        <pc:spChg chg="add mod topLvl">
          <ac:chgData name="Longkoi H [Probationer]" userId="d4e83e2c-c7d3-4fe6-ab74-6155d2bb8c63" providerId="ADAL" clId="{85C4EBEC-404E-46BC-B68B-D507855FBC7A}" dt="2024-06-12T14:29:11.116" v="3986" actId="14100"/>
          <ac:spMkLst>
            <pc:docMk/>
            <pc:sldMk cId="3819318977" sldId="336"/>
            <ac:spMk id="14" creationId="{D9AF8B6A-9A00-CF03-0E51-45A8098A5C9D}"/>
          </ac:spMkLst>
        </pc:spChg>
        <pc:spChg chg="add mod">
          <ac:chgData name="Longkoi H [Probationer]" userId="d4e83e2c-c7d3-4fe6-ab74-6155d2bb8c63" providerId="ADAL" clId="{85C4EBEC-404E-46BC-B68B-D507855FBC7A}" dt="2024-06-12T12:15:48.802" v="1068" actId="164"/>
          <ac:spMkLst>
            <pc:docMk/>
            <pc:sldMk cId="3819318977" sldId="336"/>
            <ac:spMk id="15" creationId="{A3C8E5F7-80F6-E3ED-4573-0EEF572E31D9}"/>
          </ac:spMkLst>
        </pc:spChg>
        <pc:spChg chg="add mod topLvl">
          <ac:chgData name="Longkoi H [Probationer]" userId="d4e83e2c-c7d3-4fe6-ab74-6155d2bb8c63" providerId="ADAL" clId="{85C4EBEC-404E-46BC-B68B-D507855FBC7A}" dt="2024-06-12T14:29:17.761" v="3988" actId="554"/>
          <ac:spMkLst>
            <pc:docMk/>
            <pc:sldMk cId="3819318977" sldId="336"/>
            <ac:spMk id="16" creationId="{38704E2F-AEAB-9B17-38BF-4674F20CF70C}"/>
          </ac:spMkLst>
        </pc:spChg>
        <pc:spChg chg="add mod topLvl">
          <ac:chgData name="Longkoi H [Probationer]" userId="d4e83e2c-c7d3-4fe6-ab74-6155d2bb8c63" providerId="ADAL" clId="{85C4EBEC-404E-46BC-B68B-D507855FBC7A}" dt="2024-06-12T14:29:17.761" v="3988" actId="554"/>
          <ac:spMkLst>
            <pc:docMk/>
            <pc:sldMk cId="3819318977" sldId="336"/>
            <ac:spMk id="17" creationId="{88574D4A-0F32-9980-CA46-A0B352A37A99}"/>
          </ac:spMkLst>
        </pc:spChg>
        <pc:spChg chg="add mod topLvl">
          <ac:chgData name="Longkoi H [Probationer]" userId="d4e83e2c-c7d3-4fe6-ab74-6155d2bb8c63" providerId="ADAL" clId="{85C4EBEC-404E-46BC-B68B-D507855FBC7A}" dt="2024-06-12T14:29:17.761" v="3988" actId="554"/>
          <ac:spMkLst>
            <pc:docMk/>
            <pc:sldMk cId="3819318977" sldId="336"/>
            <ac:spMk id="18" creationId="{B7DC2DD8-25CD-A2D6-14AB-1F63EA3C00F9}"/>
          </ac:spMkLst>
        </pc:spChg>
        <pc:spChg chg="add mod">
          <ac:chgData name="Longkoi H [Probationer]" userId="d4e83e2c-c7d3-4fe6-ab74-6155d2bb8c63" providerId="ADAL" clId="{85C4EBEC-404E-46BC-B68B-D507855FBC7A}" dt="2024-06-12T12:15:48.802" v="1068" actId="164"/>
          <ac:spMkLst>
            <pc:docMk/>
            <pc:sldMk cId="3819318977" sldId="336"/>
            <ac:spMk id="19" creationId="{FF7B788C-C205-BC4B-13F3-56407DA870B5}"/>
          </ac:spMkLst>
        </pc:spChg>
        <pc:spChg chg="del">
          <ac:chgData name="Longkoi H [Probationer]" userId="d4e83e2c-c7d3-4fe6-ab74-6155d2bb8c63" providerId="ADAL" clId="{85C4EBEC-404E-46BC-B68B-D507855FBC7A}" dt="2024-06-12T12:01:10.030" v="724" actId="478"/>
          <ac:spMkLst>
            <pc:docMk/>
            <pc:sldMk cId="3819318977" sldId="336"/>
            <ac:spMk id="22" creationId="{E98178B4-D5C5-D1A5-359D-BBD7113D1584}"/>
          </ac:spMkLst>
        </pc:spChg>
        <pc:spChg chg="del">
          <ac:chgData name="Longkoi H [Probationer]" userId="d4e83e2c-c7d3-4fe6-ab74-6155d2bb8c63" providerId="ADAL" clId="{85C4EBEC-404E-46BC-B68B-D507855FBC7A}" dt="2024-06-12T12:01:10.030" v="724" actId="478"/>
          <ac:spMkLst>
            <pc:docMk/>
            <pc:sldMk cId="3819318977" sldId="336"/>
            <ac:spMk id="23" creationId="{1DCD4762-90E2-9B59-E0FF-832EA3254F4A}"/>
          </ac:spMkLst>
        </pc:spChg>
        <pc:spChg chg="del">
          <ac:chgData name="Longkoi H [Probationer]" userId="d4e83e2c-c7d3-4fe6-ab74-6155d2bb8c63" providerId="ADAL" clId="{85C4EBEC-404E-46BC-B68B-D507855FBC7A}" dt="2024-06-12T12:01:10.030" v="724" actId="478"/>
          <ac:spMkLst>
            <pc:docMk/>
            <pc:sldMk cId="3819318977" sldId="336"/>
            <ac:spMk id="24" creationId="{8C5B419F-C6F1-47C1-66F5-B3DBE133D180}"/>
          </ac:spMkLst>
        </pc:spChg>
        <pc:spChg chg="del">
          <ac:chgData name="Longkoi H [Probationer]" userId="d4e83e2c-c7d3-4fe6-ab74-6155d2bb8c63" providerId="ADAL" clId="{85C4EBEC-404E-46BC-B68B-D507855FBC7A}" dt="2024-06-12T12:01:10.030" v="724" actId="478"/>
          <ac:spMkLst>
            <pc:docMk/>
            <pc:sldMk cId="3819318977" sldId="336"/>
            <ac:spMk id="25" creationId="{2802D3D3-BF9A-3104-1385-4E7872A13530}"/>
          </ac:spMkLst>
        </pc:spChg>
        <pc:spChg chg="mod ord">
          <ac:chgData name="Longkoi H [Probationer]" userId="d4e83e2c-c7d3-4fe6-ab74-6155d2bb8c63" providerId="ADAL" clId="{85C4EBEC-404E-46BC-B68B-D507855FBC7A}" dt="2024-06-12T14:58:28.148" v="4577" actId="700"/>
          <ac:spMkLst>
            <pc:docMk/>
            <pc:sldMk cId="3819318977" sldId="336"/>
            <ac:spMk id="31" creationId="{732F5FBD-0C97-2CE7-8E54-0FD1C6C2E61D}"/>
          </ac:spMkLst>
        </pc:spChg>
        <pc:spChg chg="del">
          <ac:chgData name="Longkoi H [Probationer]" userId="d4e83e2c-c7d3-4fe6-ab74-6155d2bb8c63" providerId="ADAL" clId="{85C4EBEC-404E-46BC-B68B-D507855FBC7A}" dt="2024-06-12T12:01:10.030" v="724" actId="478"/>
          <ac:spMkLst>
            <pc:docMk/>
            <pc:sldMk cId="3819318977" sldId="336"/>
            <ac:spMk id="32" creationId="{1C1D20C2-BEFC-57B0-70F0-15663A9B254F}"/>
          </ac:spMkLst>
        </pc:spChg>
        <pc:spChg chg="del">
          <ac:chgData name="Longkoi H [Probationer]" userId="d4e83e2c-c7d3-4fe6-ab74-6155d2bb8c63" providerId="ADAL" clId="{85C4EBEC-404E-46BC-B68B-D507855FBC7A}" dt="2024-06-12T12:01:10.030" v="724" actId="478"/>
          <ac:spMkLst>
            <pc:docMk/>
            <pc:sldMk cId="3819318977" sldId="336"/>
            <ac:spMk id="33" creationId="{A7550A2C-1498-AE79-2669-B677BB930B59}"/>
          </ac:spMkLst>
        </pc:spChg>
        <pc:spChg chg="del">
          <ac:chgData name="Longkoi H [Probationer]" userId="d4e83e2c-c7d3-4fe6-ab74-6155d2bb8c63" providerId="ADAL" clId="{85C4EBEC-404E-46BC-B68B-D507855FBC7A}" dt="2024-06-12T12:01:10.030" v="724" actId="478"/>
          <ac:spMkLst>
            <pc:docMk/>
            <pc:sldMk cId="3819318977" sldId="336"/>
            <ac:spMk id="34" creationId="{D767C741-446D-2702-63C7-86FBFA03358B}"/>
          </ac:spMkLst>
        </pc:spChg>
        <pc:spChg chg="del">
          <ac:chgData name="Longkoi H [Probationer]" userId="d4e83e2c-c7d3-4fe6-ab74-6155d2bb8c63" providerId="ADAL" clId="{85C4EBEC-404E-46BC-B68B-D507855FBC7A}" dt="2024-06-12T12:01:10.030" v="724" actId="478"/>
          <ac:spMkLst>
            <pc:docMk/>
            <pc:sldMk cId="3819318977" sldId="336"/>
            <ac:spMk id="35" creationId="{F96869B0-7E27-E3CF-5407-F8EDCEC3BB55}"/>
          </ac:spMkLst>
        </pc:spChg>
        <pc:spChg chg="add mod topLvl">
          <ac:chgData name="Longkoi H [Probationer]" userId="d4e83e2c-c7d3-4fe6-ab74-6155d2bb8c63" providerId="ADAL" clId="{85C4EBEC-404E-46BC-B68B-D507855FBC7A}" dt="2024-06-12T14:27:42.905" v="3674" actId="12788"/>
          <ac:spMkLst>
            <pc:docMk/>
            <pc:sldMk cId="3819318977" sldId="336"/>
            <ac:spMk id="36" creationId="{27219AA9-A416-169F-3813-7D6ADA529489}"/>
          </ac:spMkLst>
        </pc:spChg>
        <pc:spChg chg="add mod topLvl">
          <ac:chgData name="Longkoi H [Probationer]" userId="d4e83e2c-c7d3-4fe6-ab74-6155d2bb8c63" providerId="ADAL" clId="{85C4EBEC-404E-46BC-B68B-D507855FBC7A}" dt="2024-06-12T14:27:47.259" v="3676" actId="12788"/>
          <ac:spMkLst>
            <pc:docMk/>
            <pc:sldMk cId="3819318977" sldId="336"/>
            <ac:spMk id="37" creationId="{2C28B2F0-4407-1566-D2F8-77FF89E5CC5F}"/>
          </ac:spMkLst>
        </pc:spChg>
        <pc:spChg chg="add mod topLvl">
          <ac:chgData name="Longkoi H [Probationer]" userId="d4e83e2c-c7d3-4fe6-ab74-6155d2bb8c63" providerId="ADAL" clId="{85C4EBEC-404E-46BC-B68B-D507855FBC7A}" dt="2024-06-12T14:27:49.412" v="3678" actId="12788"/>
          <ac:spMkLst>
            <pc:docMk/>
            <pc:sldMk cId="3819318977" sldId="336"/>
            <ac:spMk id="38" creationId="{5AA2D357-F07C-A245-D49D-3F099C721641}"/>
          </ac:spMkLst>
        </pc:spChg>
        <pc:spChg chg="add mod">
          <ac:chgData name="Longkoi H [Probationer]" userId="d4e83e2c-c7d3-4fe6-ab74-6155d2bb8c63" providerId="ADAL" clId="{85C4EBEC-404E-46BC-B68B-D507855FBC7A}" dt="2024-06-12T12:15:48.802" v="1068" actId="164"/>
          <ac:spMkLst>
            <pc:docMk/>
            <pc:sldMk cId="3819318977" sldId="336"/>
            <ac:spMk id="39" creationId="{9956E1F9-F897-ADDD-BF80-E8521E9E0AAA}"/>
          </ac:spMkLst>
        </pc:spChg>
        <pc:spChg chg="mod">
          <ac:chgData name="Longkoi H [Probationer]" userId="d4e83e2c-c7d3-4fe6-ab74-6155d2bb8c63" providerId="ADAL" clId="{85C4EBEC-404E-46BC-B68B-D507855FBC7A}" dt="2024-06-12T14:27:39.027" v="3671" actId="165"/>
          <ac:spMkLst>
            <pc:docMk/>
            <pc:sldMk cId="3819318977" sldId="336"/>
            <ac:spMk id="41" creationId="{8ABD5F5A-BD63-6BFE-A927-890DC2AE5CE2}"/>
          </ac:spMkLst>
        </pc:spChg>
        <pc:spChg chg="mod">
          <ac:chgData name="Longkoi H [Probationer]" userId="d4e83e2c-c7d3-4fe6-ab74-6155d2bb8c63" providerId="ADAL" clId="{85C4EBEC-404E-46BC-B68B-D507855FBC7A}" dt="2024-06-12T14:27:39.027" v="3671" actId="165"/>
          <ac:spMkLst>
            <pc:docMk/>
            <pc:sldMk cId="3819318977" sldId="336"/>
            <ac:spMk id="42" creationId="{FA610B5A-4047-BAE8-E230-8E54C97F52A6}"/>
          </ac:spMkLst>
        </pc:spChg>
        <pc:spChg chg="mod topLvl">
          <ac:chgData name="Longkoi H [Probationer]" userId="d4e83e2c-c7d3-4fe6-ab74-6155d2bb8c63" providerId="ADAL" clId="{85C4EBEC-404E-46BC-B68B-D507855FBC7A}" dt="2024-06-12T14:27:47.259" v="3676" actId="12788"/>
          <ac:spMkLst>
            <pc:docMk/>
            <pc:sldMk cId="3819318977" sldId="336"/>
            <ac:spMk id="46" creationId="{8379B83A-E4D0-586C-B4F5-795E8043B018}"/>
          </ac:spMkLst>
        </pc:spChg>
        <pc:spChg chg="mod topLvl">
          <ac:chgData name="Longkoi H [Probationer]" userId="d4e83e2c-c7d3-4fe6-ab74-6155d2bb8c63" providerId="ADAL" clId="{85C4EBEC-404E-46BC-B68B-D507855FBC7A}" dt="2024-06-12T14:27:47.259" v="3676" actId="12788"/>
          <ac:spMkLst>
            <pc:docMk/>
            <pc:sldMk cId="3819318977" sldId="336"/>
            <ac:spMk id="47" creationId="{97B0F3D7-16C2-F7D0-FFC4-67A34E1A392E}"/>
          </ac:spMkLst>
        </pc:spChg>
        <pc:spChg chg="mod">
          <ac:chgData name="Longkoi H [Probationer]" userId="d4e83e2c-c7d3-4fe6-ab74-6155d2bb8c63" providerId="ADAL" clId="{85C4EBEC-404E-46BC-B68B-D507855FBC7A}" dt="2024-06-12T14:27:39.027" v="3671" actId="165"/>
          <ac:spMkLst>
            <pc:docMk/>
            <pc:sldMk cId="3819318977" sldId="336"/>
            <ac:spMk id="49" creationId="{4F3963A3-CBF9-6D77-8000-55384911543C}"/>
          </ac:spMkLst>
        </pc:spChg>
        <pc:spChg chg="mod">
          <ac:chgData name="Longkoi H [Probationer]" userId="d4e83e2c-c7d3-4fe6-ab74-6155d2bb8c63" providerId="ADAL" clId="{85C4EBEC-404E-46BC-B68B-D507855FBC7A}" dt="2024-06-12T14:27:39.027" v="3671" actId="165"/>
          <ac:spMkLst>
            <pc:docMk/>
            <pc:sldMk cId="3819318977" sldId="336"/>
            <ac:spMk id="50" creationId="{215E1FCB-6634-91E2-4F3F-D09A87273A2A}"/>
          </ac:spMkLst>
        </pc:spChg>
        <pc:spChg chg="mod">
          <ac:chgData name="Longkoi H [Probationer]" userId="d4e83e2c-c7d3-4fe6-ab74-6155d2bb8c63" providerId="ADAL" clId="{85C4EBEC-404E-46BC-B68B-D507855FBC7A}" dt="2024-06-12T12:15:48.363" v="1058"/>
          <ac:spMkLst>
            <pc:docMk/>
            <pc:sldMk cId="3819318977" sldId="336"/>
            <ac:spMk id="52" creationId="{F3870C22-16D2-97A4-6D71-3204A9D3CD9E}"/>
          </ac:spMkLst>
        </pc:spChg>
        <pc:spChg chg="mod">
          <ac:chgData name="Longkoi H [Probationer]" userId="d4e83e2c-c7d3-4fe6-ab74-6155d2bb8c63" providerId="ADAL" clId="{85C4EBEC-404E-46BC-B68B-D507855FBC7A}" dt="2024-06-12T12:15:48.363" v="1058"/>
          <ac:spMkLst>
            <pc:docMk/>
            <pc:sldMk cId="3819318977" sldId="336"/>
            <ac:spMk id="53" creationId="{EDFF44D8-34DA-61E6-7E42-58B56A22BCCC}"/>
          </ac:spMkLst>
        </pc:spChg>
        <pc:spChg chg="add mod ord topLvl">
          <ac:chgData name="Longkoi H [Probationer]" userId="d4e83e2c-c7d3-4fe6-ab74-6155d2bb8c63" providerId="ADAL" clId="{85C4EBEC-404E-46BC-B68B-D507855FBC7A}" dt="2024-06-12T14:27:58.084" v="3682" actId="1035"/>
          <ac:spMkLst>
            <pc:docMk/>
            <pc:sldMk cId="3819318977" sldId="336"/>
            <ac:spMk id="54" creationId="{C6A96016-28E7-309F-F21E-0AAC51CB6581}"/>
          </ac:spMkLst>
        </pc:spChg>
        <pc:spChg chg="add mod ord topLvl">
          <ac:chgData name="Longkoi H [Probationer]" userId="d4e83e2c-c7d3-4fe6-ab74-6155d2bb8c63" providerId="ADAL" clId="{85C4EBEC-404E-46BC-B68B-D507855FBC7A}" dt="2024-06-12T14:27:58.084" v="3682" actId="1035"/>
          <ac:spMkLst>
            <pc:docMk/>
            <pc:sldMk cId="3819318977" sldId="336"/>
            <ac:spMk id="55" creationId="{516C9966-5C3A-BDCD-5D99-18F193B62E12}"/>
          </ac:spMkLst>
        </pc:spChg>
        <pc:spChg chg="add mod ord topLvl">
          <ac:chgData name="Longkoi H [Probationer]" userId="d4e83e2c-c7d3-4fe6-ab74-6155d2bb8c63" providerId="ADAL" clId="{85C4EBEC-404E-46BC-B68B-D507855FBC7A}" dt="2024-06-12T14:27:58.084" v="3682" actId="1035"/>
          <ac:spMkLst>
            <pc:docMk/>
            <pc:sldMk cId="3819318977" sldId="336"/>
            <ac:spMk id="56" creationId="{EEDC95A4-81A3-9C54-54E0-8102E63E891E}"/>
          </ac:spMkLst>
        </pc:spChg>
        <pc:spChg chg="add mod ord">
          <ac:chgData name="Longkoi H [Probationer]" userId="d4e83e2c-c7d3-4fe6-ab74-6155d2bb8c63" providerId="ADAL" clId="{85C4EBEC-404E-46BC-B68B-D507855FBC7A}" dt="2024-06-12T12:15:48.802" v="1068" actId="164"/>
          <ac:spMkLst>
            <pc:docMk/>
            <pc:sldMk cId="3819318977" sldId="336"/>
            <ac:spMk id="57" creationId="{579AAEFB-14CA-1780-ACD3-E9235520BA21}"/>
          </ac:spMkLst>
        </pc:spChg>
        <pc:spChg chg="mod">
          <ac:chgData name="Longkoi H [Probationer]" userId="d4e83e2c-c7d3-4fe6-ab74-6155d2bb8c63" providerId="ADAL" clId="{85C4EBEC-404E-46BC-B68B-D507855FBC7A}" dt="2024-06-12T12:16:04.796" v="1078" actId="571"/>
          <ac:spMkLst>
            <pc:docMk/>
            <pc:sldMk cId="3819318977" sldId="336"/>
            <ac:spMk id="61" creationId="{D7D2734A-2452-A1D5-65D2-AF58AB1D2043}"/>
          </ac:spMkLst>
        </pc:spChg>
        <pc:spChg chg="mod">
          <ac:chgData name="Longkoi H [Probationer]" userId="d4e83e2c-c7d3-4fe6-ab74-6155d2bb8c63" providerId="ADAL" clId="{85C4EBEC-404E-46BC-B68B-D507855FBC7A}" dt="2024-06-12T12:16:04.796" v="1078" actId="571"/>
          <ac:spMkLst>
            <pc:docMk/>
            <pc:sldMk cId="3819318977" sldId="336"/>
            <ac:spMk id="63" creationId="{219DBC89-35EE-ED87-7D90-22001CBC93E7}"/>
          </ac:spMkLst>
        </pc:spChg>
        <pc:spChg chg="mod">
          <ac:chgData name="Longkoi H [Probationer]" userId="d4e83e2c-c7d3-4fe6-ab74-6155d2bb8c63" providerId="ADAL" clId="{85C4EBEC-404E-46BC-B68B-D507855FBC7A}" dt="2024-06-12T12:16:04.796" v="1078" actId="571"/>
          <ac:spMkLst>
            <pc:docMk/>
            <pc:sldMk cId="3819318977" sldId="336"/>
            <ac:spMk id="4992" creationId="{ADEF31FD-823A-3974-88D9-91EA7CD3FEF4}"/>
          </ac:spMkLst>
        </pc:spChg>
        <pc:spChg chg="mod">
          <ac:chgData name="Longkoi H [Probationer]" userId="d4e83e2c-c7d3-4fe6-ab74-6155d2bb8c63" providerId="ADAL" clId="{85C4EBEC-404E-46BC-B68B-D507855FBC7A}" dt="2024-06-12T12:16:04.796" v="1078" actId="571"/>
          <ac:spMkLst>
            <pc:docMk/>
            <pc:sldMk cId="3819318977" sldId="336"/>
            <ac:spMk id="4993" creationId="{76DAB370-6475-E3A7-A128-8B214342E825}"/>
          </ac:spMkLst>
        </pc:spChg>
        <pc:spChg chg="mod">
          <ac:chgData name="Longkoi H [Probationer]" userId="d4e83e2c-c7d3-4fe6-ab74-6155d2bb8c63" providerId="ADAL" clId="{85C4EBEC-404E-46BC-B68B-D507855FBC7A}" dt="2024-06-12T12:16:04.796" v="1078" actId="571"/>
          <ac:spMkLst>
            <pc:docMk/>
            <pc:sldMk cId="3819318977" sldId="336"/>
            <ac:spMk id="4995" creationId="{B5574661-5F5A-D853-AFEE-D3167C685D8E}"/>
          </ac:spMkLst>
        </pc:spChg>
        <pc:spChg chg="mod">
          <ac:chgData name="Longkoi H [Probationer]" userId="d4e83e2c-c7d3-4fe6-ab74-6155d2bb8c63" providerId="ADAL" clId="{85C4EBEC-404E-46BC-B68B-D507855FBC7A}" dt="2024-06-12T12:16:04.796" v="1078" actId="571"/>
          <ac:spMkLst>
            <pc:docMk/>
            <pc:sldMk cId="3819318977" sldId="336"/>
            <ac:spMk id="4996" creationId="{70E28F40-8923-73B1-C1A9-EDE9D23984AC}"/>
          </ac:spMkLst>
        </pc:spChg>
        <pc:spChg chg="add del mod topLvl">
          <ac:chgData name="Longkoi H [Probationer]" userId="d4e83e2c-c7d3-4fe6-ab74-6155d2bb8c63" providerId="ADAL" clId="{85C4EBEC-404E-46BC-B68B-D507855FBC7A}" dt="2024-06-12T14:27:58.084" v="3682" actId="1035"/>
          <ac:spMkLst>
            <pc:docMk/>
            <pc:sldMk cId="3819318977" sldId="336"/>
            <ac:spMk id="4998" creationId="{82DE658E-2441-7786-F078-074BF69D1DC4}"/>
          </ac:spMkLst>
        </pc:spChg>
        <pc:spChg chg="mod topLvl">
          <ac:chgData name="Longkoi H [Probationer]" userId="d4e83e2c-c7d3-4fe6-ab74-6155d2bb8c63" providerId="ADAL" clId="{85C4EBEC-404E-46BC-B68B-D507855FBC7A}" dt="2024-06-12T14:29:11.116" v="3986" actId="14100"/>
          <ac:spMkLst>
            <pc:docMk/>
            <pc:sldMk cId="3819318977" sldId="336"/>
            <ac:spMk id="5000" creationId="{F8D35CE0-807C-9430-C9DA-A9664E9C3B1F}"/>
          </ac:spMkLst>
        </pc:spChg>
        <pc:spChg chg="mod topLvl">
          <ac:chgData name="Longkoi H [Probationer]" userId="d4e83e2c-c7d3-4fe6-ab74-6155d2bb8c63" providerId="ADAL" clId="{85C4EBEC-404E-46BC-B68B-D507855FBC7A}" dt="2024-06-12T14:29:17.761" v="3988" actId="554"/>
          <ac:spMkLst>
            <pc:docMk/>
            <pc:sldMk cId="3819318977" sldId="336"/>
            <ac:spMk id="5001" creationId="{BFE594C6-0FC3-CFB3-0045-EF31A0A329C9}"/>
          </ac:spMkLst>
        </pc:spChg>
        <pc:spChg chg="mod topLvl">
          <ac:chgData name="Longkoi H [Probationer]" userId="d4e83e2c-c7d3-4fe6-ab74-6155d2bb8c63" providerId="ADAL" clId="{85C4EBEC-404E-46BC-B68B-D507855FBC7A}" dt="2024-06-12T14:27:51.433" v="3680" actId="12788"/>
          <ac:spMkLst>
            <pc:docMk/>
            <pc:sldMk cId="3819318977" sldId="336"/>
            <ac:spMk id="5002" creationId="{47023AA0-610C-DB94-B5CA-51D2C33956C1}"/>
          </ac:spMkLst>
        </pc:spChg>
        <pc:spChg chg="mod topLvl">
          <ac:chgData name="Longkoi H [Probationer]" userId="d4e83e2c-c7d3-4fe6-ab74-6155d2bb8c63" providerId="ADAL" clId="{85C4EBEC-404E-46BC-B68B-D507855FBC7A}" dt="2024-06-12T14:27:51.433" v="3680" actId="12788"/>
          <ac:spMkLst>
            <pc:docMk/>
            <pc:sldMk cId="3819318977" sldId="336"/>
            <ac:spMk id="5004" creationId="{DAF0179E-FE66-EAD7-ED87-C94B212E6A6C}"/>
          </ac:spMkLst>
        </pc:spChg>
        <pc:spChg chg="mod topLvl">
          <ac:chgData name="Longkoi H [Probationer]" userId="d4e83e2c-c7d3-4fe6-ab74-6155d2bb8c63" providerId="ADAL" clId="{85C4EBEC-404E-46BC-B68B-D507855FBC7A}" dt="2024-06-12T14:27:51.433" v="3680" actId="12788"/>
          <ac:spMkLst>
            <pc:docMk/>
            <pc:sldMk cId="3819318977" sldId="336"/>
            <ac:spMk id="5005" creationId="{881D5506-A8D8-70FE-3B8E-1770DB7E2B5C}"/>
          </ac:spMkLst>
        </pc:spChg>
        <pc:spChg chg="add del mod">
          <ac:chgData name="Longkoi H [Probationer]" userId="d4e83e2c-c7d3-4fe6-ab74-6155d2bb8c63" providerId="ADAL" clId="{85C4EBEC-404E-46BC-B68B-D507855FBC7A}" dt="2024-06-12T12:18:05.514" v="1159" actId="6264"/>
          <ac:spMkLst>
            <pc:docMk/>
            <pc:sldMk cId="3819318977" sldId="336"/>
            <ac:spMk id="5009" creationId="{067BAEF2-C228-A02B-B629-8C02629A4A73}"/>
          </ac:spMkLst>
        </pc:spChg>
        <pc:spChg chg="mod ord">
          <ac:chgData name="Longkoi H [Probationer]" userId="d4e83e2c-c7d3-4fe6-ab74-6155d2bb8c63" providerId="ADAL" clId="{85C4EBEC-404E-46BC-B68B-D507855FBC7A}" dt="2024-06-12T12:18:05.514" v="1159" actId="6264"/>
          <ac:spMkLst>
            <pc:docMk/>
            <pc:sldMk cId="3819318977" sldId="336"/>
            <ac:spMk id="5021" creationId="{00000000-0000-0000-0000-000000000000}"/>
          </ac:spMkLst>
        </pc:spChg>
        <pc:spChg chg="del mod topLvl">
          <ac:chgData name="Longkoi H [Probationer]" userId="d4e83e2c-c7d3-4fe6-ab74-6155d2bb8c63" providerId="ADAL" clId="{85C4EBEC-404E-46BC-B68B-D507855FBC7A}" dt="2024-06-12T12:26:53.899" v="1406" actId="478"/>
          <ac:spMkLst>
            <pc:docMk/>
            <pc:sldMk cId="3819318977" sldId="336"/>
            <ac:spMk id="5023" creationId="{08C7B1A8-28D7-89A3-00C3-058083019B85}"/>
          </ac:spMkLst>
        </pc:spChg>
        <pc:spChg chg="mod">
          <ac:chgData name="Longkoi H [Probationer]" userId="d4e83e2c-c7d3-4fe6-ab74-6155d2bb8c63" providerId="ADAL" clId="{85C4EBEC-404E-46BC-B68B-D507855FBC7A}" dt="2024-06-12T12:27:00.248" v="1408" actId="165"/>
          <ac:spMkLst>
            <pc:docMk/>
            <pc:sldMk cId="3819318977" sldId="336"/>
            <ac:spMk id="5024" creationId="{5F818A87-62C1-56DD-798C-3070E12E3A4A}"/>
          </ac:spMkLst>
        </pc:spChg>
        <pc:spChg chg="mod">
          <ac:chgData name="Longkoi H [Probationer]" userId="d4e83e2c-c7d3-4fe6-ab74-6155d2bb8c63" providerId="ADAL" clId="{85C4EBEC-404E-46BC-B68B-D507855FBC7A}" dt="2024-06-12T12:27:00.248" v="1408" actId="165"/>
          <ac:spMkLst>
            <pc:docMk/>
            <pc:sldMk cId="3819318977" sldId="336"/>
            <ac:spMk id="5025" creationId="{9B1C0459-8E1F-9BDB-EBAB-FEEBE5C23340}"/>
          </ac:spMkLst>
        </pc:spChg>
        <pc:spChg chg="mod">
          <ac:chgData name="Longkoi H [Probationer]" userId="d4e83e2c-c7d3-4fe6-ab74-6155d2bb8c63" providerId="ADAL" clId="{85C4EBEC-404E-46BC-B68B-D507855FBC7A}" dt="2024-06-12T12:27:00.248" v="1408" actId="165"/>
          <ac:spMkLst>
            <pc:docMk/>
            <pc:sldMk cId="3819318977" sldId="336"/>
            <ac:spMk id="5026" creationId="{FE7933DD-4457-04F2-F7C8-B9E0059D6110}"/>
          </ac:spMkLst>
        </pc:spChg>
        <pc:spChg chg="mod">
          <ac:chgData name="Longkoi H [Probationer]" userId="d4e83e2c-c7d3-4fe6-ab74-6155d2bb8c63" providerId="ADAL" clId="{85C4EBEC-404E-46BC-B68B-D507855FBC7A}" dt="2024-06-12T12:27:00.248" v="1408" actId="165"/>
          <ac:spMkLst>
            <pc:docMk/>
            <pc:sldMk cId="3819318977" sldId="336"/>
            <ac:spMk id="5027" creationId="{1D36F826-E133-9902-983C-C19F2D06E651}"/>
          </ac:spMkLst>
        </pc:spChg>
        <pc:spChg chg="mod">
          <ac:chgData name="Longkoi H [Probationer]" userId="d4e83e2c-c7d3-4fe6-ab74-6155d2bb8c63" providerId="ADAL" clId="{85C4EBEC-404E-46BC-B68B-D507855FBC7A}" dt="2024-06-12T12:27:00.248" v="1408" actId="165"/>
          <ac:spMkLst>
            <pc:docMk/>
            <pc:sldMk cId="3819318977" sldId="336"/>
            <ac:spMk id="5028" creationId="{295BA276-62B1-E0AC-8DEC-FFE52110BFA2}"/>
          </ac:spMkLst>
        </pc:spChg>
        <pc:spChg chg="mod">
          <ac:chgData name="Longkoi H [Probationer]" userId="d4e83e2c-c7d3-4fe6-ab74-6155d2bb8c63" providerId="ADAL" clId="{85C4EBEC-404E-46BC-B68B-D507855FBC7A}" dt="2024-06-12T12:27:00.248" v="1408" actId="165"/>
          <ac:spMkLst>
            <pc:docMk/>
            <pc:sldMk cId="3819318977" sldId="336"/>
            <ac:spMk id="5029" creationId="{37A7A356-A830-52A4-7245-AE24423DCDBE}"/>
          </ac:spMkLst>
        </pc:spChg>
        <pc:spChg chg="mod">
          <ac:chgData name="Longkoi H [Probationer]" userId="d4e83e2c-c7d3-4fe6-ab74-6155d2bb8c63" providerId="ADAL" clId="{85C4EBEC-404E-46BC-B68B-D507855FBC7A}" dt="2024-06-12T12:28:05.433" v="1474"/>
          <ac:spMkLst>
            <pc:docMk/>
            <pc:sldMk cId="3819318977" sldId="336"/>
            <ac:spMk id="5030" creationId="{BA1796B6-1C42-6812-DD17-EA6CC955FA37}"/>
          </ac:spMkLst>
        </pc:spChg>
        <pc:spChg chg="mod">
          <ac:chgData name="Longkoi H [Probationer]" userId="d4e83e2c-c7d3-4fe6-ab74-6155d2bb8c63" providerId="ADAL" clId="{85C4EBEC-404E-46BC-B68B-D507855FBC7A}" dt="2024-06-12T12:28:05.433" v="1474"/>
          <ac:spMkLst>
            <pc:docMk/>
            <pc:sldMk cId="3819318977" sldId="336"/>
            <ac:spMk id="5031" creationId="{FE2B680B-9894-9396-A9C3-1ACE174D493C}"/>
          </ac:spMkLst>
        </pc:spChg>
        <pc:spChg chg="mod">
          <ac:chgData name="Longkoi H [Probationer]" userId="d4e83e2c-c7d3-4fe6-ab74-6155d2bb8c63" providerId="ADAL" clId="{85C4EBEC-404E-46BC-B68B-D507855FBC7A}" dt="2024-06-12T12:28:05.431" v="1472"/>
          <ac:spMkLst>
            <pc:docMk/>
            <pc:sldMk cId="3819318977" sldId="336"/>
            <ac:spMk id="5032" creationId="{50BCC72A-C9A0-552E-2620-D2F9A1C834D7}"/>
          </ac:spMkLst>
        </pc:spChg>
        <pc:spChg chg="mod">
          <ac:chgData name="Longkoi H [Probationer]" userId="d4e83e2c-c7d3-4fe6-ab74-6155d2bb8c63" providerId="ADAL" clId="{85C4EBEC-404E-46BC-B68B-D507855FBC7A}" dt="2024-06-12T12:28:05.431" v="1472"/>
          <ac:spMkLst>
            <pc:docMk/>
            <pc:sldMk cId="3819318977" sldId="336"/>
            <ac:spMk id="5033" creationId="{6866635F-5F11-0111-F190-01515A03005D}"/>
          </ac:spMkLst>
        </pc:spChg>
        <pc:spChg chg="mod">
          <ac:chgData name="Longkoi H [Probationer]" userId="d4e83e2c-c7d3-4fe6-ab74-6155d2bb8c63" providerId="ADAL" clId="{85C4EBEC-404E-46BC-B68B-D507855FBC7A}" dt="2024-06-12T12:47:09.120" v="1991"/>
          <ac:spMkLst>
            <pc:docMk/>
            <pc:sldMk cId="3819318977" sldId="336"/>
            <ac:spMk id="5034" creationId="{661B65B6-5620-4724-608B-F8BAD0299913}"/>
          </ac:spMkLst>
        </pc:spChg>
        <pc:spChg chg="mod">
          <ac:chgData name="Longkoi H [Probationer]" userId="d4e83e2c-c7d3-4fe6-ab74-6155d2bb8c63" providerId="ADAL" clId="{85C4EBEC-404E-46BC-B68B-D507855FBC7A}" dt="2024-06-12T12:47:09.120" v="1991"/>
          <ac:spMkLst>
            <pc:docMk/>
            <pc:sldMk cId="3819318977" sldId="336"/>
            <ac:spMk id="5035" creationId="{B5D778C0-CCF1-D1F9-8B1D-33BAC06305EB}"/>
          </ac:spMkLst>
        </pc:spChg>
        <pc:spChg chg="mod">
          <ac:chgData name="Longkoi H [Probationer]" userId="d4e83e2c-c7d3-4fe6-ab74-6155d2bb8c63" providerId="ADAL" clId="{85C4EBEC-404E-46BC-B68B-D507855FBC7A}" dt="2024-06-12T12:28:05.430" v="1468"/>
          <ac:spMkLst>
            <pc:docMk/>
            <pc:sldMk cId="3819318977" sldId="336"/>
            <ac:spMk id="5036" creationId="{A1510D06-5226-A4E0-A351-5EA6FCCEA4B2}"/>
          </ac:spMkLst>
        </pc:spChg>
        <pc:spChg chg="mod">
          <ac:chgData name="Longkoi H [Probationer]" userId="d4e83e2c-c7d3-4fe6-ab74-6155d2bb8c63" providerId="ADAL" clId="{85C4EBEC-404E-46BC-B68B-D507855FBC7A}" dt="2024-06-12T12:28:05.430" v="1468"/>
          <ac:spMkLst>
            <pc:docMk/>
            <pc:sldMk cId="3819318977" sldId="336"/>
            <ac:spMk id="5037" creationId="{23815980-A936-EBE1-582D-814A2E6C9F67}"/>
          </ac:spMkLst>
        </pc:spChg>
        <pc:spChg chg="mod">
          <ac:chgData name="Longkoi H [Probationer]" userId="d4e83e2c-c7d3-4fe6-ab74-6155d2bb8c63" providerId="ADAL" clId="{85C4EBEC-404E-46BC-B68B-D507855FBC7A}" dt="2024-06-12T12:26:28.151" v="1221" actId="165"/>
          <ac:spMkLst>
            <pc:docMk/>
            <pc:sldMk cId="3819318977" sldId="336"/>
            <ac:spMk id="5038" creationId="{EA40DC68-0591-1087-A5DF-FD032A0E6760}"/>
          </ac:spMkLst>
        </pc:spChg>
        <pc:spChg chg="mod">
          <ac:chgData name="Longkoi H [Probationer]" userId="d4e83e2c-c7d3-4fe6-ab74-6155d2bb8c63" providerId="ADAL" clId="{85C4EBEC-404E-46BC-B68B-D507855FBC7A}" dt="2024-06-12T12:26:28.151" v="1221" actId="165"/>
          <ac:spMkLst>
            <pc:docMk/>
            <pc:sldMk cId="3819318977" sldId="336"/>
            <ac:spMk id="5039" creationId="{019BE4A4-F4B7-B86A-C258-575E3157564F}"/>
          </ac:spMkLst>
        </pc:spChg>
        <pc:spChg chg="add mod topLvl">
          <ac:chgData name="Longkoi H [Probationer]" userId="d4e83e2c-c7d3-4fe6-ab74-6155d2bb8c63" providerId="ADAL" clId="{85C4EBEC-404E-46BC-B68B-D507855FBC7A}" dt="2024-06-12T14:27:47.259" v="3676" actId="12788"/>
          <ac:spMkLst>
            <pc:docMk/>
            <pc:sldMk cId="3819318977" sldId="336"/>
            <ac:spMk id="5045" creationId="{5BC0F301-C704-A849-0907-1B15129BAC10}"/>
          </ac:spMkLst>
        </pc:spChg>
        <pc:spChg chg="add mod ord">
          <ac:chgData name="Longkoi H [Probationer]" userId="d4e83e2c-c7d3-4fe6-ab74-6155d2bb8c63" providerId="ADAL" clId="{85C4EBEC-404E-46BC-B68B-D507855FBC7A}" dt="2024-06-12T14:22:11.932" v="3581" actId="14100"/>
          <ac:spMkLst>
            <pc:docMk/>
            <pc:sldMk cId="3819318977" sldId="336"/>
            <ac:spMk id="5052" creationId="{49E7E52C-29FB-56F3-C4E3-E926CEC81E51}"/>
          </ac:spMkLst>
        </pc:spChg>
        <pc:grpChg chg="add del mod">
          <ac:chgData name="Longkoi H [Probationer]" userId="d4e83e2c-c7d3-4fe6-ab74-6155d2bb8c63" providerId="ADAL" clId="{85C4EBEC-404E-46BC-B68B-D507855FBC7A}" dt="2024-06-12T12:06:16.444" v="769" actId="165"/>
          <ac:grpSpMkLst>
            <pc:docMk/>
            <pc:sldMk cId="3819318977" sldId="336"/>
            <ac:grpSpMk id="9" creationId="{B56C24DA-8952-1FE0-D882-8838E14598BA}"/>
          </ac:grpSpMkLst>
        </pc:grpChg>
        <pc:grpChg chg="add del mod">
          <ac:chgData name="Longkoi H [Probationer]" userId="d4e83e2c-c7d3-4fe6-ab74-6155d2bb8c63" providerId="ADAL" clId="{85C4EBEC-404E-46BC-B68B-D507855FBC7A}" dt="2024-06-12T12:06:14.330" v="768" actId="165"/>
          <ac:grpSpMkLst>
            <pc:docMk/>
            <pc:sldMk cId="3819318977" sldId="336"/>
            <ac:grpSpMk id="10" creationId="{53530F0C-BCBC-C477-0544-90FEDB8FFFDD}"/>
          </ac:grpSpMkLst>
        </pc:grpChg>
        <pc:grpChg chg="add del mod">
          <ac:chgData name="Longkoi H [Probationer]" userId="d4e83e2c-c7d3-4fe6-ab74-6155d2bb8c63" providerId="ADAL" clId="{85C4EBEC-404E-46BC-B68B-D507855FBC7A}" dt="2024-06-12T12:06:29.581" v="779" actId="165"/>
          <ac:grpSpMkLst>
            <pc:docMk/>
            <pc:sldMk cId="3819318977" sldId="336"/>
            <ac:grpSpMk id="11" creationId="{EF1C500F-F5CB-80B2-5AA3-431E52B3E0F5}"/>
          </ac:grpSpMkLst>
        </pc:grpChg>
        <pc:grpChg chg="add del mod">
          <ac:chgData name="Longkoi H [Probationer]" userId="d4e83e2c-c7d3-4fe6-ab74-6155d2bb8c63" providerId="ADAL" clId="{85C4EBEC-404E-46BC-B68B-D507855FBC7A}" dt="2024-06-12T12:07:36.498" v="813" actId="165"/>
          <ac:grpSpMkLst>
            <pc:docMk/>
            <pc:sldMk cId="3819318977" sldId="336"/>
            <ac:grpSpMk id="21" creationId="{26C7B85B-71FD-AC2F-F4BD-9B0A7B647DE1}"/>
          </ac:grpSpMkLst>
        </pc:grpChg>
        <pc:grpChg chg="add del mod">
          <ac:chgData name="Longkoi H [Probationer]" userId="d4e83e2c-c7d3-4fe6-ab74-6155d2bb8c63" providerId="ADAL" clId="{85C4EBEC-404E-46BC-B68B-D507855FBC7A}" dt="2024-06-12T12:07:29.554" v="808" actId="165"/>
          <ac:grpSpMkLst>
            <pc:docMk/>
            <pc:sldMk cId="3819318977" sldId="336"/>
            <ac:grpSpMk id="29" creationId="{73CBF30B-B910-04FE-50D1-94A674181024}"/>
          </ac:grpSpMkLst>
        </pc:grpChg>
        <pc:grpChg chg="add del mod">
          <ac:chgData name="Longkoi H [Probationer]" userId="d4e83e2c-c7d3-4fe6-ab74-6155d2bb8c63" providerId="ADAL" clId="{85C4EBEC-404E-46BC-B68B-D507855FBC7A}" dt="2024-06-12T12:08:25.330" v="847" actId="165"/>
          <ac:grpSpMkLst>
            <pc:docMk/>
            <pc:sldMk cId="3819318977" sldId="336"/>
            <ac:grpSpMk id="31" creationId="{AC83C63F-59C9-C6F2-D14A-DD865D22A9E4}"/>
          </ac:grpSpMkLst>
        </pc:grpChg>
        <pc:grpChg chg="add mod topLvl">
          <ac:chgData name="Longkoi H [Probationer]" userId="d4e83e2c-c7d3-4fe6-ab74-6155d2bb8c63" providerId="ADAL" clId="{85C4EBEC-404E-46BC-B68B-D507855FBC7A}" dt="2024-06-12T14:27:42.905" v="3674" actId="12788"/>
          <ac:grpSpMkLst>
            <pc:docMk/>
            <pc:sldMk cId="3819318977" sldId="336"/>
            <ac:grpSpMk id="40" creationId="{B9F170BF-7A29-176B-62E9-261CB80A6CF5}"/>
          </ac:grpSpMkLst>
        </pc:grpChg>
        <pc:grpChg chg="add del mod">
          <ac:chgData name="Longkoi H [Probationer]" userId="d4e83e2c-c7d3-4fe6-ab74-6155d2bb8c63" providerId="ADAL" clId="{85C4EBEC-404E-46BC-B68B-D507855FBC7A}" dt="2024-06-12T12:14:15.605" v="986" actId="165"/>
          <ac:grpSpMkLst>
            <pc:docMk/>
            <pc:sldMk cId="3819318977" sldId="336"/>
            <ac:grpSpMk id="43" creationId="{343271FE-96A3-3F0B-D68A-55E01BE2A083}"/>
          </ac:grpSpMkLst>
        </pc:grpChg>
        <pc:grpChg chg="add del mod">
          <ac:chgData name="Longkoi H [Probationer]" userId="d4e83e2c-c7d3-4fe6-ab74-6155d2bb8c63" providerId="ADAL" clId="{85C4EBEC-404E-46BC-B68B-D507855FBC7A}" dt="2024-06-12T12:14:08.086" v="977" actId="165"/>
          <ac:grpSpMkLst>
            <pc:docMk/>
            <pc:sldMk cId="3819318977" sldId="336"/>
            <ac:grpSpMk id="44" creationId="{0F60FB27-B800-2DD2-DE8A-81B609C45D77}"/>
          </ac:grpSpMkLst>
        </pc:grpChg>
        <pc:grpChg chg="add del mod topLvl">
          <ac:chgData name="Longkoi H [Probationer]" userId="d4e83e2c-c7d3-4fe6-ab74-6155d2bb8c63" providerId="ADAL" clId="{85C4EBEC-404E-46BC-B68B-D507855FBC7A}" dt="2024-06-12T12:17:53.182" v="1153" actId="165"/>
          <ac:grpSpMkLst>
            <pc:docMk/>
            <pc:sldMk cId="3819318977" sldId="336"/>
            <ac:grpSpMk id="45" creationId="{7732D1F0-0E50-1BC9-9015-B91F44A82C22}"/>
          </ac:grpSpMkLst>
        </pc:grpChg>
        <pc:grpChg chg="add mod topLvl">
          <ac:chgData name="Longkoi H [Probationer]" userId="d4e83e2c-c7d3-4fe6-ab74-6155d2bb8c63" providerId="ADAL" clId="{85C4EBEC-404E-46BC-B68B-D507855FBC7A}" dt="2024-06-12T14:27:49.412" v="3678" actId="12788"/>
          <ac:grpSpMkLst>
            <pc:docMk/>
            <pc:sldMk cId="3819318977" sldId="336"/>
            <ac:grpSpMk id="48" creationId="{99FCDA65-DE88-432B-6524-7896B6DB70FF}"/>
          </ac:grpSpMkLst>
        </pc:grpChg>
        <pc:grpChg chg="add mod">
          <ac:chgData name="Longkoi H [Probationer]" userId="d4e83e2c-c7d3-4fe6-ab74-6155d2bb8c63" providerId="ADAL" clId="{85C4EBEC-404E-46BC-B68B-D507855FBC7A}" dt="2024-06-12T12:15:48.802" v="1068" actId="164"/>
          <ac:grpSpMkLst>
            <pc:docMk/>
            <pc:sldMk cId="3819318977" sldId="336"/>
            <ac:grpSpMk id="51" creationId="{50B996CC-C47A-4E06-C80B-27AFBA809009}"/>
          </ac:grpSpMkLst>
        </pc:grpChg>
        <pc:grpChg chg="add del mod">
          <ac:chgData name="Longkoi H [Probationer]" userId="d4e83e2c-c7d3-4fe6-ab74-6155d2bb8c63" providerId="ADAL" clId="{85C4EBEC-404E-46BC-B68B-D507855FBC7A}" dt="2024-06-12T12:16:37.395" v="1089" actId="478"/>
          <ac:grpSpMkLst>
            <pc:docMk/>
            <pc:sldMk cId="3819318977" sldId="336"/>
            <ac:grpSpMk id="58" creationId="{B4B422C4-C2EE-03F9-40E0-9B141E672F61}"/>
          </ac:grpSpMkLst>
        </pc:grpChg>
        <pc:grpChg chg="add del mod">
          <ac:chgData name="Longkoi H [Probationer]" userId="d4e83e2c-c7d3-4fe6-ab74-6155d2bb8c63" providerId="ADAL" clId="{85C4EBEC-404E-46BC-B68B-D507855FBC7A}" dt="2024-06-12T12:17:53.182" v="1153" actId="165"/>
          <ac:grpSpMkLst>
            <pc:docMk/>
            <pc:sldMk cId="3819318977" sldId="336"/>
            <ac:grpSpMk id="59" creationId="{E028CC9A-3328-D473-2567-FA81D447C9B0}"/>
          </ac:grpSpMkLst>
        </pc:grpChg>
        <pc:grpChg chg="add mod">
          <ac:chgData name="Longkoi H [Probationer]" userId="d4e83e2c-c7d3-4fe6-ab74-6155d2bb8c63" providerId="ADAL" clId="{85C4EBEC-404E-46BC-B68B-D507855FBC7A}" dt="2024-06-12T12:16:04.796" v="1078" actId="571"/>
          <ac:grpSpMkLst>
            <pc:docMk/>
            <pc:sldMk cId="3819318977" sldId="336"/>
            <ac:grpSpMk id="60" creationId="{6B95A8FE-0FCA-5B0D-F0D4-1AA57F9EB313}"/>
          </ac:grpSpMkLst>
        </pc:grpChg>
        <pc:grpChg chg="mod">
          <ac:chgData name="Longkoi H [Probationer]" userId="d4e83e2c-c7d3-4fe6-ab74-6155d2bb8c63" providerId="ADAL" clId="{85C4EBEC-404E-46BC-B68B-D507855FBC7A}" dt="2024-06-12T12:16:04.796" v="1078" actId="571"/>
          <ac:grpSpMkLst>
            <pc:docMk/>
            <pc:sldMk cId="3819318977" sldId="336"/>
            <ac:grpSpMk id="4994" creationId="{7240E4EA-510D-FC47-058F-E91AF698489D}"/>
          </ac:grpSpMkLst>
        </pc:grpChg>
        <pc:grpChg chg="add del mod">
          <ac:chgData name="Longkoi H [Probationer]" userId="d4e83e2c-c7d3-4fe6-ab74-6155d2bb8c63" providerId="ADAL" clId="{85C4EBEC-404E-46BC-B68B-D507855FBC7A}" dt="2024-06-12T12:17:30.967" v="1143" actId="165"/>
          <ac:grpSpMkLst>
            <pc:docMk/>
            <pc:sldMk cId="3819318977" sldId="336"/>
            <ac:grpSpMk id="4997" creationId="{F4D94E25-CAE6-6639-F3B0-819B8D47926E}"/>
          </ac:grpSpMkLst>
        </pc:grpChg>
        <pc:grpChg chg="del mod topLvl">
          <ac:chgData name="Longkoi H [Probationer]" userId="d4e83e2c-c7d3-4fe6-ab74-6155d2bb8c63" providerId="ADAL" clId="{85C4EBEC-404E-46BC-B68B-D507855FBC7A}" dt="2024-06-12T12:17:53.182" v="1153" actId="165"/>
          <ac:grpSpMkLst>
            <pc:docMk/>
            <pc:sldMk cId="3819318977" sldId="336"/>
            <ac:grpSpMk id="5003" creationId="{43AA41B1-DD24-48B5-94C8-EB014CA278C6}"/>
          </ac:grpSpMkLst>
        </pc:grpChg>
        <pc:grpChg chg="add del mod">
          <ac:chgData name="Longkoi H [Probationer]" userId="d4e83e2c-c7d3-4fe6-ab74-6155d2bb8c63" providerId="ADAL" clId="{85C4EBEC-404E-46BC-B68B-D507855FBC7A}" dt="2024-06-12T12:17:40.776" v="1146" actId="165"/>
          <ac:grpSpMkLst>
            <pc:docMk/>
            <pc:sldMk cId="3819318977" sldId="336"/>
            <ac:grpSpMk id="5006" creationId="{3B22515C-5A3D-9292-DDA3-AE926F8B49F8}"/>
          </ac:grpSpMkLst>
        </pc:grpChg>
        <pc:grpChg chg="add del mod">
          <ac:chgData name="Longkoi H [Probationer]" userId="d4e83e2c-c7d3-4fe6-ab74-6155d2bb8c63" providerId="ADAL" clId="{85C4EBEC-404E-46BC-B68B-D507855FBC7A}" dt="2024-06-12T12:17:53.182" v="1153" actId="165"/>
          <ac:grpSpMkLst>
            <pc:docMk/>
            <pc:sldMk cId="3819318977" sldId="336"/>
            <ac:grpSpMk id="5007" creationId="{12ABCA81-5253-77B1-06CD-6AB8C4386A53}"/>
          </ac:grpSpMkLst>
        </pc:grpChg>
        <pc:grpChg chg="add del mod">
          <ac:chgData name="Longkoi H [Probationer]" userId="d4e83e2c-c7d3-4fe6-ab74-6155d2bb8c63" providerId="ADAL" clId="{85C4EBEC-404E-46BC-B68B-D507855FBC7A}" dt="2024-06-12T12:18:35.487" v="1162" actId="165"/>
          <ac:grpSpMkLst>
            <pc:docMk/>
            <pc:sldMk cId="3819318977" sldId="336"/>
            <ac:grpSpMk id="5008" creationId="{1E272F4E-552A-CE0A-741E-8890BC99087A}"/>
          </ac:grpSpMkLst>
        </pc:grpChg>
        <pc:grpChg chg="add del mod">
          <ac:chgData name="Longkoi H [Probationer]" userId="d4e83e2c-c7d3-4fe6-ab74-6155d2bb8c63" providerId="ADAL" clId="{85C4EBEC-404E-46BC-B68B-D507855FBC7A}" dt="2024-06-12T12:26:28.151" v="1221" actId="165"/>
          <ac:grpSpMkLst>
            <pc:docMk/>
            <pc:sldMk cId="3819318977" sldId="336"/>
            <ac:grpSpMk id="5010" creationId="{8EB9A844-BABE-2297-1624-BEF892A58EF4}"/>
          </ac:grpSpMkLst>
        </pc:grpChg>
        <pc:grpChg chg="del mod topLvl">
          <ac:chgData name="Longkoi H [Probationer]" userId="d4e83e2c-c7d3-4fe6-ab74-6155d2bb8c63" providerId="ADAL" clId="{85C4EBEC-404E-46BC-B68B-D507855FBC7A}" dt="2024-06-12T12:26:51.158" v="1404" actId="478"/>
          <ac:grpSpMkLst>
            <pc:docMk/>
            <pc:sldMk cId="3819318977" sldId="336"/>
            <ac:grpSpMk id="5013" creationId="{E1C084B0-9D6F-DBE0-FCE4-D39B65AE8A84}"/>
          </ac:grpSpMkLst>
        </pc:grpChg>
        <pc:grpChg chg="del mod topLvl">
          <ac:chgData name="Longkoi H [Probationer]" userId="d4e83e2c-c7d3-4fe6-ab74-6155d2bb8c63" providerId="ADAL" clId="{85C4EBEC-404E-46BC-B68B-D507855FBC7A}" dt="2024-06-12T14:25:14.858" v="3624" actId="478"/>
          <ac:grpSpMkLst>
            <pc:docMk/>
            <pc:sldMk cId="3819318977" sldId="336"/>
            <ac:grpSpMk id="5014" creationId="{DAF552D8-28EF-9E0B-F04A-79157D3EA7C1}"/>
          </ac:grpSpMkLst>
        </pc:grpChg>
        <pc:grpChg chg="del mod topLvl">
          <ac:chgData name="Longkoi H [Probationer]" userId="d4e83e2c-c7d3-4fe6-ab74-6155d2bb8c63" providerId="ADAL" clId="{85C4EBEC-404E-46BC-B68B-D507855FBC7A}" dt="2024-06-12T14:25:12.144" v="3621" actId="478"/>
          <ac:grpSpMkLst>
            <pc:docMk/>
            <pc:sldMk cId="3819318977" sldId="336"/>
            <ac:grpSpMk id="5015" creationId="{3FC4AC39-256E-7915-4ED8-607879BA4BFA}"/>
          </ac:grpSpMkLst>
        </pc:grpChg>
        <pc:grpChg chg="del mod topLvl">
          <ac:chgData name="Longkoi H [Probationer]" userId="d4e83e2c-c7d3-4fe6-ab74-6155d2bb8c63" providerId="ADAL" clId="{85C4EBEC-404E-46BC-B68B-D507855FBC7A}" dt="2024-06-12T14:25:09.232" v="3619" actId="478"/>
          <ac:grpSpMkLst>
            <pc:docMk/>
            <pc:sldMk cId="3819318977" sldId="336"/>
            <ac:grpSpMk id="5016" creationId="{C490B74D-1438-44D0-B4FA-0EB36D79CEEF}"/>
          </ac:grpSpMkLst>
        </pc:grpChg>
        <pc:grpChg chg="del mod topLvl">
          <ac:chgData name="Longkoi H [Probationer]" userId="d4e83e2c-c7d3-4fe6-ab74-6155d2bb8c63" providerId="ADAL" clId="{85C4EBEC-404E-46BC-B68B-D507855FBC7A}" dt="2024-06-12T14:24:58.197" v="3612" actId="478"/>
          <ac:grpSpMkLst>
            <pc:docMk/>
            <pc:sldMk cId="3819318977" sldId="336"/>
            <ac:grpSpMk id="5017" creationId="{E87F41C1-A1B6-3DB3-74A9-7F79E77DE86A}"/>
          </ac:grpSpMkLst>
        </pc:grpChg>
        <pc:grpChg chg="del mod topLvl">
          <ac:chgData name="Longkoi H [Probationer]" userId="d4e83e2c-c7d3-4fe6-ab74-6155d2bb8c63" providerId="ADAL" clId="{85C4EBEC-404E-46BC-B68B-D507855FBC7A}" dt="2024-06-12T12:27:09.953" v="1409" actId="478"/>
          <ac:grpSpMkLst>
            <pc:docMk/>
            <pc:sldMk cId="3819318977" sldId="336"/>
            <ac:grpSpMk id="5018" creationId="{1C357703-8169-BF52-77F2-078CE3004316}"/>
          </ac:grpSpMkLst>
        </pc:grpChg>
        <pc:grpChg chg="del mod topLvl">
          <ac:chgData name="Longkoi H [Probationer]" userId="d4e83e2c-c7d3-4fe6-ab74-6155d2bb8c63" providerId="ADAL" clId="{85C4EBEC-404E-46BC-B68B-D507855FBC7A}" dt="2024-06-12T12:27:09.953" v="1409" actId="478"/>
          <ac:grpSpMkLst>
            <pc:docMk/>
            <pc:sldMk cId="3819318977" sldId="336"/>
            <ac:grpSpMk id="5019" creationId="{86D78C26-0564-682D-FE71-56497EB03218}"/>
          </ac:grpSpMkLst>
        </pc:grpChg>
        <pc:grpChg chg="del mod topLvl">
          <ac:chgData name="Longkoi H [Probationer]" userId="d4e83e2c-c7d3-4fe6-ab74-6155d2bb8c63" providerId="ADAL" clId="{85C4EBEC-404E-46BC-B68B-D507855FBC7A}" dt="2024-06-12T12:27:09.953" v="1409" actId="478"/>
          <ac:grpSpMkLst>
            <pc:docMk/>
            <pc:sldMk cId="3819318977" sldId="336"/>
            <ac:grpSpMk id="5020" creationId="{4EB4D293-841F-88F2-B97B-029BBC3AF275}"/>
          </ac:grpSpMkLst>
        </pc:grpChg>
        <pc:grpChg chg="add del mod ord">
          <ac:chgData name="Longkoi H [Probationer]" userId="d4e83e2c-c7d3-4fe6-ab74-6155d2bb8c63" providerId="ADAL" clId="{85C4EBEC-404E-46BC-B68B-D507855FBC7A}" dt="2024-06-12T12:27:00.248" v="1408" actId="165"/>
          <ac:grpSpMkLst>
            <pc:docMk/>
            <pc:sldMk cId="3819318977" sldId="336"/>
            <ac:grpSpMk id="5040" creationId="{F3E297A9-1575-6DA2-C933-CF417FB5AACA}"/>
          </ac:grpSpMkLst>
        </pc:grpChg>
        <pc:grpChg chg="add mod">
          <ac:chgData name="Longkoi H [Probationer]" userId="d4e83e2c-c7d3-4fe6-ab74-6155d2bb8c63" providerId="ADAL" clId="{85C4EBEC-404E-46BC-B68B-D507855FBC7A}" dt="2024-06-12T12:30:30.049" v="1559" actId="1035"/>
          <ac:grpSpMkLst>
            <pc:docMk/>
            <pc:sldMk cId="3819318977" sldId="336"/>
            <ac:grpSpMk id="5041" creationId="{A16AE946-122B-7734-1441-64E16F2C98FC}"/>
          </ac:grpSpMkLst>
        </pc:grpChg>
        <pc:grpChg chg="add mod">
          <ac:chgData name="Longkoi H [Probationer]" userId="d4e83e2c-c7d3-4fe6-ab74-6155d2bb8c63" providerId="ADAL" clId="{85C4EBEC-404E-46BC-B68B-D507855FBC7A}" dt="2024-06-12T12:30:30.049" v="1559" actId="1035"/>
          <ac:grpSpMkLst>
            <pc:docMk/>
            <pc:sldMk cId="3819318977" sldId="336"/>
            <ac:grpSpMk id="5042" creationId="{E2BA7B82-A898-0F2A-C0F8-3EC7D8757E0D}"/>
          </ac:grpSpMkLst>
        </pc:grpChg>
        <pc:grpChg chg="add mod">
          <ac:chgData name="Longkoi H [Probationer]" userId="d4e83e2c-c7d3-4fe6-ab74-6155d2bb8c63" providerId="ADAL" clId="{85C4EBEC-404E-46BC-B68B-D507855FBC7A}" dt="2024-06-12T12:30:30.049" v="1559" actId="1035"/>
          <ac:grpSpMkLst>
            <pc:docMk/>
            <pc:sldMk cId="3819318977" sldId="336"/>
            <ac:grpSpMk id="5043" creationId="{0F22A1B7-B09A-0434-99D3-E79EE0C3ADB1}"/>
          </ac:grpSpMkLst>
        </pc:grpChg>
        <pc:grpChg chg="add mod">
          <ac:chgData name="Longkoi H [Probationer]" userId="d4e83e2c-c7d3-4fe6-ab74-6155d2bb8c63" providerId="ADAL" clId="{85C4EBEC-404E-46BC-B68B-D507855FBC7A}" dt="2024-06-12T12:30:30.049" v="1559" actId="1035"/>
          <ac:grpSpMkLst>
            <pc:docMk/>
            <pc:sldMk cId="3819318977" sldId="336"/>
            <ac:grpSpMk id="5044" creationId="{1F8D7F12-802A-7668-6E11-736FCC337AF3}"/>
          </ac:grpSpMkLst>
        </pc:grpChg>
        <pc:grpChg chg="add del mod">
          <ac:chgData name="Longkoi H [Probationer]" userId="d4e83e2c-c7d3-4fe6-ab74-6155d2bb8c63" providerId="ADAL" clId="{85C4EBEC-404E-46BC-B68B-D507855FBC7A}" dt="2024-06-12T14:27:39.027" v="3671" actId="165"/>
          <ac:grpSpMkLst>
            <pc:docMk/>
            <pc:sldMk cId="3819318977" sldId="336"/>
            <ac:grpSpMk id="5053" creationId="{FFB1A66D-ED70-D567-E8B3-85C074EC9597}"/>
          </ac:grpSpMkLst>
        </pc:grpChg>
        <pc:picChg chg="del mod topLvl">
          <ac:chgData name="Longkoi H [Probationer]" userId="d4e83e2c-c7d3-4fe6-ab74-6155d2bb8c63" providerId="ADAL" clId="{85C4EBEC-404E-46BC-B68B-D507855FBC7A}" dt="2024-06-12T12:26:30.473" v="1222" actId="478"/>
          <ac:picMkLst>
            <pc:docMk/>
            <pc:sldMk cId="3819318977" sldId="336"/>
            <ac:picMk id="5011" creationId="{1D2BE885-AD11-6074-BF6B-18A44AAA0775}"/>
          </ac:picMkLst>
        </pc:picChg>
        <pc:picChg chg="add mod topLvl">
          <ac:chgData name="Longkoi H [Probationer]" userId="d4e83e2c-c7d3-4fe6-ab74-6155d2bb8c63" providerId="ADAL" clId="{85C4EBEC-404E-46BC-B68B-D507855FBC7A}" dt="2024-06-12T14:27:42.905" v="3674" actId="12788"/>
          <ac:picMkLst>
            <pc:docMk/>
            <pc:sldMk cId="3819318977" sldId="336"/>
            <ac:picMk id="5047" creationId="{3B8B7260-0F07-9555-3FB2-E8C5817485EB}"/>
          </ac:picMkLst>
        </pc:picChg>
        <pc:picChg chg="add mod topLvl">
          <ac:chgData name="Longkoi H [Probationer]" userId="d4e83e2c-c7d3-4fe6-ab74-6155d2bb8c63" providerId="ADAL" clId="{85C4EBEC-404E-46BC-B68B-D507855FBC7A}" dt="2024-06-12T14:27:51.433" v="3680" actId="12788"/>
          <ac:picMkLst>
            <pc:docMk/>
            <pc:sldMk cId="3819318977" sldId="336"/>
            <ac:picMk id="5049" creationId="{6DB34F89-F9B4-710F-F77A-EBAFE84DF7D2}"/>
          </ac:picMkLst>
        </pc:picChg>
        <pc:picChg chg="add mod topLvl">
          <ac:chgData name="Longkoi H [Probationer]" userId="d4e83e2c-c7d3-4fe6-ab74-6155d2bb8c63" providerId="ADAL" clId="{85C4EBEC-404E-46BC-B68B-D507855FBC7A}" dt="2024-06-12T14:27:49.412" v="3678" actId="12788"/>
          <ac:picMkLst>
            <pc:docMk/>
            <pc:sldMk cId="3819318977" sldId="336"/>
            <ac:picMk id="5051" creationId="{F9740275-9E1B-D576-6068-B5BCF0C0FDFA}"/>
          </ac:picMkLst>
        </pc:picChg>
        <pc:cxnChg chg="add del mod ord">
          <ac:chgData name="Longkoi H [Probationer]" userId="d4e83e2c-c7d3-4fe6-ab74-6155d2bb8c63" providerId="ADAL" clId="{85C4EBEC-404E-46BC-B68B-D507855FBC7A}" dt="2024-06-12T14:24:56.066" v="3610" actId="478"/>
          <ac:cxnSpMkLst>
            <pc:docMk/>
            <pc:sldMk cId="3819318977" sldId="336"/>
            <ac:cxnSpMk id="2" creationId="{BC7CD96A-3B8C-4A60-C675-4884FD71AD53}"/>
          </ac:cxnSpMkLst>
        </pc:cxnChg>
        <pc:cxnChg chg="add del mod">
          <ac:chgData name="Longkoi H [Probationer]" userId="d4e83e2c-c7d3-4fe6-ab74-6155d2bb8c63" providerId="ADAL" clId="{85C4EBEC-404E-46BC-B68B-D507855FBC7A}" dt="2024-06-12T12:10:39.363" v="865" actId="478"/>
          <ac:cxnSpMkLst>
            <pc:docMk/>
            <pc:sldMk cId="3819318977" sldId="336"/>
            <ac:cxnSpMk id="3" creationId="{B2A9E83A-B0BE-2D3C-C534-B8EB77907D51}"/>
          </ac:cxnSpMkLst>
        </pc:cxnChg>
        <pc:cxnChg chg="add del mod topLvl">
          <ac:chgData name="Longkoi H [Probationer]" userId="d4e83e2c-c7d3-4fe6-ab74-6155d2bb8c63" providerId="ADAL" clId="{85C4EBEC-404E-46BC-B68B-D507855FBC7A}" dt="2024-06-12T14:25:15.576" v="3625" actId="478"/>
          <ac:cxnSpMkLst>
            <pc:docMk/>
            <pc:sldMk cId="3819318977" sldId="336"/>
            <ac:cxnSpMk id="5" creationId="{D9CD6724-6829-5537-137F-AB38BA4C1E7D}"/>
          </ac:cxnSpMkLst>
        </pc:cxnChg>
        <pc:cxnChg chg="add del mod topLvl">
          <ac:chgData name="Longkoi H [Probationer]" userId="d4e83e2c-c7d3-4fe6-ab74-6155d2bb8c63" providerId="ADAL" clId="{85C4EBEC-404E-46BC-B68B-D507855FBC7A}" dt="2024-06-12T14:25:12.825" v="3622" actId="478"/>
          <ac:cxnSpMkLst>
            <pc:docMk/>
            <pc:sldMk cId="3819318977" sldId="336"/>
            <ac:cxnSpMk id="6" creationId="{8C2B490E-1037-E34D-9138-9C3DAB8B3F81}"/>
          </ac:cxnSpMkLst>
        </pc:cxnChg>
        <pc:cxnChg chg="add del mod topLvl">
          <ac:chgData name="Longkoi H [Probationer]" userId="d4e83e2c-c7d3-4fe6-ab74-6155d2bb8c63" providerId="ADAL" clId="{85C4EBEC-404E-46BC-B68B-D507855FBC7A}" dt="2024-06-12T14:25:08.633" v="3618" actId="478"/>
          <ac:cxnSpMkLst>
            <pc:docMk/>
            <pc:sldMk cId="3819318977" sldId="336"/>
            <ac:cxnSpMk id="7" creationId="{854F5BB2-5E3C-4F8A-4394-3D7B3E9FA75A}"/>
          </ac:cxnSpMkLst>
        </pc:cxnChg>
        <pc:cxnChg chg="add mod topLvl">
          <ac:chgData name="Longkoi H [Probationer]" userId="d4e83e2c-c7d3-4fe6-ab74-6155d2bb8c63" providerId="ADAL" clId="{85C4EBEC-404E-46BC-B68B-D507855FBC7A}" dt="2024-06-12T12:15:48.802" v="1068" actId="164"/>
          <ac:cxnSpMkLst>
            <pc:docMk/>
            <pc:sldMk cId="3819318977" sldId="336"/>
            <ac:cxnSpMk id="8" creationId="{63E818F8-4EA3-11B8-696B-9DE36C2852D2}"/>
          </ac:cxnSpMkLst>
        </pc:cxnChg>
        <pc:cxnChg chg="del">
          <ac:chgData name="Longkoi H [Probationer]" userId="d4e83e2c-c7d3-4fe6-ab74-6155d2bb8c63" providerId="ADAL" clId="{85C4EBEC-404E-46BC-B68B-D507855FBC7A}" dt="2024-06-12T12:11:54.228" v="925" actId="478"/>
          <ac:cxnSpMkLst>
            <pc:docMk/>
            <pc:sldMk cId="3819318977" sldId="336"/>
            <ac:cxnSpMk id="20" creationId="{8DFD6658-D628-5C28-5AAC-43D24FBCADB2}"/>
          </ac:cxnSpMkLst>
        </pc:cxnChg>
        <pc:cxnChg chg="del">
          <ac:chgData name="Longkoi H [Probationer]" userId="d4e83e2c-c7d3-4fe6-ab74-6155d2bb8c63" providerId="ADAL" clId="{85C4EBEC-404E-46BC-B68B-D507855FBC7A}" dt="2024-06-12T12:05:55.666" v="763" actId="478"/>
          <ac:cxnSpMkLst>
            <pc:docMk/>
            <pc:sldMk cId="3819318977" sldId="336"/>
            <ac:cxnSpMk id="26" creationId="{F906D02B-AA26-2A1E-DCAD-253CD9D05D59}"/>
          </ac:cxnSpMkLst>
        </pc:cxnChg>
        <pc:cxnChg chg="del">
          <ac:chgData name="Longkoi H [Probationer]" userId="d4e83e2c-c7d3-4fe6-ab74-6155d2bb8c63" providerId="ADAL" clId="{85C4EBEC-404E-46BC-B68B-D507855FBC7A}" dt="2024-06-12T12:05:54.434" v="762" actId="478"/>
          <ac:cxnSpMkLst>
            <pc:docMk/>
            <pc:sldMk cId="3819318977" sldId="336"/>
            <ac:cxnSpMk id="27" creationId="{F7F00687-F473-0D5E-C116-10C6BA08102C}"/>
          </ac:cxnSpMkLst>
        </pc:cxnChg>
        <pc:cxnChg chg="del">
          <ac:chgData name="Longkoi H [Probationer]" userId="d4e83e2c-c7d3-4fe6-ab74-6155d2bb8c63" providerId="ADAL" clId="{85C4EBEC-404E-46BC-B68B-D507855FBC7A}" dt="2024-06-12T12:05:53.719" v="761" actId="478"/>
          <ac:cxnSpMkLst>
            <pc:docMk/>
            <pc:sldMk cId="3819318977" sldId="336"/>
            <ac:cxnSpMk id="28" creationId="{D28F5A9A-809D-4559-1E8D-F09C17919F6B}"/>
          </ac:cxnSpMkLst>
        </pc:cxnChg>
        <pc:cxnChg chg="del">
          <ac:chgData name="Longkoi H [Probationer]" userId="d4e83e2c-c7d3-4fe6-ab74-6155d2bb8c63" providerId="ADAL" clId="{85C4EBEC-404E-46BC-B68B-D507855FBC7A}" dt="2024-06-12T12:16:47.212" v="1095" actId="478"/>
          <ac:cxnSpMkLst>
            <pc:docMk/>
            <pc:sldMk cId="3819318977" sldId="336"/>
            <ac:cxnSpMk id="30" creationId="{06F5AAB5-57D4-2456-73E9-94F10D25E114}"/>
          </ac:cxnSpMkLst>
        </pc:cxnChg>
        <pc:cxnChg chg="del mod">
          <ac:chgData name="Longkoi H [Probationer]" userId="d4e83e2c-c7d3-4fe6-ab74-6155d2bb8c63" providerId="ADAL" clId="{85C4EBEC-404E-46BC-B68B-D507855FBC7A}" dt="2024-06-12T14:25:16.298" v="3626" actId="478"/>
          <ac:cxnSpMkLst>
            <pc:docMk/>
            <pc:sldMk cId="3819318977" sldId="336"/>
            <ac:cxnSpMk id="59" creationId="{DFF3F9A1-979D-1DD6-5102-1FED2AED91A4}"/>
          </ac:cxnSpMkLst>
        </pc:cxnChg>
        <pc:cxnChg chg="del mod">
          <ac:chgData name="Longkoi H [Probationer]" userId="d4e83e2c-c7d3-4fe6-ab74-6155d2bb8c63" providerId="ADAL" clId="{85C4EBEC-404E-46BC-B68B-D507855FBC7A}" dt="2024-06-12T14:25:13.992" v="3623" actId="478"/>
          <ac:cxnSpMkLst>
            <pc:docMk/>
            <pc:sldMk cId="3819318977" sldId="336"/>
            <ac:cxnSpMk id="60" creationId="{B10B8EC9-2D7D-4B16-4630-E377B9F26285}"/>
          </ac:cxnSpMkLst>
        </pc:cxnChg>
        <pc:cxnChg chg="del mod">
          <ac:chgData name="Longkoi H [Probationer]" userId="d4e83e2c-c7d3-4fe6-ab74-6155d2bb8c63" providerId="ADAL" clId="{85C4EBEC-404E-46BC-B68B-D507855FBC7A}" dt="2024-06-12T14:25:10.860" v="3620" actId="478"/>
          <ac:cxnSpMkLst>
            <pc:docMk/>
            <pc:sldMk cId="3819318977" sldId="336"/>
            <ac:cxnSpMk id="61" creationId="{DE06364D-7C5B-6EE1-1D86-D7A087ACA532}"/>
          </ac:cxnSpMkLst>
        </pc:cxnChg>
        <pc:cxnChg chg="mod">
          <ac:chgData name="Longkoi H [Probationer]" userId="d4e83e2c-c7d3-4fe6-ab74-6155d2bb8c63" providerId="ADAL" clId="{85C4EBEC-404E-46BC-B68B-D507855FBC7A}" dt="2024-06-12T12:16:04.796" v="1078" actId="571"/>
          <ac:cxnSpMkLst>
            <pc:docMk/>
            <pc:sldMk cId="3819318977" sldId="336"/>
            <ac:cxnSpMk id="62" creationId="{1613AA67-DB62-5FAD-AF25-47C6441971AE}"/>
          </ac:cxnSpMkLst>
        </pc:cxnChg>
        <pc:cxnChg chg="del mod">
          <ac:chgData name="Longkoi H [Probationer]" userId="d4e83e2c-c7d3-4fe6-ab74-6155d2bb8c63" providerId="ADAL" clId="{85C4EBEC-404E-46BC-B68B-D507855FBC7A}" dt="2024-06-12T14:24:57.485" v="3611" actId="478"/>
          <ac:cxnSpMkLst>
            <pc:docMk/>
            <pc:sldMk cId="3819318977" sldId="336"/>
            <ac:cxnSpMk id="62" creationId="{886E3D94-D98E-6E65-3E2A-3A78CBEC9159}"/>
          </ac:cxnSpMkLst>
        </pc:cxnChg>
        <pc:cxnChg chg="del mod topLvl">
          <ac:chgData name="Longkoi H [Probationer]" userId="d4e83e2c-c7d3-4fe6-ab74-6155d2bb8c63" providerId="ADAL" clId="{85C4EBEC-404E-46BC-B68B-D507855FBC7A}" dt="2024-06-12T14:25:07.207" v="3617" actId="478"/>
          <ac:cxnSpMkLst>
            <pc:docMk/>
            <pc:sldMk cId="3819318977" sldId="336"/>
            <ac:cxnSpMk id="4999" creationId="{539B194D-2296-FA6A-A19B-A5A502FA50C0}"/>
          </ac:cxnSpMkLst>
        </pc:cxnChg>
        <pc:cxnChg chg="del mod topLvl">
          <ac:chgData name="Longkoi H [Probationer]" userId="d4e83e2c-c7d3-4fe6-ab74-6155d2bb8c63" providerId="ADAL" clId="{85C4EBEC-404E-46BC-B68B-D507855FBC7A}" dt="2024-06-12T12:27:22.387" v="1410" actId="478"/>
          <ac:cxnSpMkLst>
            <pc:docMk/>
            <pc:sldMk cId="3819318977" sldId="336"/>
            <ac:cxnSpMk id="5012" creationId="{A971F054-467F-7C44-1C48-013244108582}"/>
          </ac:cxnSpMkLst>
        </pc:cxnChg>
        <pc:cxnChg chg="del mod topLvl">
          <ac:chgData name="Longkoi H [Probationer]" userId="d4e83e2c-c7d3-4fe6-ab74-6155d2bb8c63" providerId="ADAL" clId="{85C4EBEC-404E-46BC-B68B-D507855FBC7A}" dt="2024-06-12T12:26:52.285" v="1405" actId="478"/>
          <ac:cxnSpMkLst>
            <pc:docMk/>
            <pc:sldMk cId="3819318977" sldId="336"/>
            <ac:cxnSpMk id="5022" creationId="{F52F79B0-2C89-BFE9-3E56-0F293BBB0AEA}"/>
          </ac:cxnSpMkLst>
        </pc:cxnChg>
      </pc:sldChg>
      <pc:sldChg chg="add del">
        <pc:chgData name="Longkoi H [Probationer]" userId="d4e83e2c-c7d3-4fe6-ab74-6155d2bb8c63" providerId="ADAL" clId="{85C4EBEC-404E-46BC-B68B-D507855FBC7A}" dt="2024-06-12T12:51:32.787" v="2016" actId="2890"/>
        <pc:sldMkLst>
          <pc:docMk/>
          <pc:sldMk cId="1937428900" sldId="337"/>
        </pc:sldMkLst>
      </pc:sldChg>
      <pc:sldChg chg="add del">
        <pc:chgData name="Longkoi H [Probationer]" userId="d4e83e2c-c7d3-4fe6-ab74-6155d2bb8c63" providerId="ADAL" clId="{85C4EBEC-404E-46BC-B68B-D507855FBC7A}" dt="2024-06-12T12:51:31.996" v="2015" actId="2890"/>
        <pc:sldMkLst>
          <pc:docMk/>
          <pc:sldMk cId="177206667" sldId="338"/>
        </pc:sldMkLst>
      </pc:sldChg>
      <pc:sldChg chg="add del">
        <pc:chgData name="Longkoi H [Probationer]" userId="d4e83e2c-c7d3-4fe6-ab74-6155d2bb8c63" providerId="ADAL" clId="{85C4EBEC-404E-46BC-B68B-D507855FBC7A}" dt="2024-06-12T12:51:31.674" v="2014" actId="2890"/>
        <pc:sldMkLst>
          <pc:docMk/>
          <pc:sldMk cId="2690348306" sldId="339"/>
        </pc:sldMkLst>
      </pc:sldChg>
      <pc:sldChg chg="modSp add mod">
        <pc:chgData name="Longkoi H [Probationer]" userId="d4e83e2c-c7d3-4fe6-ab74-6155d2bb8c63" providerId="ADAL" clId="{85C4EBEC-404E-46BC-B68B-D507855FBC7A}" dt="2024-06-12T13:39:06.786" v="2295" actId="1035"/>
        <pc:sldMkLst>
          <pc:docMk/>
          <pc:sldMk cId="2891892298" sldId="2147482409"/>
        </pc:sldMkLst>
        <pc:spChg chg="mod">
          <ac:chgData name="Longkoi H [Probationer]" userId="d4e83e2c-c7d3-4fe6-ab74-6155d2bb8c63" providerId="ADAL" clId="{85C4EBEC-404E-46BC-B68B-D507855FBC7A}" dt="2024-06-12T13:38:40.854" v="2294" actId="1036"/>
          <ac:spMkLst>
            <pc:docMk/>
            <pc:sldMk cId="2891892298" sldId="2147482409"/>
            <ac:spMk id="3" creationId="{C497994E-D307-0DE5-FE38-3D366BFC6B3C}"/>
          </ac:spMkLst>
        </pc:spChg>
        <pc:spChg chg="mod">
          <ac:chgData name="Longkoi H [Probationer]" userId="d4e83e2c-c7d3-4fe6-ab74-6155d2bb8c63" providerId="ADAL" clId="{85C4EBEC-404E-46BC-B68B-D507855FBC7A}" dt="2024-06-12T13:36:22.731" v="2264" actId="12788"/>
          <ac:spMkLst>
            <pc:docMk/>
            <pc:sldMk cId="2891892298" sldId="2147482409"/>
            <ac:spMk id="28" creationId="{6C50128D-C919-FB88-EE2D-AC33C0E327EF}"/>
          </ac:spMkLst>
        </pc:spChg>
        <pc:spChg chg="mod">
          <ac:chgData name="Longkoi H [Probationer]" userId="d4e83e2c-c7d3-4fe6-ab74-6155d2bb8c63" providerId="ADAL" clId="{85C4EBEC-404E-46BC-B68B-D507855FBC7A}" dt="2024-06-12T13:39:06.786" v="2295" actId="1035"/>
          <ac:spMkLst>
            <pc:docMk/>
            <pc:sldMk cId="2891892298" sldId="2147482409"/>
            <ac:spMk id="29" creationId="{33D5FCBA-0770-9194-2460-7FFFCD514EC4}"/>
          </ac:spMkLst>
        </pc:spChg>
        <pc:spChg chg="mod">
          <ac:chgData name="Longkoi H [Probationer]" userId="d4e83e2c-c7d3-4fe6-ab74-6155d2bb8c63" providerId="ADAL" clId="{85C4EBEC-404E-46BC-B68B-D507855FBC7A}" dt="2024-06-12T13:38:04.990" v="2275" actId="1036"/>
          <ac:spMkLst>
            <pc:docMk/>
            <pc:sldMk cId="2891892298" sldId="2147482409"/>
            <ac:spMk id="30" creationId="{E2D77560-8DF6-88C7-5A8C-55159457305A}"/>
          </ac:spMkLst>
        </pc:spChg>
        <pc:spChg chg="mod">
          <ac:chgData name="Longkoi H [Probationer]" userId="d4e83e2c-c7d3-4fe6-ab74-6155d2bb8c63" providerId="ADAL" clId="{85C4EBEC-404E-46BC-B68B-D507855FBC7A}" dt="2024-06-12T13:38:12.718" v="2281" actId="1035"/>
          <ac:spMkLst>
            <pc:docMk/>
            <pc:sldMk cId="2891892298" sldId="2147482409"/>
            <ac:spMk id="32" creationId="{BE0D24BA-ED14-CEA8-298D-B3439676BAF4}"/>
          </ac:spMkLst>
        </pc:spChg>
        <pc:spChg chg="mod">
          <ac:chgData name="Longkoi H [Probationer]" userId="d4e83e2c-c7d3-4fe6-ab74-6155d2bb8c63" providerId="ADAL" clId="{85C4EBEC-404E-46BC-B68B-D507855FBC7A}" dt="2024-06-12T13:38:12.718" v="2281" actId="1035"/>
          <ac:spMkLst>
            <pc:docMk/>
            <pc:sldMk cId="2891892298" sldId="2147482409"/>
            <ac:spMk id="33" creationId="{C39309D3-5515-4D49-E3CD-DA5C459F18E6}"/>
          </ac:spMkLst>
        </pc:spChg>
        <pc:spChg chg="mod">
          <ac:chgData name="Longkoi H [Probationer]" userId="d4e83e2c-c7d3-4fe6-ab74-6155d2bb8c63" providerId="ADAL" clId="{85C4EBEC-404E-46BC-B68B-D507855FBC7A}" dt="2024-06-12T13:32:26.032" v="2240" actId="14100"/>
          <ac:spMkLst>
            <pc:docMk/>
            <pc:sldMk cId="2891892298" sldId="2147482409"/>
            <ac:spMk id="39" creationId="{FD6F9847-180D-7C2F-1862-4405BEAD431E}"/>
          </ac:spMkLst>
        </pc:spChg>
        <pc:spChg chg="mod">
          <ac:chgData name="Longkoi H [Probationer]" userId="d4e83e2c-c7d3-4fe6-ab74-6155d2bb8c63" providerId="ADAL" clId="{85C4EBEC-404E-46BC-B68B-D507855FBC7A}" dt="2024-06-12T13:39:06.786" v="2295" actId="1035"/>
          <ac:spMkLst>
            <pc:docMk/>
            <pc:sldMk cId="2891892298" sldId="2147482409"/>
            <ac:spMk id="40" creationId="{68D34E91-F82E-7B84-CD84-753859BC0B76}"/>
          </ac:spMkLst>
        </pc:spChg>
        <pc:spChg chg="mod">
          <ac:chgData name="Longkoi H [Probationer]" userId="d4e83e2c-c7d3-4fe6-ab74-6155d2bb8c63" providerId="ADAL" clId="{85C4EBEC-404E-46BC-B68B-D507855FBC7A}" dt="2024-06-12T13:38:04.990" v="2275" actId="1036"/>
          <ac:spMkLst>
            <pc:docMk/>
            <pc:sldMk cId="2891892298" sldId="2147482409"/>
            <ac:spMk id="41" creationId="{372A72D8-3C61-62FE-08A2-1BAE7946DF71}"/>
          </ac:spMkLst>
        </pc:spChg>
        <pc:grpChg chg="mod">
          <ac:chgData name="Longkoi H [Probationer]" userId="d4e83e2c-c7d3-4fe6-ab74-6155d2bb8c63" providerId="ADAL" clId="{85C4EBEC-404E-46BC-B68B-D507855FBC7A}" dt="2024-06-12T13:38:28.253" v="2287" actId="465"/>
          <ac:grpSpMkLst>
            <pc:docMk/>
            <pc:sldMk cId="2891892298" sldId="2147482409"/>
            <ac:grpSpMk id="5" creationId="{72707788-DD47-B49E-E682-2F7E2CA8683B}"/>
          </ac:grpSpMkLst>
        </pc:grpChg>
        <pc:picChg chg="mod">
          <ac:chgData name="Longkoi H [Probationer]" userId="d4e83e2c-c7d3-4fe6-ab74-6155d2bb8c63" providerId="ADAL" clId="{85C4EBEC-404E-46BC-B68B-D507855FBC7A}" dt="2024-06-12T13:38:22.187" v="2284" actId="1076"/>
          <ac:picMkLst>
            <pc:docMk/>
            <pc:sldMk cId="2891892298" sldId="2147482409"/>
            <ac:picMk id="4" creationId="{1412017C-66A3-943F-B793-C9B28CFDE430}"/>
          </ac:picMkLst>
        </pc:picChg>
      </pc:sldChg>
      <pc:sldChg chg="addSp delSp modSp add mod ord modNotesTx">
        <pc:chgData name="Longkoi H [Probationer]" userId="d4e83e2c-c7d3-4fe6-ab74-6155d2bb8c63" providerId="ADAL" clId="{85C4EBEC-404E-46BC-B68B-D507855FBC7A}" dt="2024-06-12T15:00:45.031" v="4582"/>
        <pc:sldMkLst>
          <pc:docMk/>
          <pc:sldMk cId="1392855861" sldId="2147482410"/>
        </pc:sldMkLst>
        <pc:spChg chg="mod">
          <ac:chgData name="Longkoi H [Probationer]" userId="d4e83e2c-c7d3-4fe6-ab74-6155d2bb8c63" providerId="ADAL" clId="{85C4EBEC-404E-46BC-B68B-D507855FBC7A}" dt="2024-06-12T13:39:33.163" v="2299"/>
          <ac:spMkLst>
            <pc:docMk/>
            <pc:sldMk cId="1392855861" sldId="2147482410"/>
            <ac:spMk id="2" creationId="{2DB23B17-F64A-0EFE-4DA5-28C69BF15A10}"/>
          </ac:spMkLst>
        </pc:spChg>
        <pc:spChg chg="del">
          <ac:chgData name="Longkoi H [Probationer]" userId="d4e83e2c-c7d3-4fe6-ab74-6155d2bb8c63" providerId="ADAL" clId="{85C4EBEC-404E-46BC-B68B-D507855FBC7A}" dt="2024-06-12T13:40:21.505" v="2319" actId="478"/>
          <ac:spMkLst>
            <pc:docMk/>
            <pc:sldMk cId="1392855861" sldId="2147482410"/>
            <ac:spMk id="3" creationId="{C497994E-D307-0DE5-FE38-3D366BFC6B3C}"/>
          </ac:spMkLst>
        </pc:spChg>
        <pc:spChg chg="add mod">
          <ac:chgData name="Longkoi H [Probationer]" userId="d4e83e2c-c7d3-4fe6-ab74-6155d2bb8c63" providerId="ADAL" clId="{85C4EBEC-404E-46BC-B68B-D507855FBC7A}" dt="2024-06-12T13:43:00.591" v="2359" actId="552"/>
          <ac:spMkLst>
            <pc:docMk/>
            <pc:sldMk cId="1392855861" sldId="2147482410"/>
            <ac:spMk id="9" creationId="{66E20856-2A7D-E8AC-50E3-753A187914AB}"/>
          </ac:spMkLst>
        </pc:spChg>
        <pc:spChg chg="mod">
          <ac:chgData name="Longkoi H [Probationer]" userId="d4e83e2c-c7d3-4fe6-ab74-6155d2bb8c63" providerId="ADAL" clId="{85C4EBEC-404E-46BC-B68B-D507855FBC7A}" dt="2024-06-12T13:39:43.011" v="2304" actId="20577"/>
          <ac:spMkLst>
            <pc:docMk/>
            <pc:sldMk cId="1392855861" sldId="2147482410"/>
            <ac:spMk id="15" creationId="{DD3AA92E-6B5C-A519-9472-95A48FF7BA14}"/>
          </ac:spMkLst>
        </pc:spChg>
        <pc:spChg chg="mod">
          <ac:chgData name="Longkoi H [Probationer]" userId="d4e83e2c-c7d3-4fe6-ab74-6155d2bb8c63" providerId="ADAL" clId="{85C4EBEC-404E-46BC-B68B-D507855FBC7A}" dt="2024-06-12T13:42:41.597" v="2354" actId="403"/>
          <ac:spMkLst>
            <pc:docMk/>
            <pc:sldMk cId="1392855861" sldId="2147482410"/>
            <ac:spMk id="32" creationId="{BE0D24BA-ED14-CEA8-298D-B3439676BAF4}"/>
          </ac:spMkLst>
        </pc:spChg>
        <pc:spChg chg="mod">
          <ac:chgData name="Longkoi H [Probationer]" userId="d4e83e2c-c7d3-4fe6-ab74-6155d2bb8c63" providerId="ADAL" clId="{85C4EBEC-404E-46BC-B68B-D507855FBC7A}" dt="2024-06-12T13:41:25.807" v="2337" actId="404"/>
          <ac:spMkLst>
            <pc:docMk/>
            <pc:sldMk cId="1392855861" sldId="2147482410"/>
            <ac:spMk id="33" creationId="{C39309D3-5515-4D49-E3CD-DA5C459F18E6}"/>
          </ac:spMkLst>
        </pc:spChg>
        <pc:grpChg chg="mod">
          <ac:chgData name="Longkoi H [Probationer]" userId="d4e83e2c-c7d3-4fe6-ab74-6155d2bb8c63" providerId="ADAL" clId="{85C4EBEC-404E-46BC-B68B-D507855FBC7A}" dt="2024-06-12T13:42:57.734" v="2357" actId="465"/>
          <ac:grpSpMkLst>
            <pc:docMk/>
            <pc:sldMk cId="1392855861" sldId="2147482410"/>
            <ac:grpSpMk id="5" creationId="{72707788-DD47-B49E-E682-2F7E2CA8683B}"/>
          </ac:grpSpMkLst>
        </pc:grpChg>
        <pc:picChg chg="del">
          <ac:chgData name="Longkoi H [Probationer]" userId="d4e83e2c-c7d3-4fe6-ab74-6155d2bb8c63" providerId="ADAL" clId="{85C4EBEC-404E-46BC-B68B-D507855FBC7A}" dt="2024-06-12T13:40:30.736" v="2320" actId="478"/>
          <ac:picMkLst>
            <pc:docMk/>
            <pc:sldMk cId="1392855861" sldId="2147482410"/>
            <ac:picMk id="4" creationId="{1412017C-66A3-943F-B793-C9B28CFDE430}"/>
          </ac:picMkLst>
        </pc:picChg>
        <pc:picChg chg="add mod">
          <ac:chgData name="Longkoi H [Probationer]" userId="d4e83e2c-c7d3-4fe6-ab74-6155d2bb8c63" providerId="ADAL" clId="{85C4EBEC-404E-46BC-B68B-D507855FBC7A}" dt="2024-06-12T13:43:15.699" v="2361" actId="14100"/>
          <ac:picMkLst>
            <pc:docMk/>
            <pc:sldMk cId="1392855861" sldId="2147482410"/>
            <ac:picMk id="10" creationId="{5D1ECE41-50DD-52F8-D3B3-B28214775EEB}"/>
          </ac:picMkLst>
        </pc:picChg>
      </pc:sldChg>
      <pc:sldChg chg="addSp delSp modSp add del mod">
        <pc:chgData name="Longkoi H [Probationer]" userId="d4e83e2c-c7d3-4fe6-ab74-6155d2bb8c63" providerId="ADAL" clId="{85C4EBEC-404E-46BC-B68B-D507855FBC7A}" dt="2024-06-12T14:20:52.876" v="3571" actId="2696"/>
        <pc:sldMkLst>
          <pc:docMk/>
          <pc:sldMk cId="2581973331" sldId="2147482412"/>
        </pc:sldMkLst>
        <pc:spChg chg="add del">
          <ac:chgData name="Longkoi H [Probationer]" userId="d4e83e2c-c7d3-4fe6-ab74-6155d2bb8c63" providerId="ADAL" clId="{85C4EBEC-404E-46BC-B68B-D507855FBC7A}" dt="2024-06-12T14:18:57.768" v="3550" actId="478"/>
          <ac:spMkLst>
            <pc:docMk/>
            <pc:sldMk cId="2581973331" sldId="2147482412"/>
            <ac:spMk id="2" creationId="{3BB50F49-DD0A-171C-9D52-C378FBC0FD3E}"/>
          </ac:spMkLst>
        </pc:spChg>
        <pc:spChg chg="del mod">
          <ac:chgData name="Longkoi H [Probationer]" userId="d4e83e2c-c7d3-4fe6-ab74-6155d2bb8c63" providerId="ADAL" clId="{85C4EBEC-404E-46BC-B68B-D507855FBC7A}" dt="2024-06-12T14:18:48.698" v="3547" actId="478"/>
          <ac:spMkLst>
            <pc:docMk/>
            <pc:sldMk cId="2581973331" sldId="2147482412"/>
            <ac:spMk id="18" creationId="{0F89A72B-DCD2-400B-42D2-7EAF68803061}"/>
          </ac:spMkLst>
        </pc:spChg>
        <pc:spChg chg="del">
          <ac:chgData name="Longkoi H [Probationer]" userId="d4e83e2c-c7d3-4fe6-ab74-6155d2bb8c63" providerId="ADAL" clId="{85C4EBEC-404E-46BC-B68B-D507855FBC7A}" dt="2024-06-12T14:18:35.798" v="3536" actId="478"/>
          <ac:spMkLst>
            <pc:docMk/>
            <pc:sldMk cId="2581973331" sldId="2147482412"/>
            <ac:spMk id="19" creationId="{9FC9B7E0-8B35-FA1D-7420-4949DE46D61F}"/>
          </ac:spMkLst>
        </pc:spChg>
        <pc:spChg chg="del">
          <ac:chgData name="Longkoi H [Probationer]" userId="d4e83e2c-c7d3-4fe6-ab74-6155d2bb8c63" providerId="ADAL" clId="{85C4EBEC-404E-46BC-B68B-D507855FBC7A}" dt="2024-06-12T14:18:34.951" v="3535" actId="478"/>
          <ac:spMkLst>
            <pc:docMk/>
            <pc:sldMk cId="2581973331" sldId="2147482412"/>
            <ac:spMk id="20" creationId="{437DD357-EA0C-4703-6C1A-AB029823EE43}"/>
          </ac:spMkLst>
        </pc:spChg>
        <pc:spChg chg="add del mod ord">
          <ac:chgData name="Longkoi H [Probationer]" userId="d4e83e2c-c7d3-4fe6-ab74-6155d2bb8c63" providerId="ADAL" clId="{85C4EBEC-404E-46BC-B68B-D507855FBC7A}" dt="2024-06-12T14:19:50.346" v="3567" actId="14100"/>
          <ac:spMkLst>
            <pc:docMk/>
            <pc:sldMk cId="2581973331" sldId="2147482412"/>
            <ac:spMk id="21" creationId="{91BFC6ED-4E2E-E469-48C3-7732C53DCEDE}"/>
          </ac:spMkLst>
        </pc:spChg>
        <pc:spChg chg="mod">
          <ac:chgData name="Longkoi H [Probationer]" userId="d4e83e2c-c7d3-4fe6-ab74-6155d2bb8c63" providerId="ADAL" clId="{85C4EBEC-404E-46BC-B68B-D507855FBC7A}" dt="2024-06-12T14:19:29.838" v="3562" actId="408"/>
          <ac:spMkLst>
            <pc:docMk/>
            <pc:sldMk cId="2581973331" sldId="2147482412"/>
            <ac:spMk id="43" creationId="{2CFC7AE9-2433-AE0B-CFA7-13F740B8AEAE}"/>
          </ac:spMkLst>
        </pc:spChg>
        <pc:spChg chg="mod">
          <ac:chgData name="Longkoi H [Probationer]" userId="d4e83e2c-c7d3-4fe6-ab74-6155d2bb8c63" providerId="ADAL" clId="{85C4EBEC-404E-46BC-B68B-D507855FBC7A}" dt="2024-06-12T14:19:29.838" v="3562" actId="408"/>
          <ac:spMkLst>
            <pc:docMk/>
            <pc:sldMk cId="2581973331" sldId="2147482412"/>
            <ac:spMk id="44" creationId="{ABD8DEC6-85BA-52FE-C9AE-2DDC8554B823}"/>
          </ac:spMkLst>
        </pc:spChg>
        <pc:grpChg chg="add mod">
          <ac:chgData name="Longkoi H [Probationer]" userId="d4e83e2c-c7d3-4fe6-ab74-6155d2bb8c63" providerId="ADAL" clId="{85C4EBEC-404E-46BC-B68B-D507855FBC7A}" dt="2024-06-12T14:19:39.891" v="3565" actId="14100"/>
          <ac:grpSpMkLst>
            <pc:docMk/>
            <pc:sldMk cId="2581973331" sldId="2147482412"/>
            <ac:grpSpMk id="7" creationId="{1C7F6B57-DD3C-A84B-9124-F03B73DB6361}"/>
          </ac:grpSpMkLst>
        </pc:grpChg>
        <pc:cxnChg chg="add mod">
          <ac:chgData name="Longkoi H [Probationer]" userId="d4e83e2c-c7d3-4fe6-ab74-6155d2bb8c63" providerId="ADAL" clId="{85C4EBEC-404E-46BC-B68B-D507855FBC7A}" dt="2024-06-12T14:19:53.717" v="3569" actId="692"/>
          <ac:cxnSpMkLst>
            <pc:docMk/>
            <pc:sldMk cId="2581973331" sldId="2147482412"/>
            <ac:cxnSpMk id="4" creationId="{9181E75C-3D67-34EE-E638-6498BD975FB7}"/>
          </ac:cxnSpMkLst>
        </pc:cxnChg>
        <pc:cxnChg chg="add mod">
          <ac:chgData name="Longkoi H [Probationer]" userId="d4e83e2c-c7d3-4fe6-ab74-6155d2bb8c63" providerId="ADAL" clId="{85C4EBEC-404E-46BC-B68B-D507855FBC7A}" dt="2024-06-12T14:19:53.717" v="3569" actId="692"/>
          <ac:cxnSpMkLst>
            <pc:docMk/>
            <pc:sldMk cId="2581973331" sldId="2147482412"/>
            <ac:cxnSpMk id="5" creationId="{6BB4EC88-F119-239F-B620-0C2A7BD7614B}"/>
          </ac:cxnSpMkLst>
        </pc:cxnChg>
        <pc:cxnChg chg="add mod">
          <ac:chgData name="Longkoi H [Probationer]" userId="d4e83e2c-c7d3-4fe6-ab74-6155d2bb8c63" providerId="ADAL" clId="{85C4EBEC-404E-46BC-B68B-D507855FBC7A}" dt="2024-06-12T14:19:53.717" v="3569" actId="692"/>
          <ac:cxnSpMkLst>
            <pc:docMk/>
            <pc:sldMk cId="2581973331" sldId="2147482412"/>
            <ac:cxnSpMk id="6" creationId="{DE5E3E73-AB5D-C2AA-EA5A-B5C27FE4D848}"/>
          </ac:cxnSpMkLst>
        </pc:cxnChg>
        <pc:cxnChg chg="del">
          <ac:chgData name="Longkoi H [Probationer]" userId="d4e83e2c-c7d3-4fe6-ab74-6155d2bb8c63" providerId="ADAL" clId="{85C4EBEC-404E-46BC-B68B-D507855FBC7A}" dt="2024-06-12T14:18:52.778" v="3548" actId="478"/>
          <ac:cxnSpMkLst>
            <pc:docMk/>
            <pc:sldMk cId="2581973331" sldId="2147482412"/>
            <ac:cxnSpMk id="46" creationId="{00DD8DBB-A821-C757-BD7E-621B8C436364}"/>
          </ac:cxnSpMkLst>
        </pc:cxnChg>
        <pc:cxnChg chg="del">
          <ac:chgData name="Longkoi H [Probationer]" userId="d4e83e2c-c7d3-4fe6-ab74-6155d2bb8c63" providerId="ADAL" clId="{85C4EBEC-404E-46BC-B68B-D507855FBC7A}" dt="2024-06-12T14:18:52.778" v="3548" actId="478"/>
          <ac:cxnSpMkLst>
            <pc:docMk/>
            <pc:sldMk cId="2581973331" sldId="2147482412"/>
            <ac:cxnSpMk id="47" creationId="{B9A6789D-E69D-9501-1332-D0238AE140A2}"/>
          </ac:cxnSpMkLst>
        </pc:cxnChg>
        <pc:cxnChg chg="del">
          <ac:chgData name="Longkoi H [Probationer]" userId="d4e83e2c-c7d3-4fe6-ab74-6155d2bb8c63" providerId="ADAL" clId="{85C4EBEC-404E-46BC-B68B-D507855FBC7A}" dt="2024-06-12T14:18:52.778" v="3548" actId="478"/>
          <ac:cxnSpMkLst>
            <pc:docMk/>
            <pc:sldMk cId="2581973331" sldId="2147482412"/>
            <ac:cxnSpMk id="48" creationId="{FEA30D8B-4EEE-E781-8189-B7168EAD12A7}"/>
          </ac:cxnSpMkLst>
        </pc:cxnChg>
        <pc:cxnChg chg="del">
          <ac:chgData name="Longkoi H [Probationer]" userId="d4e83e2c-c7d3-4fe6-ab74-6155d2bb8c63" providerId="ADAL" clId="{85C4EBEC-404E-46BC-B68B-D507855FBC7A}" dt="2024-06-12T14:18:52.778" v="3548" actId="478"/>
          <ac:cxnSpMkLst>
            <pc:docMk/>
            <pc:sldMk cId="2581973331" sldId="2147482412"/>
            <ac:cxnSpMk id="49" creationId="{3BC2FB93-97FE-D1E4-71B7-5DE3FF69C329}"/>
          </ac:cxnSpMkLst>
        </pc:cxnChg>
      </pc:sldChg>
      <pc:sldMasterChg chg="modSldLayout">
        <pc:chgData name="Longkoi H [Probationer]" userId="d4e83e2c-c7d3-4fe6-ab74-6155d2bb8c63" providerId="ADAL" clId="{85C4EBEC-404E-46BC-B68B-D507855FBC7A}" dt="2024-06-12T11:45:36.821" v="711" actId="1076"/>
        <pc:sldMasterMkLst>
          <pc:docMk/>
          <pc:sldMasterMk cId="3812057535" sldId="2147484018"/>
        </pc:sldMasterMkLst>
        <pc:sldLayoutChg chg="modSp mod">
          <pc:chgData name="Longkoi H [Probationer]" userId="d4e83e2c-c7d3-4fe6-ab74-6155d2bb8c63" providerId="ADAL" clId="{85C4EBEC-404E-46BC-B68B-D507855FBC7A}" dt="2024-06-12T11:45:36.821" v="711" actId="1076"/>
          <pc:sldLayoutMkLst>
            <pc:docMk/>
            <pc:sldMasterMk cId="3812057535" sldId="2147484018"/>
            <pc:sldLayoutMk cId="2022161862" sldId="2147484045"/>
          </pc:sldLayoutMkLst>
          <pc:grpChg chg="mod">
            <ac:chgData name="Longkoi H [Probationer]" userId="d4e83e2c-c7d3-4fe6-ab74-6155d2bb8c63" providerId="ADAL" clId="{85C4EBEC-404E-46BC-B68B-D507855FBC7A}" dt="2024-06-12T11:45:36.821" v="711" actId="1076"/>
            <ac:grpSpMkLst>
              <pc:docMk/>
              <pc:sldMasterMk cId="3812057535" sldId="2147484018"/>
              <pc:sldLayoutMk cId="2022161862" sldId="2147484045"/>
              <ac:grpSpMk id="3" creationId="{EC6DA645-FC1C-E3FE-5DCA-858CD8798D3A}"/>
            </ac:grpSpMkLst>
          </pc:grpChg>
        </pc:sldLayoutChg>
      </pc:sldMasterChg>
    </pc:docChg>
  </pc:docChgLst>
  <pc:docChgLst>
    <pc:chgData name="Robert Lalhlimpuia [Chillibreeze]" userId="8fe5ebfe-980d-441d-bbff-8c5265b810b8" providerId="ADAL" clId="{8604BD65-8997-4357-BA60-019791E2ED85}"/>
    <pc:docChg chg="undo custSel addSld delSld modSld sldOrd modMainMaster replTag">
      <pc:chgData name="Robert Lalhlimpuia [Chillibreeze]" userId="8fe5ebfe-980d-441d-bbff-8c5265b810b8" providerId="ADAL" clId="{8604BD65-8997-4357-BA60-019791E2ED85}" dt="2024-06-13T06:13:35.567" v="6769" actId="692"/>
      <pc:docMkLst>
        <pc:docMk/>
      </pc:docMkLst>
      <pc:sldChg chg="addSp modSp mod">
        <pc:chgData name="Robert Lalhlimpuia [Chillibreeze]" userId="8fe5ebfe-980d-441d-bbff-8c5265b810b8" providerId="ADAL" clId="{8604BD65-8997-4357-BA60-019791E2ED85}" dt="2024-06-13T03:57:54.856" v="5994"/>
        <pc:sldMkLst>
          <pc:docMk/>
          <pc:sldMk cId="0" sldId="256"/>
        </pc:sldMkLst>
        <pc:graphicFrameChg chg="add mod ord modVis replST">
          <ac:chgData name="Robert Lalhlimpuia [Chillibreeze]" userId="8fe5ebfe-980d-441d-bbff-8c5265b810b8" providerId="ADAL" clId="{8604BD65-8997-4357-BA60-019791E2ED85}" dt="2024-06-13T03:57:54.856" v="5994"/>
          <ac:graphicFrameMkLst>
            <pc:docMk/>
            <pc:sldMk cId="0" sldId="256"/>
            <ac:graphicFrameMk id="5" creationId="{A4DF6D04-A035-CA1D-BA60-D2AA17E2917D}"/>
          </ac:graphicFrameMkLst>
        </pc:graphicFrameChg>
      </pc:sldChg>
      <pc:sldChg chg="ord">
        <pc:chgData name="Robert Lalhlimpuia [Chillibreeze]" userId="8fe5ebfe-980d-441d-bbff-8c5265b810b8" providerId="ADAL" clId="{8604BD65-8997-4357-BA60-019791E2ED85}" dt="2024-06-12T09:42:19.901" v="0" actId="20578"/>
        <pc:sldMkLst>
          <pc:docMk/>
          <pc:sldMk cId="0" sldId="292"/>
        </pc:sldMkLst>
      </pc:sldChg>
      <pc:sldChg chg="addSp delSp modSp mod setBg modClrScheme chgLayout">
        <pc:chgData name="Robert Lalhlimpuia [Chillibreeze]" userId="8fe5ebfe-980d-441d-bbff-8c5265b810b8" providerId="ADAL" clId="{8604BD65-8997-4357-BA60-019791E2ED85}" dt="2024-06-13T06:13:35.567" v="6769" actId="692"/>
        <pc:sldMkLst>
          <pc:docMk/>
          <pc:sldMk cId="0" sldId="328"/>
        </pc:sldMkLst>
        <pc:spChg chg="del">
          <ac:chgData name="Robert Lalhlimpuia [Chillibreeze]" userId="8fe5ebfe-980d-441d-bbff-8c5265b810b8" providerId="ADAL" clId="{8604BD65-8997-4357-BA60-019791E2ED85}" dt="2024-06-12T11:39:58.462" v="4354" actId="700"/>
          <ac:spMkLst>
            <pc:docMk/>
            <pc:sldMk cId="0" sldId="328"/>
            <ac:spMk id="2" creationId="{1B9430C5-7118-C599-49F2-72ADC02D22FB}"/>
          </ac:spMkLst>
        </pc:spChg>
        <pc:spChg chg="add del mod">
          <ac:chgData name="Robert Lalhlimpuia [Chillibreeze]" userId="8fe5ebfe-980d-441d-bbff-8c5265b810b8" providerId="ADAL" clId="{8604BD65-8997-4357-BA60-019791E2ED85}" dt="2024-06-12T11:51:40.555" v="4522" actId="21"/>
          <ac:spMkLst>
            <pc:docMk/>
            <pc:sldMk cId="0" sldId="328"/>
            <ac:spMk id="5" creationId="{FF15BDD2-BBFD-7561-9EDF-2F26C572311F}"/>
          </ac:spMkLst>
        </pc:spChg>
        <pc:spChg chg="add mod ord topLvl">
          <ac:chgData name="Robert Lalhlimpuia [Chillibreeze]" userId="8fe5ebfe-980d-441d-bbff-8c5265b810b8" providerId="ADAL" clId="{8604BD65-8997-4357-BA60-019791E2ED85}" dt="2024-06-13T04:05:32.640" v="6334"/>
          <ac:spMkLst>
            <pc:docMk/>
            <pc:sldMk cId="0" sldId="328"/>
            <ac:spMk id="8" creationId="{3DD18AEE-4AB4-B595-BCE6-05552D53FB0F}"/>
          </ac:spMkLst>
        </pc:spChg>
        <pc:spChg chg="add mod ord topLvl">
          <ac:chgData name="Robert Lalhlimpuia [Chillibreeze]" userId="8fe5ebfe-980d-441d-bbff-8c5265b810b8" providerId="ADAL" clId="{8604BD65-8997-4357-BA60-019791E2ED85}" dt="2024-06-13T04:05:32.644" v="6354"/>
          <ac:spMkLst>
            <pc:docMk/>
            <pc:sldMk cId="0" sldId="328"/>
            <ac:spMk id="9" creationId="{A73AC6CB-3498-E8CA-C018-FFFF4D40FCE7}"/>
          </ac:spMkLst>
        </pc:spChg>
        <pc:spChg chg="add mod ord topLvl">
          <ac:chgData name="Robert Lalhlimpuia [Chillibreeze]" userId="8fe5ebfe-980d-441d-bbff-8c5265b810b8" providerId="ADAL" clId="{8604BD65-8997-4357-BA60-019791E2ED85}" dt="2024-06-13T06:02:10.260" v="6660"/>
          <ac:spMkLst>
            <pc:docMk/>
            <pc:sldMk cId="0" sldId="328"/>
            <ac:spMk id="10" creationId="{1FE88C16-0BB7-C9DF-DBB1-73A8E07A2F75}"/>
          </ac:spMkLst>
        </pc:spChg>
        <pc:spChg chg="add mod ord topLvl">
          <ac:chgData name="Robert Lalhlimpuia [Chillibreeze]" userId="8fe5ebfe-980d-441d-bbff-8c5265b810b8" providerId="ADAL" clId="{8604BD65-8997-4357-BA60-019791E2ED85}" dt="2024-06-13T04:05:32.641" v="6338"/>
          <ac:spMkLst>
            <pc:docMk/>
            <pc:sldMk cId="0" sldId="328"/>
            <ac:spMk id="11" creationId="{0A00CD80-87AB-8EAD-B000-B276EE692616}"/>
          </ac:spMkLst>
        </pc:spChg>
        <pc:spChg chg="add mod ord topLvl">
          <ac:chgData name="Robert Lalhlimpuia [Chillibreeze]" userId="8fe5ebfe-980d-441d-bbff-8c5265b810b8" providerId="ADAL" clId="{8604BD65-8997-4357-BA60-019791E2ED85}" dt="2024-06-13T05:21:52.890" v="6412" actId="1076"/>
          <ac:spMkLst>
            <pc:docMk/>
            <pc:sldMk cId="0" sldId="328"/>
            <ac:spMk id="12" creationId="{52905B7C-32C0-FF34-BB1E-438764682840}"/>
          </ac:spMkLst>
        </pc:spChg>
        <pc:spChg chg="del mod topLvl">
          <ac:chgData name="Robert Lalhlimpuia [Chillibreeze]" userId="8fe5ebfe-980d-441d-bbff-8c5265b810b8" providerId="ADAL" clId="{8604BD65-8997-4357-BA60-019791E2ED85}" dt="2024-06-13T05:22:19.056" v="6422" actId="21"/>
          <ac:spMkLst>
            <pc:docMk/>
            <pc:sldMk cId="0" sldId="328"/>
            <ac:spMk id="13" creationId="{5051BE87-082F-BE51-8B7D-D15FC9680E4B}"/>
          </ac:spMkLst>
        </pc:spChg>
        <pc:spChg chg="del mod topLvl">
          <ac:chgData name="Robert Lalhlimpuia [Chillibreeze]" userId="8fe5ebfe-980d-441d-bbff-8c5265b810b8" providerId="ADAL" clId="{8604BD65-8997-4357-BA60-019791E2ED85}" dt="2024-06-13T05:22:38.510" v="6430" actId="21"/>
          <ac:spMkLst>
            <pc:docMk/>
            <pc:sldMk cId="0" sldId="328"/>
            <ac:spMk id="14" creationId="{C4B5EDC0-93A4-A0E4-C425-4E0E4807E413}"/>
          </ac:spMkLst>
        </pc:spChg>
        <pc:spChg chg="add mod ord">
          <ac:chgData name="Robert Lalhlimpuia [Chillibreeze]" userId="8fe5ebfe-980d-441d-bbff-8c5265b810b8" providerId="ADAL" clId="{8604BD65-8997-4357-BA60-019791E2ED85}" dt="2024-06-13T04:05:32.642" v="6344"/>
          <ac:spMkLst>
            <pc:docMk/>
            <pc:sldMk cId="0" sldId="328"/>
            <ac:spMk id="17" creationId="{5D348981-05C8-B458-B49C-88CFF0332D87}"/>
          </ac:spMkLst>
        </pc:spChg>
        <pc:spChg chg="del mod topLvl">
          <ac:chgData name="Robert Lalhlimpuia [Chillibreeze]" userId="8fe5ebfe-980d-441d-bbff-8c5265b810b8" providerId="ADAL" clId="{8604BD65-8997-4357-BA60-019791E2ED85}" dt="2024-06-13T05:22:15.037" v="6421" actId="21"/>
          <ac:spMkLst>
            <pc:docMk/>
            <pc:sldMk cId="0" sldId="328"/>
            <ac:spMk id="18" creationId="{29A6892D-14C9-5343-EBFB-3F0970D34EB2}"/>
          </ac:spMkLst>
        </pc:spChg>
        <pc:spChg chg="add del mod">
          <ac:chgData name="Robert Lalhlimpuia [Chillibreeze]" userId="8fe5ebfe-980d-441d-bbff-8c5265b810b8" providerId="ADAL" clId="{8604BD65-8997-4357-BA60-019791E2ED85}" dt="2024-06-12T12:41:10.452" v="5053" actId="21"/>
          <ac:spMkLst>
            <pc:docMk/>
            <pc:sldMk cId="0" sldId="328"/>
            <ac:spMk id="18" creationId="{991B3527-CB44-805D-EFCB-49D7C59BB3B1}"/>
          </ac:spMkLst>
        </pc:spChg>
        <pc:spChg chg="add mod ord">
          <ac:chgData name="Robert Lalhlimpuia [Chillibreeze]" userId="8fe5ebfe-980d-441d-bbff-8c5265b810b8" providerId="ADAL" clId="{8604BD65-8997-4357-BA60-019791E2ED85}" dt="2024-06-13T04:05:32.642" v="6346"/>
          <ac:spMkLst>
            <pc:docMk/>
            <pc:sldMk cId="0" sldId="328"/>
            <ac:spMk id="19" creationId="{991B3527-CB44-805D-EFCB-49D7C59BB3B1}"/>
          </ac:spMkLst>
        </pc:spChg>
        <pc:spChg chg="add mod ord">
          <ac:chgData name="Robert Lalhlimpuia [Chillibreeze]" userId="8fe5ebfe-980d-441d-bbff-8c5265b810b8" providerId="ADAL" clId="{8604BD65-8997-4357-BA60-019791E2ED85}" dt="2024-06-13T04:05:32.643" v="6348"/>
          <ac:spMkLst>
            <pc:docMk/>
            <pc:sldMk cId="0" sldId="328"/>
            <ac:spMk id="20" creationId="{EF31A616-E94F-1A41-E0F1-09363A3F3C1E}"/>
          </ac:spMkLst>
        </pc:spChg>
        <pc:spChg chg="add mod ord topLvl">
          <ac:chgData name="Robert Lalhlimpuia [Chillibreeze]" userId="8fe5ebfe-980d-441d-bbff-8c5265b810b8" providerId="ADAL" clId="{8604BD65-8997-4357-BA60-019791E2ED85}" dt="2024-06-13T04:05:32.643" v="6352"/>
          <ac:spMkLst>
            <pc:docMk/>
            <pc:sldMk cId="0" sldId="328"/>
            <ac:spMk id="21" creationId="{A0BC6867-AE7F-7966-D994-3E1532765073}"/>
          </ac:spMkLst>
        </pc:spChg>
        <pc:spChg chg="add mod ord topLvl">
          <ac:chgData name="Robert Lalhlimpuia [Chillibreeze]" userId="8fe5ebfe-980d-441d-bbff-8c5265b810b8" providerId="ADAL" clId="{8604BD65-8997-4357-BA60-019791E2ED85}" dt="2024-06-13T04:05:32.644" v="6356"/>
          <ac:spMkLst>
            <pc:docMk/>
            <pc:sldMk cId="0" sldId="328"/>
            <ac:spMk id="22" creationId="{98406026-DB4E-AF91-2CD4-EE84C9F908C2}"/>
          </ac:spMkLst>
        </pc:spChg>
        <pc:spChg chg="add mod ord">
          <ac:chgData name="Robert Lalhlimpuia [Chillibreeze]" userId="8fe5ebfe-980d-441d-bbff-8c5265b810b8" providerId="ADAL" clId="{8604BD65-8997-4357-BA60-019791E2ED85}" dt="2024-06-13T04:05:32.644" v="6358"/>
          <ac:spMkLst>
            <pc:docMk/>
            <pc:sldMk cId="0" sldId="328"/>
            <ac:spMk id="23" creationId="{BCBDE336-28E5-7F12-256A-A5AC158CEAE4}"/>
          </ac:spMkLst>
        </pc:spChg>
        <pc:spChg chg="del mod topLvl">
          <ac:chgData name="Robert Lalhlimpuia [Chillibreeze]" userId="8fe5ebfe-980d-441d-bbff-8c5265b810b8" providerId="ADAL" clId="{8604BD65-8997-4357-BA60-019791E2ED85}" dt="2024-06-13T05:22:38.510" v="6430" actId="21"/>
          <ac:spMkLst>
            <pc:docMk/>
            <pc:sldMk cId="0" sldId="328"/>
            <ac:spMk id="24" creationId="{64E917E9-9584-736D-29C8-15268AB88EDE}"/>
          </ac:spMkLst>
        </pc:spChg>
        <pc:spChg chg="add del mod">
          <ac:chgData name="Robert Lalhlimpuia [Chillibreeze]" userId="8fe5ebfe-980d-441d-bbff-8c5265b810b8" providerId="ADAL" clId="{8604BD65-8997-4357-BA60-019791E2ED85}" dt="2024-06-12T12:47:10.035" v="5152" actId="21"/>
          <ac:spMkLst>
            <pc:docMk/>
            <pc:sldMk cId="0" sldId="328"/>
            <ac:spMk id="25" creationId="{56F4DE7A-EFEB-310C-7F99-00F4F2428802}"/>
          </ac:spMkLst>
        </pc:spChg>
        <pc:spChg chg="del mod topLvl">
          <ac:chgData name="Robert Lalhlimpuia [Chillibreeze]" userId="8fe5ebfe-980d-441d-bbff-8c5265b810b8" providerId="ADAL" clId="{8604BD65-8997-4357-BA60-019791E2ED85}" dt="2024-06-13T05:22:28.400" v="6426" actId="21"/>
          <ac:spMkLst>
            <pc:docMk/>
            <pc:sldMk cId="0" sldId="328"/>
            <ac:spMk id="25" creationId="{B4784C20-7CBB-5D41-3972-2076D3785BAF}"/>
          </ac:spMkLst>
        </pc:spChg>
        <pc:spChg chg="del mod topLvl">
          <ac:chgData name="Robert Lalhlimpuia [Chillibreeze]" userId="8fe5ebfe-980d-441d-bbff-8c5265b810b8" providerId="ADAL" clId="{8604BD65-8997-4357-BA60-019791E2ED85}" dt="2024-06-13T05:22:38.510" v="6430" actId="21"/>
          <ac:spMkLst>
            <pc:docMk/>
            <pc:sldMk cId="0" sldId="328"/>
            <ac:spMk id="26" creationId="{5920B69C-16DE-AE33-ED06-AF77B0FCCD2C}"/>
          </ac:spMkLst>
        </pc:spChg>
        <pc:spChg chg="add del mod">
          <ac:chgData name="Robert Lalhlimpuia [Chillibreeze]" userId="8fe5ebfe-980d-441d-bbff-8c5265b810b8" providerId="ADAL" clId="{8604BD65-8997-4357-BA60-019791E2ED85}" dt="2024-06-12T12:47:17.488" v="5165" actId="21"/>
          <ac:spMkLst>
            <pc:docMk/>
            <pc:sldMk cId="0" sldId="328"/>
            <ac:spMk id="26" creationId="{838E40DB-F8A4-2C52-B836-D471E04288DF}"/>
          </ac:spMkLst>
        </pc:spChg>
        <pc:spChg chg="del mod topLvl">
          <ac:chgData name="Robert Lalhlimpuia [Chillibreeze]" userId="8fe5ebfe-980d-441d-bbff-8c5265b810b8" providerId="ADAL" clId="{8604BD65-8997-4357-BA60-019791E2ED85}" dt="2024-06-13T05:22:21.989" v="6425" actId="21"/>
          <ac:spMkLst>
            <pc:docMk/>
            <pc:sldMk cId="0" sldId="328"/>
            <ac:spMk id="27" creationId="{F8EDACA4-76E8-1B3C-2700-FAA35F57FE02}"/>
          </ac:spMkLst>
        </pc:spChg>
        <pc:spChg chg="del mod topLvl">
          <ac:chgData name="Robert Lalhlimpuia [Chillibreeze]" userId="8fe5ebfe-980d-441d-bbff-8c5265b810b8" providerId="ADAL" clId="{8604BD65-8997-4357-BA60-019791E2ED85}" dt="2024-06-13T05:22:38.510" v="6430" actId="21"/>
          <ac:spMkLst>
            <pc:docMk/>
            <pc:sldMk cId="0" sldId="328"/>
            <ac:spMk id="28" creationId="{26663058-5D67-4F85-9D93-5D0F753D271A}"/>
          </ac:spMkLst>
        </pc:spChg>
        <pc:spChg chg="del mod topLvl">
          <ac:chgData name="Robert Lalhlimpuia [Chillibreeze]" userId="8fe5ebfe-980d-441d-bbff-8c5265b810b8" providerId="ADAL" clId="{8604BD65-8997-4357-BA60-019791E2ED85}" dt="2024-06-13T05:22:20.417" v="6423" actId="21"/>
          <ac:spMkLst>
            <pc:docMk/>
            <pc:sldMk cId="0" sldId="328"/>
            <ac:spMk id="29" creationId="{B2B9B08C-983E-BE53-4C83-35F8265A7FA7}"/>
          </ac:spMkLst>
        </pc:spChg>
        <pc:spChg chg="del mod topLvl">
          <ac:chgData name="Robert Lalhlimpuia [Chillibreeze]" userId="8fe5ebfe-980d-441d-bbff-8c5265b810b8" providerId="ADAL" clId="{8604BD65-8997-4357-BA60-019791E2ED85}" dt="2024-06-13T05:22:38.510" v="6430" actId="21"/>
          <ac:spMkLst>
            <pc:docMk/>
            <pc:sldMk cId="0" sldId="328"/>
            <ac:spMk id="30" creationId="{F94D88BF-7E95-2CA1-DD2A-B3A445743398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33" creationId="{A9659E1B-F787-562D-9138-E234AC691CD4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34" creationId="{244AC9B1-A833-DA3B-E981-6434CFC5B340}"/>
          </ac:spMkLst>
        </pc:spChg>
        <pc:spChg chg="add del mod">
          <ac:chgData name="Robert Lalhlimpuia [Chillibreeze]" userId="8fe5ebfe-980d-441d-bbff-8c5265b810b8" providerId="ADAL" clId="{8604BD65-8997-4357-BA60-019791E2ED85}" dt="2024-06-13T06:02:43.350" v="6665" actId="164"/>
          <ac:spMkLst>
            <pc:docMk/>
            <pc:sldMk cId="0" sldId="328"/>
            <ac:spMk id="35" creationId="{4F02E147-F603-AF3F-A22A-96D270E1E935}"/>
          </ac:spMkLst>
        </pc:spChg>
        <pc:spChg chg="del mod ord topLvl">
          <ac:chgData name="Robert Lalhlimpuia [Chillibreeze]" userId="8fe5ebfe-980d-441d-bbff-8c5265b810b8" providerId="ADAL" clId="{8604BD65-8997-4357-BA60-019791E2ED85}" dt="2024-06-12T13:01:30.902" v="5367" actId="21"/>
          <ac:spMkLst>
            <pc:docMk/>
            <pc:sldMk cId="0" sldId="328"/>
            <ac:spMk id="35" creationId="{58004B33-84B3-F2DC-1FB7-40DCC0B57CC8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36" creationId="{0BFC257C-7DE0-19C1-7276-4AD9D1FED354}"/>
          </ac:spMkLst>
        </pc:spChg>
        <pc:spChg chg="add del mod">
          <ac:chgData name="Robert Lalhlimpuia [Chillibreeze]" userId="8fe5ebfe-980d-441d-bbff-8c5265b810b8" providerId="ADAL" clId="{8604BD65-8997-4357-BA60-019791E2ED85}" dt="2024-06-13T06:02:43.350" v="6665" actId="164"/>
          <ac:spMkLst>
            <pc:docMk/>
            <pc:sldMk cId="0" sldId="328"/>
            <ac:spMk id="36" creationId="{A0AACA55-E2D8-E0DB-C394-60F7BB4A27FD}"/>
          </ac:spMkLst>
        </pc:spChg>
        <pc:spChg chg="add del mod">
          <ac:chgData name="Robert Lalhlimpuia [Chillibreeze]" userId="8fe5ebfe-980d-441d-bbff-8c5265b810b8" providerId="ADAL" clId="{8604BD65-8997-4357-BA60-019791E2ED85}" dt="2024-06-13T06:02:43.350" v="6665" actId="164"/>
          <ac:spMkLst>
            <pc:docMk/>
            <pc:sldMk cId="0" sldId="328"/>
            <ac:spMk id="37" creationId="{2133A1E4-B693-14D5-1A38-A27A8109C66C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37" creationId="{2E7080D7-AD77-06F6-2A19-182AEE973FC1}"/>
          </ac:spMkLst>
        </pc:spChg>
        <pc:spChg chg="add del mod">
          <ac:chgData name="Robert Lalhlimpuia [Chillibreeze]" userId="8fe5ebfe-980d-441d-bbff-8c5265b810b8" providerId="ADAL" clId="{8604BD65-8997-4357-BA60-019791E2ED85}" dt="2024-06-13T06:02:43.350" v="6665" actId="164"/>
          <ac:spMkLst>
            <pc:docMk/>
            <pc:sldMk cId="0" sldId="328"/>
            <ac:spMk id="38" creationId="{4D9FDD71-979C-D1F3-B3AC-26EE05FABBBD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38" creationId="{A0DF3D22-A2BB-7435-7CF2-4D35CDAF8567}"/>
          </ac:spMkLst>
        </pc:spChg>
        <pc:spChg chg="add del mod">
          <ac:chgData name="Robert Lalhlimpuia [Chillibreeze]" userId="8fe5ebfe-980d-441d-bbff-8c5265b810b8" providerId="ADAL" clId="{8604BD65-8997-4357-BA60-019791E2ED85}" dt="2024-06-13T06:02:43.350" v="6665" actId="164"/>
          <ac:spMkLst>
            <pc:docMk/>
            <pc:sldMk cId="0" sldId="328"/>
            <ac:spMk id="39" creationId="{162109E4-6BC0-7AAA-3C7E-2D90B6F1AFEA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39" creationId="{32DF863A-28EA-8BD7-4108-4595AD28D299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40" creationId="{71DBF9EF-457C-A3AC-B144-B17012768F5A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41" creationId="{3B4AE033-AA9A-04D1-39F8-9C7D48A4647F}"/>
          </ac:spMkLst>
        </pc:spChg>
        <pc:spChg chg="add del mod">
          <ac:chgData name="Robert Lalhlimpuia [Chillibreeze]" userId="8fe5ebfe-980d-441d-bbff-8c5265b810b8" providerId="ADAL" clId="{8604BD65-8997-4357-BA60-019791E2ED85}" dt="2024-06-13T05:59:02.760" v="6617"/>
          <ac:spMkLst>
            <pc:docMk/>
            <pc:sldMk cId="0" sldId="328"/>
            <ac:spMk id="41" creationId="{BD384A86-00BA-17A8-4EEB-EF91B2421F59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42" creationId="{D20BFD38-9AB9-C429-E28D-6859C0515640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43" creationId="{085DDC3F-CEA6-3337-3707-1135AF96E28F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45" creationId="{8F35A310-CC1A-8D3B-652F-41C558BD4CF1}"/>
          </ac:spMkLst>
        </pc:spChg>
        <pc:spChg chg="add del mod ord topLvl">
          <ac:chgData name="Robert Lalhlimpuia [Chillibreeze]" userId="8fe5ebfe-980d-441d-bbff-8c5265b810b8" providerId="ADAL" clId="{8604BD65-8997-4357-BA60-019791E2ED85}" dt="2024-06-12T13:01:30.902" v="5367" actId="21"/>
          <ac:spMkLst>
            <pc:docMk/>
            <pc:sldMk cId="0" sldId="328"/>
            <ac:spMk id="46" creationId="{0867D5B6-9A94-3A39-07AE-CB585A548DEA}"/>
          </ac:spMkLst>
        </pc:spChg>
        <pc:spChg chg="del mod ord topLvl">
          <ac:chgData name="Robert Lalhlimpuia [Chillibreeze]" userId="8fe5ebfe-980d-441d-bbff-8c5265b810b8" providerId="ADAL" clId="{8604BD65-8997-4357-BA60-019791E2ED85}" dt="2024-06-12T13:01:30.902" v="5367" actId="21"/>
          <ac:spMkLst>
            <pc:docMk/>
            <pc:sldMk cId="0" sldId="328"/>
            <ac:spMk id="47" creationId="{74B4BF56-B7CE-5CC7-963B-7B164C984093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48" creationId="{B8DB7C82-290C-CAA9-D6B7-3C0C4AAB3F0A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49" creationId="{BA811824-EDA9-84CF-56A5-58527867BE4B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0" creationId="{F97B37DB-54D8-96BD-3B14-62BEDF865360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1" creationId="{4DA0F95C-7A87-CB2B-F7E1-E906F8854549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2" creationId="{F9CC97BC-F00B-BA47-A488-3F819FEF6D94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3" creationId="{AA0AD3DF-D546-50AA-AB4D-353199D282C7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4" creationId="{77FD4C23-4715-44D6-0C80-53D810C3AEF1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" creationId="{5AD77E97-1B4C-C3D3-95F4-C176A02ACDFF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6" creationId="{4953C5DD-9572-0073-D569-D76D526E3D9D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7" creationId="{67691B1A-748A-A4F5-069B-B8CD09B165E9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8" creationId="{2AB0057E-4B4F-A1D5-6768-843F0FA93B2E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9" creationId="{49DF99CD-8E46-F0FC-50B3-BE6BCF95BDE3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60" creationId="{8C4CB419-9EBE-C287-CA51-9CD648D31480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61" creationId="{ADF62283-3B5F-4E41-10F2-2A5468B54BFD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62" creationId="{C3C39CF2-6EA1-735A-68A8-858C34A78474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63" creationId="{4E4962A2-3084-8A64-A6E6-351E430669FB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376" creationId="{1408FBE1-11EB-16EA-4E9A-633366F7B76C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377" creationId="{6780F2BD-29FD-BC6F-3FBF-46C846982E58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378" creationId="{9DC24BB1-B73C-5694-A188-DBD4D019A8F4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379" creationId="{CC55137D-61BE-A222-8707-D09B74E65341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380" creationId="{2AF45B03-0F22-C6FB-4E38-6F41B0F7735B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381" creationId="{25EA318C-1D31-AEE6-C925-65FD37B9D85C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382" creationId="{B99286E6-7EF1-373C-CD4B-0A498F975232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383" creationId="{428FA20C-60D9-580E-0BB0-C76CFA5725D8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384" creationId="{D0585858-0F9D-9F04-BB6B-B5F2284EFC26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385" creationId="{BD96F9B0-4082-810A-9DE4-1B0D714289F5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386" creationId="{D055BE25-973E-AF66-EAE4-C7417CAC5EBE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387" creationId="{1CB3C0D3-1C9F-A35B-7F74-31A73FFCA805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388" creationId="{009C025B-14C6-6B66-D5F6-4F099CCC2A79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2.386" v="5191" actId="21"/>
          <ac:spMkLst>
            <pc:docMk/>
            <pc:sldMk cId="0" sldId="328"/>
            <ac:spMk id="5389" creationId="{80609A0F-469C-1D15-1B4B-C9FE712B9CC6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390" creationId="{18B630FB-3CA8-C6BC-13FE-BE4959340BFB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391" creationId="{397B6A75-4414-1E3A-4F39-878D1230E8B9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392" creationId="{F542B2CB-6753-F2D7-8D95-A44B098FFED7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393" creationId="{7E121C33-4EEF-C862-2D66-3F90472A1C19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394" creationId="{38E48AC3-A343-18C3-AE93-AE5B045B2543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395" creationId="{6CA85D33-7F9B-65CC-B796-D94759024EE3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396" creationId="{0F7D9E82-ED4C-EEC8-BE67-7F592679BF0E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397" creationId="{52A1122F-BF2F-D8A8-E990-2CB76C954905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398" creationId="{DF3CA123-E3EB-8C48-70CE-90349E7B4598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399" creationId="{3F2A3C63-5F32-F3CE-A7B1-37C8FDAEB757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2.386" v="5191" actId="21"/>
          <ac:spMkLst>
            <pc:docMk/>
            <pc:sldMk cId="0" sldId="328"/>
            <ac:spMk id="5400" creationId="{CD7AD640-9D56-E5A5-0713-D564FD7F0205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2.386" v="5191" actId="21"/>
          <ac:spMkLst>
            <pc:docMk/>
            <pc:sldMk cId="0" sldId="328"/>
            <ac:spMk id="5401" creationId="{BF13A2B3-3A35-8502-7C0F-5A209D4EF607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402" creationId="{D8BF4F42-204B-34C8-9963-17FAC7715E95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403" creationId="{9CC97B27-019E-65BA-546E-D813F73E4A64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404" creationId="{0C10D638-97AE-498D-4820-589FE8D6CB82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405" creationId="{A5BCAC4F-F6E6-006F-A175-438FA9EE2493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406" creationId="{0A501D3B-8902-81D9-74B9-230333229BE0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2.386" v="5191" actId="21"/>
          <ac:spMkLst>
            <pc:docMk/>
            <pc:sldMk cId="0" sldId="328"/>
            <ac:spMk id="5407" creationId="{DA6EE93D-C05C-5161-A06D-F4D2BEF15EF6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2.386" v="5191" actId="21"/>
          <ac:spMkLst>
            <pc:docMk/>
            <pc:sldMk cId="0" sldId="328"/>
            <ac:spMk id="5408" creationId="{A81455B2-4868-3E17-07DA-7863EDCF175E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409" creationId="{9CA9429E-D525-FFF5-63A5-B89639D980F8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410" creationId="{868740B6-444C-BEEB-8293-4EFAC381AAEF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411" creationId="{1AA2DE8B-9FF5-790D-C73F-B3A18562DEA1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412" creationId="{3CD0D482-5B30-83B6-ABC2-A9F8477A81FD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413" creationId="{4CCF973C-E5C0-427C-6AB6-A62E923113DD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414" creationId="{776E957E-FDD6-3D0C-315A-310659C8A6F7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415" creationId="{90B902B0-40F1-EEFC-F26F-A250F2FE5B9C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416" creationId="{E8537219-F293-D279-B0D8-EDDEBD9AF9B5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417" creationId="{0E609D89-A1C2-13C7-8103-990401F890AB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418" creationId="{CE79A9E0-7E2E-FF2E-2C9B-DCD36E243234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419" creationId="{E51CB3D9-9446-20DC-C08E-BDB922FB7048}"/>
          </ac:spMkLst>
        </pc:spChg>
        <pc:spChg chg="del">
          <ac:chgData name="Robert Lalhlimpuia [Chillibreeze]" userId="8fe5ebfe-980d-441d-bbff-8c5265b810b8" providerId="ADAL" clId="{8604BD65-8997-4357-BA60-019791E2ED85}" dt="2024-06-12T11:40:01.254" v="4372" actId="21"/>
          <ac:spMkLst>
            <pc:docMk/>
            <pc:sldMk cId="0" sldId="328"/>
            <ac:spMk id="5420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2:36:06.417" v="4992" actId="478"/>
          <ac:spMkLst>
            <pc:docMk/>
            <pc:sldMk cId="0" sldId="328"/>
            <ac:spMk id="5421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2:36:06.417" v="4992" actId="478"/>
          <ac:spMkLst>
            <pc:docMk/>
            <pc:sldMk cId="0" sldId="328"/>
            <ac:spMk id="5422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2:36:06.417" v="4992" actId="478"/>
          <ac:spMkLst>
            <pc:docMk/>
            <pc:sldMk cId="0" sldId="328"/>
            <ac:spMk id="5423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2:36:06.417" v="4992" actId="478"/>
          <ac:spMkLst>
            <pc:docMk/>
            <pc:sldMk cId="0" sldId="328"/>
            <ac:spMk id="5424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51:51.906" v="4528" actId="21"/>
          <ac:spMkLst>
            <pc:docMk/>
            <pc:sldMk cId="0" sldId="328"/>
            <ac:spMk id="5427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2T11:51:48.945" v="4527" actId="165"/>
          <ac:spMkLst>
            <pc:docMk/>
            <pc:sldMk cId="0" sldId="328"/>
            <ac:spMk id="5429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2T11:51:48.945" v="4527" actId="165"/>
          <ac:spMkLst>
            <pc:docMk/>
            <pc:sldMk cId="0" sldId="328"/>
            <ac:spMk id="5430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51:51.906" v="4528" actId="21"/>
          <ac:spMkLst>
            <pc:docMk/>
            <pc:sldMk cId="0" sldId="328"/>
            <ac:spMk id="5432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51:51.906" v="4528" actId="21"/>
          <ac:spMkLst>
            <pc:docMk/>
            <pc:sldMk cId="0" sldId="328"/>
            <ac:spMk id="5433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51:51.906" v="4528" actId="21"/>
          <ac:spMkLst>
            <pc:docMk/>
            <pc:sldMk cId="0" sldId="328"/>
            <ac:spMk id="5434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51:51.906" v="4528" actId="21"/>
          <ac:spMkLst>
            <pc:docMk/>
            <pc:sldMk cId="0" sldId="328"/>
            <ac:spMk id="5435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51:51.906" v="4528" actId="21"/>
          <ac:spMkLst>
            <pc:docMk/>
            <pc:sldMk cId="0" sldId="328"/>
            <ac:spMk id="5436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51:51.906" v="4528" actId="21"/>
          <ac:spMkLst>
            <pc:docMk/>
            <pc:sldMk cId="0" sldId="328"/>
            <ac:spMk id="5437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51:51.906" v="4528" actId="21"/>
          <ac:spMkLst>
            <pc:docMk/>
            <pc:sldMk cId="0" sldId="328"/>
            <ac:spMk id="5438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51:51.906" v="4528" actId="21"/>
          <ac:spMkLst>
            <pc:docMk/>
            <pc:sldMk cId="0" sldId="328"/>
            <ac:spMk id="5439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51:51.906" v="4528" actId="21"/>
          <ac:spMkLst>
            <pc:docMk/>
            <pc:sldMk cId="0" sldId="328"/>
            <ac:spMk id="5440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51:51.906" v="4528" actId="21"/>
          <ac:spMkLst>
            <pc:docMk/>
            <pc:sldMk cId="0" sldId="328"/>
            <ac:spMk id="5441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51:51.906" v="4528" actId="21"/>
          <ac:spMkLst>
            <pc:docMk/>
            <pc:sldMk cId="0" sldId="328"/>
            <ac:spMk id="5442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51:51.906" v="4528" actId="21"/>
          <ac:spMkLst>
            <pc:docMk/>
            <pc:sldMk cId="0" sldId="328"/>
            <ac:spMk id="5443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51:51.906" v="4528" actId="21"/>
          <ac:spMkLst>
            <pc:docMk/>
            <pc:sldMk cId="0" sldId="328"/>
            <ac:spMk id="5444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51:51.906" v="4528" actId="21"/>
          <ac:spMkLst>
            <pc:docMk/>
            <pc:sldMk cId="0" sldId="328"/>
            <ac:spMk id="5445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51:51.906" v="4528" actId="21"/>
          <ac:spMkLst>
            <pc:docMk/>
            <pc:sldMk cId="0" sldId="328"/>
            <ac:spMk id="5446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51:51.906" v="4528" actId="21"/>
          <ac:spMkLst>
            <pc:docMk/>
            <pc:sldMk cId="0" sldId="328"/>
            <ac:spMk id="5447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51:51.906" v="4528" actId="21"/>
          <ac:spMkLst>
            <pc:docMk/>
            <pc:sldMk cId="0" sldId="328"/>
            <ac:spMk id="5448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51:51.906" v="4528" actId="21"/>
          <ac:spMkLst>
            <pc:docMk/>
            <pc:sldMk cId="0" sldId="328"/>
            <ac:spMk id="5449" creationId="{00000000-0000-0000-0000-000000000000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2:36:06.417" v="4992" actId="478"/>
          <ac:spMkLst>
            <pc:docMk/>
            <pc:sldMk cId="0" sldId="328"/>
            <ac:spMk id="5450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2:36:06.417" v="4992" actId="478"/>
          <ac:spMkLst>
            <pc:docMk/>
            <pc:sldMk cId="0" sldId="328"/>
            <ac:spMk id="5452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458" creationId="{25300DBF-B119-5DD5-E230-EDF62801971D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1.126" v="5190" actId="21"/>
          <ac:spMkLst>
            <pc:docMk/>
            <pc:sldMk cId="0" sldId="328"/>
            <ac:spMk id="5459" creationId="{0B1B1333-2354-24B6-8107-7CA81C8D5EA4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1.126" v="5190" actId="21"/>
          <ac:spMkLst>
            <pc:docMk/>
            <pc:sldMk cId="0" sldId="328"/>
            <ac:spMk id="5460" creationId="{5422DC9E-F183-93BD-84A9-F912B1DC48EB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1.126" v="5190" actId="21"/>
          <ac:spMkLst>
            <pc:docMk/>
            <pc:sldMk cId="0" sldId="328"/>
            <ac:spMk id="5461" creationId="{F89C609F-934B-4401-D172-06E8DA8AAF30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1.126" v="5190" actId="21"/>
          <ac:spMkLst>
            <pc:docMk/>
            <pc:sldMk cId="0" sldId="328"/>
            <ac:spMk id="5462" creationId="{C7452D5A-35EB-C317-7083-6494DCEF35CF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1.126" v="5190" actId="21"/>
          <ac:spMkLst>
            <pc:docMk/>
            <pc:sldMk cId="0" sldId="328"/>
            <ac:spMk id="5463" creationId="{B64C04D2-9260-C6F4-A217-B8162270C003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1.126" v="5190" actId="21"/>
          <ac:spMkLst>
            <pc:docMk/>
            <pc:sldMk cId="0" sldId="328"/>
            <ac:spMk id="5464" creationId="{C5286972-FBEA-0A14-1FFC-5B5900A0C366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1.126" v="5190" actId="21"/>
          <ac:spMkLst>
            <pc:docMk/>
            <pc:sldMk cId="0" sldId="328"/>
            <ac:spMk id="5465" creationId="{C1A0F12D-8E70-54E7-B724-BE4F4C08A97E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1.126" v="5190" actId="21"/>
          <ac:spMkLst>
            <pc:docMk/>
            <pc:sldMk cId="0" sldId="328"/>
            <ac:spMk id="5466" creationId="{7334CFD7-C00A-7DFA-CEE7-658853450A8C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1.126" v="5190" actId="21"/>
          <ac:spMkLst>
            <pc:docMk/>
            <pc:sldMk cId="0" sldId="328"/>
            <ac:spMk id="5467" creationId="{679A1B17-48F8-57BD-87B4-9B8D747967BE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1.126" v="5190" actId="21"/>
          <ac:spMkLst>
            <pc:docMk/>
            <pc:sldMk cId="0" sldId="328"/>
            <ac:spMk id="5468" creationId="{00C54A60-64ED-A0F2-BD4F-21EB034843A8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1.126" v="5190" actId="21"/>
          <ac:spMkLst>
            <pc:docMk/>
            <pc:sldMk cId="0" sldId="328"/>
            <ac:spMk id="5469" creationId="{AB50D4DF-8DD7-34F2-FB21-846AB0A5EA45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1.126" v="5190" actId="21"/>
          <ac:spMkLst>
            <pc:docMk/>
            <pc:sldMk cId="0" sldId="328"/>
            <ac:spMk id="5470" creationId="{67B59769-6DA4-F99D-7AB5-DFB4801F37C1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1.126" v="5190" actId="21"/>
          <ac:spMkLst>
            <pc:docMk/>
            <pc:sldMk cId="0" sldId="328"/>
            <ac:spMk id="5471" creationId="{61197B3A-6FB1-5C22-FCA1-7A547BAA88FE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1.126" v="5190" actId="21"/>
          <ac:spMkLst>
            <pc:docMk/>
            <pc:sldMk cId="0" sldId="328"/>
            <ac:spMk id="5472" creationId="{695A9D4D-B80D-C53D-07A9-CD7071C41702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1.126" v="5190" actId="21"/>
          <ac:spMkLst>
            <pc:docMk/>
            <pc:sldMk cId="0" sldId="328"/>
            <ac:spMk id="5473" creationId="{79972AC0-7CCC-BC62-682C-BFD4FE6B5854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1.126" v="5190" actId="21"/>
          <ac:spMkLst>
            <pc:docMk/>
            <pc:sldMk cId="0" sldId="328"/>
            <ac:spMk id="5474" creationId="{9B7C2B67-2AD8-6BF5-912C-6A5DC5485C18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1.126" v="5190" actId="21"/>
          <ac:spMkLst>
            <pc:docMk/>
            <pc:sldMk cId="0" sldId="328"/>
            <ac:spMk id="5475" creationId="{E49CEFC2-F55D-B752-C881-AFB9FE2D4834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1.126" v="5190" actId="21"/>
          <ac:spMkLst>
            <pc:docMk/>
            <pc:sldMk cId="0" sldId="328"/>
            <ac:spMk id="5476" creationId="{8B93B31D-5664-95F9-07B7-2DEE95AF5273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1.126" v="5190" actId="21"/>
          <ac:spMkLst>
            <pc:docMk/>
            <pc:sldMk cId="0" sldId="328"/>
            <ac:spMk id="5477" creationId="{F7F058D6-04B1-3B70-16ED-DB93DD78D803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1.126" v="5190" actId="21"/>
          <ac:spMkLst>
            <pc:docMk/>
            <pc:sldMk cId="0" sldId="328"/>
            <ac:spMk id="5478" creationId="{424707D2-41AE-AC90-DA41-6FD0D7564393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1.126" v="5190" actId="21"/>
          <ac:spMkLst>
            <pc:docMk/>
            <pc:sldMk cId="0" sldId="328"/>
            <ac:spMk id="5479" creationId="{68E896B0-B4C9-4652-4FDF-4B709E368B93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1.126" v="5190" actId="21"/>
          <ac:spMkLst>
            <pc:docMk/>
            <pc:sldMk cId="0" sldId="328"/>
            <ac:spMk id="5480" creationId="{226B7B66-0734-AB85-E481-2E3189324A94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1.126" v="5190" actId="21"/>
          <ac:spMkLst>
            <pc:docMk/>
            <pc:sldMk cId="0" sldId="328"/>
            <ac:spMk id="5481" creationId="{1A1504F7-1334-4C99-6137-8EF9DB3F3882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1.126" v="5190" actId="21"/>
          <ac:spMkLst>
            <pc:docMk/>
            <pc:sldMk cId="0" sldId="328"/>
            <ac:spMk id="5482" creationId="{7630434B-E692-554E-59EF-72D98CBD953E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1.126" v="5190" actId="21"/>
          <ac:spMkLst>
            <pc:docMk/>
            <pc:sldMk cId="0" sldId="328"/>
            <ac:spMk id="5483" creationId="{E7B9AB98-0086-5932-E7FD-9ED0D5A41D52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484" creationId="{7700DF7A-117E-1B94-8880-EA0703622EBF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485" creationId="{92167CDF-1A93-4288-D152-1ADC80A40B85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486" creationId="{D23328BF-0044-09B2-7B20-80CFE3C19CE5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487" creationId="{D6203039-BC1B-1BC2-AD9B-5B078E5DE106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488" creationId="{4F9C7B72-862F-0827-85A5-7D3D8EC0BA59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489" creationId="{9CE9FEAD-87F1-FA43-9277-75C6DD4D8224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490" creationId="{E8F4F4F0-4CF8-3367-9E1F-5C74B0B4A0DF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491" creationId="{60979F5A-5AB4-6584-824F-D23EE906DDD5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492" creationId="{F8D48C8B-7F63-87DD-C588-7FB71577D6E7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493" creationId="{2E5B8BA4-35DF-6D6D-B763-CA14E8E454D2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494" creationId="{0ADED268-8268-0C80-19A0-876BB9080915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495" creationId="{1209CE2F-36A2-82A1-CD27-42960D16105A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496" creationId="{B30D0108-5AC3-9958-99BE-2818CCEC1006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497" creationId="{CE30E389-63A3-337B-5BBC-4B49DF2F5F72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498" creationId="{48E2E4C8-187D-225F-2A09-FB4B13DCCF1A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499" creationId="{B82DAB84-579B-5F38-F4AC-EAC95C6C5C60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500" creationId="{B16684FC-7686-2D1F-C89F-5EF76A2D3777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501" creationId="{EFD1991F-328A-A0A1-621C-F8A0BEA8D37C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502" creationId="{1BFDDB3C-5D90-559F-7BE8-65DE10B52993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503" creationId="{BC8CF383-695E-13B5-28AC-F7706BA2E2EC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504" creationId="{8ED33DDB-87F1-2462-F37A-486736CB42A4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505" creationId="{57E14D4E-B508-5C89-B14E-FE0CAF0AF94C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506" creationId="{5A16C701-8466-4173-941C-53D1A80ACE0E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507" creationId="{D96C6C5C-0651-D0FB-45EC-B613F6FADC6F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508" creationId="{3E004EF0-AEEC-61FF-0309-61AB2774176F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09" creationId="{7E2CEE29-15D4-3182-A4CF-3129AC7CE696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10" creationId="{DF7EBDC4-C009-B8F2-CEFA-C2B1F457238A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11" creationId="{237BAB5A-551C-DFC4-77DE-1E1AD6D8E34C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12" creationId="{4E4FE3F9-CE99-A488-987A-CE5E5DA7C74D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13" creationId="{A36542E9-B6B1-4B78-398F-134CA97DC7D1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14" creationId="{22254EE6-0C01-FF4F-B80D-1B0408D6980C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15" creationId="{8F7D82B0-343A-8F36-E425-A85461813DEF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16" creationId="{0D719751-A814-7480-3053-4D92D71A9B45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17" creationId="{32C5E611-E363-EBB7-0A0C-F6103D1FC501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18" creationId="{27F28FAD-B674-2A10-23A4-5EB41E73B640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19" creationId="{BBE246B2-C4F7-C270-C3C2-FC0CF4D73FBE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20" creationId="{3CA37A03-CBA2-91CB-401F-2BFBA731E11D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21" creationId="{82BD0A84-4758-E8EE-51C5-94E8CFD1D3FD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22" creationId="{38847AD2-70E1-6924-A0A7-889D85E999E9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23" creationId="{8063F1D0-862B-47B8-C671-910B423EF0AD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24" creationId="{F79FEFF6-4886-F0DF-1D78-F8EB8EEA9366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25" creationId="{90BDC8DF-F785-ED95-0017-372D544A0BED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26" creationId="{4EAD7B78-E794-26FD-CE9A-404450B0F401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27" creationId="{BE1377E8-E05B-0E21-0FAB-E5C1362F9E3E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28" creationId="{7F78032E-72A7-A7E2-CD26-A851B9496C12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29" creationId="{F3F1CC25-6DED-6655-E81F-BB05E56FA7BA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30" creationId="{B713E921-9E1A-2252-85F1-1FE3FD533F23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31" creationId="{F4836293-D6CF-9FF6-74C8-46AB0C0B0FA0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32" creationId="{374AE784-A8EF-E5A6-5A35-8256D59813C9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33" creationId="{B9717692-EA32-8237-EB89-B09204C7EAAC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34" creationId="{6A2E2EDA-4357-0CCF-4E0F-3714CEACB3B1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35" creationId="{4006450C-5B67-9323-3D88-8E6EB5BDF0E8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36" creationId="{359997C4-3439-0CAE-059C-7CB5F0EE9081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37" creationId="{F07315FB-42B1-4918-AFB7-89BFC3BD0E85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38" creationId="{A009C241-97D1-85CD-515D-A26F969E777B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39" creationId="{25CA0BD3-F969-315F-F602-92BFEEAD9AA4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40" creationId="{025F9AC4-7A0B-E020-B4A2-1D7472C52CF4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41" creationId="{B99D8BF1-7032-4BA1-19B5-CC9D7E3359E2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42" creationId="{9152D70D-2F95-CC09-C12D-38FAAB38CBA2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43" creationId="{D9D978DC-3015-87A4-90F2-19E3555B1DE6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44" creationId="{C1E543E9-F629-9E6E-3D82-913705536E7F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45" creationId="{6D11D413-AEE7-B4CA-BA61-385B0B337260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46" creationId="{D133C1F7-D8F9-F8B7-2E28-7D6C4C961A1E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47" creationId="{56D57602-B581-81E2-01EC-D8723987D08B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48" creationId="{45E3F0B2-F592-605C-FFD0-F4360923ECBB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49" creationId="{28A0E585-D317-C8F3-9DE9-2DEDEFF8ED8C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50" creationId="{C51E72D8-C11A-E65F-8474-CFB071510D86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51" creationId="{36EBEEF5-0139-DF7F-4237-606FF4FF0F7A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52" creationId="{EF1F306F-50B6-6C9D-DC16-9074106E6C94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53" creationId="{892F1E05-F509-5AA4-6486-8F7EF2311E43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54" creationId="{EFE68FE9-3B81-834B-529C-E2351A2C047A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55" creationId="{659BC509-E32E-6342-796E-6FBCC557D7CF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56" creationId="{BF60370E-3E25-74D6-B498-61184DF6ED7C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57" creationId="{F95E11A2-6DAD-42D5-6544-6F0E85FFA680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58" creationId="{6536CD0B-9BFA-3FB0-18A7-C2126BBD5B25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2.386" v="5191" actId="21"/>
          <ac:spMkLst>
            <pc:docMk/>
            <pc:sldMk cId="0" sldId="328"/>
            <ac:spMk id="5560" creationId="{75C704F1-9121-E2A2-0F30-6F960E610C78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2.386" v="5191" actId="21"/>
          <ac:spMkLst>
            <pc:docMk/>
            <pc:sldMk cId="0" sldId="328"/>
            <ac:spMk id="5561" creationId="{B5383E62-B429-76A9-6E08-F62689B954CF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2.386" v="5191" actId="21"/>
          <ac:spMkLst>
            <pc:docMk/>
            <pc:sldMk cId="0" sldId="328"/>
            <ac:spMk id="5562" creationId="{791F8AA2-007D-943B-41B8-9AB7B4C4782E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2.386" v="5191" actId="21"/>
          <ac:spMkLst>
            <pc:docMk/>
            <pc:sldMk cId="0" sldId="328"/>
            <ac:spMk id="5563" creationId="{13D31D23-2E69-9E85-3F75-1F7CFF57CF56}"/>
          </ac:spMkLst>
        </pc:spChg>
        <pc:spChg chg="mod">
          <ac:chgData name="Robert Lalhlimpuia [Chillibreeze]" userId="8fe5ebfe-980d-441d-bbff-8c5265b810b8" providerId="ADAL" clId="{8604BD65-8997-4357-BA60-019791E2ED85}" dt="2024-06-12T13:00:08.774" v="5189" actId="165"/>
          <ac:spMkLst>
            <pc:docMk/>
            <pc:sldMk cId="0" sldId="328"/>
            <ac:spMk id="5566" creationId="{F0E73B70-82A3-1CA2-3B2E-0A57CD458DD4}"/>
          </ac:spMkLst>
        </pc:spChg>
        <pc:spChg chg="mod">
          <ac:chgData name="Robert Lalhlimpuia [Chillibreeze]" userId="8fe5ebfe-980d-441d-bbff-8c5265b810b8" providerId="ADAL" clId="{8604BD65-8997-4357-BA60-019791E2ED85}" dt="2024-06-12T13:00:08.774" v="5189" actId="165"/>
          <ac:spMkLst>
            <pc:docMk/>
            <pc:sldMk cId="0" sldId="328"/>
            <ac:spMk id="5567" creationId="{AECFDB13-2073-FEC7-5D7B-AF7A48D389A7}"/>
          </ac:spMkLst>
        </pc:spChg>
        <pc:spChg chg="mod">
          <ac:chgData name="Robert Lalhlimpuia [Chillibreeze]" userId="8fe5ebfe-980d-441d-bbff-8c5265b810b8" providerId="ADAL" clId="{8604BD65-8997-4357-BA60-019791E2ED85}" dt="2024-06-12T13:00:08.774" v="5189" actId="165"/>
          <ac:spMkLst>
            <pc:docMk/>
            <pc:sldMk cId="0" sldId="328"/>
            <ac:spMk id="5569" creationId="{E3D79588-B7FE-1AE0-7DC5-FF6F619C59EF}"/>
          </ac:spMkLst>
        </pc:spChg>
        <pc:spChg chg="mod">
          <ac:chgData name="Robert Lalhlimpuia [Chillibreeze]" userId="8fe5ebfe-980d-441d-bbff-8c5265b810b8" providerId="ADAL" clId="{8604BD65-8997-4357-BA60-019791E2ED85}" dt="2024-06-12T13:00:08.774" v="5189" actId="165"/>
          <ac:spMkLst>
            <pc:docMk/>
            <pc:sldMk cId="0" sldId="328"/>
            <ac:spMk id="5570" creationId="{6BC05458-5670-6ABD-014C-43CED0CE53C6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71" creationId="{EE20439C-77AE-555D-DEF4-849C5723BAB8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573" creationId="{5ED9DAE6-087D-21F8-FF71-B6EEF094B552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574" creationId="{8A6289D7-CDEA-31D0-5FEA-50499E8549FA}"/>
          </ac:spMkLst>
        </pc:spChg>
        <pc:spChg chg="mod">
          <ac:chgData name="Robert Lalhlimpuia [Chillibreeze]" userId="8fe5ebfe-980d-441d-bbff-8c5265b810b8" providerId="ADAL" clId="{8604BD65-8997-4357-BA60-019791E2ED85}" dt="2024-06-12T13:00:08.774" v="5189" actId="165"/>
          <ac:spMkLst>
            <pc:docMk/>
            <pc:sldMk cId="0" sldId="328"/>
            <ac:spMk id="5576" creationId="{083D7C53-7DEC-FEEE-1C40-F5E3259C9EB0}"/>
          </ac:spMkLst>
        </pc:spChg>
        <pc:spChg chg="mod">
          <ac:chgData name="Robert Lalhlimpuia [Chillibreeze]" userId="8fe5ebfe-980d-441d-bbff-8c5265b810b8" providerId="ADAL" clId="{8604BD65-8997-4357-BA60-019791E2ED85}" dt="2024-06-12T13:00:08.774" v="5189" actId="165"/>
          <ac:spMkLst>
            <pc:docMk/>
            <pc:sldMk cId="0" sldId="328"/>
            <ac:spMk id="5577" creationId="{64E77E4C-4540-829B-FCEC-6072496EA18B}"/>
          </ac:spMkLst>
        </pc:spChg>
        <pc:spChg chg="mod">
          <ac:chgData name="Robert Lalhlimpuia [Chillibreeze]" userId="8fe5ebfe-980d-441d-bbff-8c5265b810b8" providerId="ADAL" clId="{8604BD65-8997-4357-BA60-019791E2ED85}" dt="2024-06-12T13:00:08.774" v="5189" actId="165"/>
          <ac:spMkLst>
            <pc:docMk/>
            <pc:sldMk cId="0" sldId="328"/>
            <ac:spMk id="5578" creationId="{90D93650-A44C-1FD4-D329-48D16EC488C8}"/>
          </ac:spMkLst>
        </pc:spChg>
        <pc:spChg chg="mod">
          <ac:chgData name="Robert Lalhlimpuia [Chillibreeze]" userId="8fe5ebfe-980d-441d-bbff-8c5265b810b8" providerId="ADAL" clId="{8604BD65-8997-4357-BA60-019791E2ED85}" dt="2024-06-12T13:00:08.774" v="5189" actId="165"/>
          <ac:spMkLst>
            <pc:docMk/>
            <pc:sldMk cId="0" sldId="328"/>
            <ac:spMk id="5579" creationId="{D04E6253-FA2B-1ED2-1402-3005E31A1680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580" creationId="{8EC874C0-9963-12DC-A5D6-DAEB94287FF1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581" creationId="{DFF5A078-ECDF-A49A-0FDB-039C0CB44575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582" creationId="{D4440DD0-37AA-3C2B-F0DE-F77BD4E53D74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583" creationId="{AA5C80AE-B6FE-8187-0671-6421DCD204B0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584" creationId="{68216553-D482-D01E-5998-1582B67348AE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585" creationId="{F20D895C-EC92-B180-965F-808670076FC5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0:20.802" v="5196" actId="21"/>
          <ac:spMkLst>
            <pc:docMk/>
            <pc:sldMk cId="0" sldId="328"/>
            <ac:spMk id="5586" creationId="{56A177CD-0772-0982-A89A-6CB09CA443F3}"/>
          </ac:spMkLst>
        </pc:spChg>
        <pc:spChg chg="mod">
          <ac:chgData name="Robert Lalhlimpuia [Chillibreeze]" userId="8fe5ebfe-980d-441d-bbff-8c5265b810b8" providerId="ADAL" clId="{8604BD65-8997-4357-BA60-019791E2ED85}" dt="2024-06-12T13:00:08.774" v="5189" actId="165"/>
          <ac:spMkLst>
            <pc:docMk/>
            <pc:sldMk cId="0" sldId="328"/>
            <ac:spMk id="5589" creationId="{9A239CED-2961-0B68-BDAA-4EF5A1D11EB2}"/>
          </ac:spMkLst>
        </pc:spChg>
        <pc:spChg chg="mod">
          <ac:chgData name="Robert Lalhlimpuia [Chillibreeze]" userId="8fe5ebfe-980d-441d-bbff-8c5265b810b8" providerId="ADAL" clId="{8604BD65-8997-4357-BA60-019791E2ED85}" dt="2024-06-12T13:00:08.774" v="5189" actId="165"/>
          <ac:spMkLst>
            <pc:docMk/>
            <pc:sldMk cId="0" sldId="328"/>
            <ac:spMk id="5590" creationId="{940D9924-153A-173F-E6CD-6D72E7570DD4}"/>
          </ac:spMkLst>
        </pc:spChg>
        <pc:spChg chg="mod">
          <ac:chgData name="Robert Lalhlimpuia [Chillibreeze]" userId="8fe5ebfe-980d-441d-bbff-8c5265b810b8" providerId="ADAL" clId="{8604BD65-8997-4357-BA60-019791E2ED85}" dt="2024-06-12T13:00:08.774" v="5189" actId="165"/>
          <ac:spMkLst>
            <pc:docMk/>
            <pc:sldMk cId="0" sldId="328"/>
            <ac:spMk id="5591" creationId="{408DB6BC-A69E-7679-B754-2F9B06C41504}"/>
          </ac:spMkLst>
        </pc:spChg>
        <pc:spChg chg="mod">
          <ac:chgData name="Robert Lalhlimpuia [Chillibreeze]" userId="8fe5ebfe-980d-441d-bbff-8c5265b810b8" providerId="ADAL" clId="{8604BD65-8997-4357-BA60-019791E2ED85}" dt="2024-06-12T13:00:08.774" v="5189" actId="165"/>
          <ac:spMkLst>
            <pc:docMk/>
            <pc:sldMk cId="0" sldId="328"/>
            <ac:spMk id="5593" creationId="{B8C2E882-7754-7FC1-7682-5DB89BDC7632}"/>
          </ac:spMkLst>
        </pc:spChg>
        <pc:spChg chg="mod">
          <ac:chgData name="Robert Lalhlimpuia [Chillibreeze]" userId="8fe5ebfe-980d-441d-bbff-8c5265b810b8" providerId="ADAL" clId="{8604BD65-8997-4357-BA60-019791E2ED85}" dt="2024-06-12T13:00:08.774" v="5189" actId="165"/>
          <ac:spMkLst>
            <pc:docMk/>
            <pc:sldMk cId="0" sldId="328"/>
            <ac:spMk id="5594" creationId="{DBE0F56A-7B4B-4165-1AA3-F7A8EA2FF845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96" creationId="{3BB25E39-C55C-A085-3582-F858EB56E970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97" creationId="{E6B1EDE5-4276-28EB-49E1-5EA20B25A23D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98" creationId="{5422123C-3F78-311E-BA8C-A7C62C3078BC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599" creationId="{6EC7383A-62F4-07F6-E9C7-8CB5EE168944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600" creationId="{8519D9C5-2EC6-601E-6B9B-A2835C57ADFA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601" creationId="{A7AF3EFD-B1A3-4507-7AA3-BFEE16653015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602" creationId="{13ACA7D2-34E3-105A-7ED1-166FD2956CE3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603" creationId="{A1941F0A-111A-17AC-E54F-E210E5C1AC25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604" creationId="{06A9E8F1-096B-4A46-C1E0-7365923F9F92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0:16.974" v="5193" actId="21"/>
          <ac:spMkLst>
            <pc:docMk/>
            <pc:sldMk cId="0" sldId="328"/>
            <ac:spMk id="5605" creationId="{21D851A3-18BD-1618-E1B3-865439C48D32}"/>
          </ac:spMkLst>
        </pc:spChg>
        <pc:spChg chg="mod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09" creationId="{A9C20C92-1B62-6130-6F3B-F1C5B6DF171C}"/>
          </ac:spMkLst>
        </pc:spChg>
        <pc:spChg chg="mod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10" creationId="{04AC14C1-F278-AE87-0115-431F890924D4}"/>
          </ac:spMkLst>
        </pc:spChg>
        <pc:spChg chg="mod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11" creationId="{2D2FE1B2-BBAC-0D6C-D308-332BEF6F4495}"/>
          </ac:spMkLst>
        </pc:spChg>
        <pc:spChg chg="mod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12" creationId="{CCE80698-29CC-B9F8-7712-92BAF62B96C0}"/>
          </ac:spMkLst>
        </pc:spChg>
        <pc:spChg chg="mod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13" creationId="{92D18C8C-4C46-4C02-493C-74E9C9B2831E}"/>
          </ac:spMkLst>
        </pc:spChg>
        <pc:spChg chg="mod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14" creationId="{3EBFFDFF-E6EA-1868-8F4C-49610E648743}"/>
          </ac:spMkLst>
        </pc:spChg>
        <pc:spChg chg="mod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15" creationId="{9757B263-F9E2-2D6A-665A-1626F9A14E23}"/>
          </ac:spMkLst>
        </pc:spChg>
        <pc:spChg chg="mod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16" creationId="{8ABE507D-1730-EC63-6EEA-FCCD94CAB9C0}"/>
          </ac:spMkLst>
        </pc:spChg>
        <pc:spChg chg="mod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17" creationId="{9D0656C3-6CC9-4917-90DC-F2EA5ABC04F4}"/>
          </ac:spMkLst>
        </pc:spChg>
        <pc:spChg chg="mod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18" creationId="{59CDC415-1E9E-8EB8-7B78-46C9F3EACD35}"/>
          </ac:spMkLst>
        </pc:spChg>
        <pc:spChg chg="mod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20" creationId="{FA68256B-65A7-10E9-78E8-454ED22A2BDB}"/>
          </ac:spMkLst>
        </pc:spChg>
        <pc:spChg chg="mod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21" creationId="{7DFEDB15-C7E7-89D4-0CA7-6B42304D560A}"/>
          </ac:spMkLst>
        </pc:spChg>
        <pc:spChg chg="mod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22" creationId="{C41F831D-E464-076D-7184-0A6A93B96A41}"/>
          </ac:spMkLst>
        </pc:spChg>
        <pc:spChg chg="mod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23" creationId="{68510DA0-0D83-B9AD-BF32-3CDE1939F828}"/>
          </ac:spMkLst>
        </pc:spChg>
        <pc:spChg chg="mod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24" creationId="{F6ABC906-6CD4-9A62-4FC0-E59691D35BB7}"/>
          </ac:spMkLst>
        </pc:spChg>
        <pc:spChg chg="mod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25" creationId="{2118927F-7137-B402-37CA-99EFB5B9BDF3}"/>
          </ac:spMkLst>
        </pc:spChg>
        <pc:spChg chg="mod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26" creationId="{65FFD43B-941D-AE00-159A-98B4CD55C1A3}"/>
          </ac:spMkLst>
        </pc:spChg>
        <pc:spChg chg="mod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27" creationId="{3EA82670-8540-29C4-4E35-CD23C4707FAE}"/>
          </ac:spMkLst>
        </pc:spChg>
        <pc:spChg chg="mod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28" creationId="{B198810A-65DF-17C4-D793-B355E02036CD}"/>
          </ac:spMkLst>
        </pc:spChg>
        <pc:spChg chg="mod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29" creationId="{EDD09632-33A1-243B-77C1-F3D75A7C1E1D}"/>
          </ac:spMkLst>
        </pc:spChg>
        <pc:spChg chg="mod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30" creationId="{C44E9ECD-D40E-A24D-956C-FE7B19DF865E}"/>
          </ac:spMkLst>
        </pc:spChg>
        <pc:spChg chg="mod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32" creationId="{BFCEFFFF-1E9E-165C-DB70-3BF7EE01F08B}"/>
          </ac:spMkLst>
        </pc:spChg>
        <pc:spChg chg="mod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33" creationId="{D4968989-579B-026C-5F54-190FCFEEF0F9}"/>
          </ac:spMkLst>
        </pc:spChg>
        <pc:spChg chg="mod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34" creationId="{356AAE60-AADF-BC13-6E60-67CF54FAEA10}"/>
          </ac:spMkLst>
        </pc:spChg>
        <pc:spChg chg="mod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35" creationId="{C5E08885-DDDC-54C3-1AD9-08B16E3CB177}"/>
          </ac:spMkLst>
        </pc:spChg>
        <pc:spChg chg="mod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36" creationId="{D9EF76F7-39DA-7FC2-BE75-1FDBBB1B3A85}"/>
          </ac:spMkLst>
        </pc:spChg>
        <pc:spChg chg="mod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37" creationId="{450D7432-7DE7-9023-5AE7-67A09DDCDB59}"/>
          </ac:spMkLst>
        </pc:spChg>
        <pc:spChg chg="mod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38" creationId="{5EAB3385-9B8D-1961-515B-3BB89BD028B2}"/>
          </ac:spMkLst>
        </pc:spChg>
        <pc:spChg chg="mod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39" creationId="{45A69C83-E408-D171-6ABF-2EC8FAA25D94}"/>
          </ac:spMkLst>
        </pc:spChg>
        <pc:spChg chg="mod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40" creationId="{850CF765-5162-6715-A637-936048731C3E}"/>
          </ac:spMkLst>
        </pc:spChg>
        <pc:spChg chg="mod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41" creationId="{56958FE6-D63E-1BF3-025F-054F8D4769EC}"/>
          </ac:spMkLst>
        </pc:spChg>
        <pc:spChg chg="mod topLvl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42" creationId="{384BCEA3-B661-2D35-72B7-AB21EE7FCED7}"/>
          </ac:spMkLst>
        </pc:spChg>
        <pc:spChg chg="mod topLvl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43" creationId="{3A83BAE7-333A-591F-0BDE-53DDDB4A4217}"/>
          </ac:spMkLst>
        </pc:spChg>
        <pc:spChg chg="mod topLvl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44" creationId="{D62F2C78-17EE-0F7A-A248-7D3498B3DFDC}"/>
          </ac:spMkLst>
        </pc:spChg>
        <pc:spChg chg="mod topLvl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45" creationId="{223A11E6-2EA7-5F87-42CA-46818A4710C1}"/>
          </ac:spMkLst>
        </pc:spChg>
        <pc:spChg chg="mod topLvl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46" creationId="{C36CE2FC-FD02-B9C1-EE6F-6D92056ECFA9}"/>
          </ac:spMkLst>
        </pc:spChg>
        <pc:spChg chg="mod topLvl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47" creationId="{A2C683DA-2240-95A3-44D4-DC66FDCE4258}"/>
          </ac:spMkLst>
        </pc:spChg>
        <pc:spChg chg="mod topLvl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48" creationId="{C4E11F17-2002-F081-76A0-4BFF78D95332}"/>
          </ac:spMkLst>
        </pc:spChg>
        <pc:spChg chg="mod topLvl">
          <ac:chgData name="Robert Lalhlimpuia [Chillibreeze]" userId="8fe5ebfe-980d-441d-bbff-8c5265b810b8" providerId="ADAL" clId="{8604BD65-8997-4357-BA60-019791E2ED85}" dt="2024-06-12T13:00:04.915" v="5186" actId="165"/>
          <ac:spMkLst>
            <pc:docMk/>
            <pc:sldMk cId="0" sldId="328"/>
            <ac:spMk id="5649" creationId="{3A365E00-A247-D851-0F9D-E4C0CDE29C72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4:24.540" v="5379" actId="21"/>
          <ac:spMkLst>
            <pc:docMk/>
            <pc:sldMk cId="0" sldId="328"/>
            <ac:spMk id="5655" creationId="{FDA52DF0-8868-211E-CAA3-DCCE06DAD8E0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4:24.540" v="5379" actId="21"/>
          <ac:spMkLst>
            <pc:docMk/>
            <pc:sldMk cId="0" sldId="328"/>
            <ac:spMk id="5656" creationId="{EDF4832F-50B5-2B3A-6383-A2F1479C7238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4:24.540" v="5379" actId="21"/>
          <ac:spMkLst>
            <pc:docMk/>
            <pc:sldMk cId="0" sldId="328"/>
            <ac:spMk id="5657" creationId="{2A48BB6E-CC23-AF20-D8C9-2C1CE22BDDB6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4:24.540" v="5379" actId="21"/>
          <ac:spMkLst>
            <pc:docMk/>
            <pc:sldMk cId="0" sldId="328"/>
            <ac:spMk id="5658" creationId="{CFFD584D-1F65-226E-B5F5-824CB6EF920E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4:24.540" v="5379" actId="21"/>
          <ac:spMkLst>
            <pc:docMk/>
            <pc:sldMk cId="0" sldId="328"/>
            <ac:spMk id="5659" creationId="{876E06E0-FE2E-2700-1806-26AED28904FA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4:24.540" v="5379" actId="21"/>
          <ac:spMkLst>
            <pc:docMk/>
            <pc:sldMk cId="0" sldId="328"/>
            <ac:spMk id="5660" creationId="{B2765DBC-5543-D4E1-8D95-BA2DF0985C8C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4:24.540" v="5379" actId="21"/>
          <ac:spMkLst>
            <pc:docMk/>
            <pc:sldMk cId="0" sldId="328"/>
            <ac:spMk id="5661" creationId="{2BA47260-9328-A8AC-82A3-042ADA3F12A8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4:24.540" v="5379" actId="21"/>
          <ac:spMkLst>
            <pc:docMk/>
            <pc:sldMk cId="0" sldId="328"/>
            <ac:spMk id="5662" creationId="{7ECC0DB7-AF9F-E1B1-6D3D-6FEE3AA0E672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4:24.540" v="5379" actId="21"/>
          <ac:spMkLst>
            <pc:docMk/>
            <pc:sldMk cId="0" sldId="328"/>
            <ac:spMk id="5663" creationId="{AEF46EA8-F3E5-07D1-60C7-BA573F28E629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4:24.540" v="5379" actId="21"/>
          <ac:spMkLst>
            <pc:docMk/>
            <pc:sldMk cId="0" sldId="328"/>
            <ac:spMk id="5664" creationId="{6D46F7F8-1151-A558-AD47-F865E4B72F34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4:24.540" v="5379" actId="21"/>
          <ac:spMkLst>
            <pc:docMk/>
            <pc:sldMk cId="0" sldId="328"/>
            <ac:spMk id="5665" creationId="{401BBF1B-AF57-7B3C-53A8-7AA844961825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4:24.540" v="5379" actId="21"/>
          <ac:spMkLst>
            <pc:docMk/>
            <pc:sldMk cId="0" sldId="328"/>
            <ac:spMk id="5667" creationId="{841D2739-304D-CFA6-E232-EA94E171981A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04:24.540" v="5379" actId="21"/>
          <ac:spMkLst>
            <pc:docMk/>
            <pc:sldMk cId="0" sldId="328"/>
            <ac:spMk id="5668" creationId="{51C55BDE-FFC3-3698-76F6-4B8A0EAB5EB1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3:04:16.977" v="5376" actId="21"/>
          <ac:spMkLst>
            <pc:docMk/>
            <pc:sldMk cId="0" sldId="328"/>
            <ac:spMk id="5669" creationId="{BBF751F2-7FBD-3918-BE1D-8181AA0FEEB7}"/>
          </ac:spMkLst>
        </pc:spChg>
        <pc:spChg chg="add del mod ord topLvl">
          <ac:chgData name="Robert Lalhlimpuia [Chillibreeze]" userId="8fe5ebfe-980d-441d-bbff-8c5265b810b8" providerId="ADAL" clId="{8604BD65-8997-4357-BA60-019791E2ED85}" dt="2024-06-12T13:18:37.519" v="5639" actId="21"/>
          <ac:spMkLst>
            <pc:docMk/>
            <pc:sldMk cId="0" sldId="328"/>
            <ac:spMk id="5670" creationId="{26F08CA5-243C-1FC1-B57E-217B2D5D7DD4}"/>
          </ac:spMkLst>
        </pc:spChg>
        <pc:spChg chg="add del mod ord topLvl">
          <ac:chgData name="Robert Lalhlimpuia [Chillibreeze]" userId="8fe5ebfe-980d-441d-bbff-8c5265b810b8" providerId="ADAL" clId="{8604BD65-8997-4357-BA60-019791E2ED85}" dt="2024-06-13T05:50:41.377" v="6448" actId="478"/>
          <ac:spMkLst>
            <pc:docMk/>
            <pc:sldMk cId="0" sldId="328"/>
            <ac:spMk id="5671" creationId="{18906ACC-37DD-B188-EDA5-C95047437DED}"/>
          </ac:spMkLst>
        </pc:spChg>
        <pc:spChg chg="mod ord topLvl">
          <ac:chgData name="Robert Lalhlimpuia [Chillibreeze]" userId="8fe5ebfe-980d-441d-bbff-8c5265b810b8" providerId="ADAL" clId="{8604BD65-8997-4357-BA60-019791E2ED85}" dt="2024-06-12T13:22:36.041" v="5775"/>
          <ac:spMkLst>
            <pc:docMk/>
            <pc:sldMk cId="0" sldId="328"/>
            <ac:spMk id="5673" creationId="{B83BD5FF-2B04-07E7-3540-057719A52B2F}"/>
          </ac:spMkLst>
        </pc:spChg>
        <pc:spChg chg="add mod ord topLvl">
          <ac:chgData name="Robert Lalhlimpuia [Chillibreeze]" userId="8fe5ebfe-980d-441d-bbff-8c5265b810b8" providerId="ADAL" clId="{8604BD65-8997-4357-BA60-019791E2ED85}" dt="2024-06-12T13:22:40.675" v="5781"/>
          <ac:spMkLst>
            <pc:docMk/>
            <pc:sldMk cId="0" sldId="328"/>
            <ac:spMk id="5675" creationId="{80CCBE4F-C78B-5D37-05D4-BC7D8E1DC301}"/>
          </ac:spMkLst>
        </pc:spChg>
        <pc:spChg chg="add mod ord topLvl">
          <ac:chgData name="Robert Lalhlimpuia [Chillibreeze]" userId="8fe5ebfe-980d-441d-bbff-8c5265b810b8" providerId="ADAL" clId="{8604BD65-8997-4357-BA60-019791E2ED85}" dt="2024-06-12T13:22:39.062" v="5779"/>
          <ac:spMkLst>
            <pc:docMk/>
            <pc:sldMk cId="0" sldId="328"/>
            <ac:spMk id="5676" creationId="{34704554-5F51-9FE4-0A80-90A9D70F5873}"/>
          </ac:spMkLst>
        </pc:spChg>
        <pc:spChg chg="add mod ord topLvl">
          <ac:chgData name="Robert Lalhlimpuia [Chillibreeze]" userId="8fe5ebfe-980d-441d-bbff-8c5265b810b8" providerId="ADAL" clId="{8604BD65-8997-4357-BA60-019791E2ED85}" dt="2024-06-12T13:19:30.620" v="5710" actId="207"/>
          <ac:spMkLst>
            <pc:docMk/>
            <pc:sldMk cId="0" sldId="328"/>
            <ac:spMk id="5677" creationId="{2054BF36-7B8D-4324-5496-4257B440A8F4}"/>
          </ac:spMkLst>
        </pc:spChg>
        <pc:spChg chg="add mod ord topLvl">
          <ac:chgData name="Robert Lalhlimpuia [Chillibreeze]" userId="8fe5ebfe-980d-441d-bbff-8c5265b810b8" providerId="ADAL" clId="{8604BD65-8997-4357-BA60-019791E2ED85}" dt="2024-06-12T13:22:32.565" v="5771"/>
          <ac:spMkLst>
            <pc:docMk/>
            <pc:sldMk cId="0" sldId="328"/>
            <ac:spMk id="5678" creationId="{AEA48DC7-47D7-1396-8CC3-364820DEEE9B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10:08.678" v="5499" actId="21"/>
          <ac:spMkLst>
            <pc:docMk/>
            <pc:sldMk cId="0" sldId="328"/>
            <ac:spMk id="5681" creationId="{687EB8EF-D07E-877B-A09B-D52F952E0D9E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10:09.435" v="5500" actId="21"/>
          <ac:spMkLst>
            <pc:docMk/>
            <pc:sldMk cId="0" sldId="328"/>
            <ac:spMk id="5682" creationId="{4A513F00-D795-E1F8-64AA-8C460B031B82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10:10.049" v="5501" actId="21"/>
          <ac:spMkLst>
            <pc:docMk/>
            <pc:sldMk cId="0" sldId="328"/>
            <ac:spMk id="5683" creationId="{5A64DA90-9523-8C69-B455-0F12AD65BF41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10:10.773" v="5502" actId="21"/>
          <ac:spMkLst>
            <pc:docMk/>
            <pc:sldMk cId="0" sldId="328"/>
            <ac:spMk id="5684" creationId="{A017270A-8D8D-D6DD-DFC3-DE9BACF8D9A9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10:07.105" v="5498" actId="21"/>
          <ac:spMkLst>
            <pc:docMk/>
            <pc:sldMk cId="0" sldId="328"/>
            <ac:spMk id="5685" creationId="{799BE9EF-AF3E-8848-FBD5-978943848646}"/>
          </ac:spMkLst>
        </pc:spChg>
        <pc:spChg chg="del mod topLvl">
          <ac:chgData name="Robert Lalhlimpuia [Chillibreeze]" userId="8fe5ebfe-980d-441d-bbff-8c5265b810b8" providerId="ADAL" clId="{8604BD65-8997-4357-BA60-019791E2ED85}" dt="2024-06-12T13:10:03.393" v="5497" actId="21"/>
          <ac:spMkLst>
            <pc:docMk/>
            <pc:sldMk cId="0" sldId="328"/>
            <ac:spMk id="5686" creationId="{2C7B0AC7-F8D5-EF6C-E46E-3F0165297051}"/>
          </ac:spMkLst>
        </pc:spChg>
        <pc:spChg chg="mod topLvl">
          <ac:chgData name="Robert Lalhlimpuia [Chillibreeze]" userId="8fe5ebfe-980d-441d-bbff-8c5265b810b8" providerId="ADAL" clId="{8604BD65-8997-4357-BA60-019791E2ED85}" dt="2024-06-12T13:09:56.508" v="5489"/>
          <ac:spMkLst>
            <pc:docMk/>
            <pc:sldMk cId="0" sldId="328"/>
            <ac:spMk id="5687" creationId="{E1831034-4091-FDA1-3190-140DD4ACE63B}"/>
          </ac:spMkLst>
        </pc:spChg>
        <pc:spChg chg="mod topLvl">
          <ac:chgData name="Robert Lalhlimpuia [Chillibreeze]" userId="8fe5ebfe-980d-441d-bbff-8c5265b810b8" providerId="ADAL" clId="{8604BD65-8997-4357-BA60-019791E2ED85}" dt="2024-06-12T13:09:56.508" v="5489"/>
          <ac:spMkLst>
            <pc:docMk/>
            <pc:sldMk cId="0" sldId="328"/>
            <ac:spMk id="5688" creationId="{CB2F7541-D51E-7F40-4FDF-C13C3845AE00}"/>
          </ac:spMkLst>
        </pc:spChg>
        <pc:spChg chg="mod topLvl">
          <ac:chgData name="Robert Lalhlimpuia [Chillibreeze]" userId="8fe5ebfe-980d-441d-bbff-8c5265b810b8" providerId="ADAL" clId="{8604BD65-8997-4357-BA60-019791E2ED85}" dt="2024-06-12T13:09:56.508" v="5489"/>
          <ac:spMkLst>
            <pc:docMk/>
            <pc:sldMk cId="0" sldId="328"/>
            <ac:spMk id="5689" creationId="{7B4D6F9B-15F3-5C00-4226-84B0BEECACB7}"/>
          </ac:spMkLst>
        </pc:spChg>
        <pc:spChg chg="mod topLvl">
          <ac:chgData name="Robert Lalhlimpuia [Chillibreeze]" userId="8fe5ebfe-980d-441d-bbff-8c5265b810b8" providerId="ADAL" clId="{8604BD65-8997-4357-BA60-019791E2ED85}" dt="2024-06-12T13:09:56.508" v="5489"/>
          <ac:spMkLst>
            <pc:docMk/>
            <pc:sldMk cId="0" sldId="328"/>
            <ac:spMk id="5690" creationId="{17568DC2-02AC-B0AE-D986-3CDA98206D7B}"/>
          </ac:spMkLst>
        </pc:spChg>
        <pc:spChg chg="mod topLvl">
          <ac:chgData name="Robert Lalhlimpuia [Chillibreeze]" userId="8fe5ebfe-980d-441d-bbff-8c5265b810b8" providerId="ADAL" clId="{8604BD65-8997-4357-BA60-019791E2ED85}" dt="2024-06-12T13:09:56.508" v="5489"/>
          <ac:spMkLst>
            <pc:docMk/>
            <pc:sldMk cId="0" sldId="328"/>
            <ac:spMk id="5691" creationId="{2BA0DA89-5BDB-2E86-F963-51CD05C61D9D}"/>
          </ac:spMkLst>
        </pc:spChg>
        <pc:spChg chg="add mod topLvl">
          <ac:chgData name="Robert Lalhlimpuia [Chillibreeze]" userId="8fe5ebfe-980d-441d-bbff-8c5265b810b8" providerId="ADAL" clId="{8604BD65-8997-4357-BA60-019791E2ED85}" dt="2024-06-12T13:19:35.389" v="5712"/>
          <ac:spMkLst>
            <pc:docMk/>
            <pc:sldMk cId="0" sldId="328"/>
            <ac:spMk id="5698" creationId="{E26B918D-A191-8C07-C67F-91482DABD6BC}"/>
          </ac:spMkLst>
        </pc:spChg>
        <pc:spChg chg="add mod">
          <ac:chgData name="Robert Lalhlimpuia [Chillibreeze]" userId="8fe5ebfe-980d-441d-bbff-8c5265b810b8" providerId="ADAL" clId="{8604BD65-8997-4357-BA60-019791E2ED85}" dt="2024-06-12T13:20:19.671" v="5725"/>
          <ac:spMkLst>
            <pc:docMk/>
            <pc:sldMk cId="0" sldId="328"/>
            <ac:spMk id="5702" creationId="{D943E9B2-D9B1-E708-3A84-60105B361A2A}"/>
          </ac:spMkLst>
        </pc:spChg>
        <pc:spChg chg="add mod">
          <ac:chgData name="Robert Lalhlimpuia [Chillibreeze]" userId="8fe5ebfe-980d-441d-bbff-8c5265b810b8" providerId="ADAL" clId="{8604BD65-8997-4357-BA60-019791E2ED85}" dt="2024-06-12T13:21:00.200" v="5742"/>
          <ac:spMkLst>
            <pc:docMk/>
            <pc:sldMk cId="0" sldId="328"/>
            <ac:spMk id="5703" creationId="{99F2490D-C929-65D7-F838-28E2F9B52ABB}"/>
          </ac:spMkLst>
        </pc:spChg>
        <pc:spChg chg="add mod">
          <ac:chgData name="Robert Lalhlimpuia [Chillibreeze]" userId="8fe5ebfe-980d-441d-bbff-8c5265b810b8" providerId="ADAL" clId="{8604BD65-8997-4357-BA60-019791E2ED85}" dt="2024-06-12T13:22:45.525" v="5785"/>
          <ac:spMkLst>
            <pc:docMk/>
            <pc:sldMk cId="0" sldId="328"/>
            <ac:spMk id="5704" creationId="{F86F4A52-D53D-5FF8-5903-EBCA829F3E99}"/>
          </ac:spMkLst>
        </pc:spChg>
        <pc:spChg chg="add mod">
          <ac:chgData name="Robert Lalhlimpuia [Chillibreeze]" userId="8fe5ebfe-980d-441d-bbff-8c5265b810b8" providerId="ADAL" clId="{8604BD65-8997-4357-BA60-019791E2ED85}" dt="2024-06-12T13:22:43.826" v="5783"/>
          <ac:spMkLst>
            <pc:docMk/>
            <pc:sldMk cId="0" sldId="328"/>
            <ac:spMk id="5705" creationId="{148EBF29-4D12-24FC-EA6A-BCE91F2A27F4}"/>
          </ac:spMkLst>
        </pc:spChg>
        <pc:spChg chg="add del mod ord">
          <ac:chgData name="Robert Lalhlimpuia [Chillibreeze]" userId="8fe5ebfe-980d-441d-bbff-8c5265b810b8" providerId="ADAL" clId="{8604BD65-8997-4357-BA60-019791E2ED85}" dt="2024-06-13T06:01:25.272" v="6635" actId="12788"/>
          <ac:spMkLst>
            <pc:docMk/>
            <pc:sldMk cId="0" sldId="328"/>
            <ac:spMk id="5715" creationId="{81262D30-8297-61C7-A548-23B62382B89C}"/>
          </ac:spMkLst>
        </pc:spChg>
        <pc:spChg chg="mod">
          <ac:chgData name="Robert Lalhlimpuia [Chillibreeze]" userId="8fe5ebfe-980d-441d-bbff-8c5265b810b8" providerId="ADAL" clId="{8604BD65-8997-4357-BA60-019791E2ED85}" dt="2024-06-12T13:24:23.740" v="5828" actId="120"/>
          <ac:spMkLst>
            <pc:docMk/>
            <pc:sldMk cId="0" sldId="328"/>
            <ac:spMk id="5735" creationId="{CD52F6BC-858A-E69B-52E4-F5DC40B0CE05}"/>
          </ac:spMkLst>
        </pc:spChg>
        <pc:spChg chg="mod">
          <ac:chgData name="Robert Lalhlimpuia [Chillibreeze]" userId="8fe5ebfe-980d-441d-bbff-8c5265b810b8" providerId="ADAL" clId="{8604BD65-8997-4357-BA60-019791E2ED85}" dt="2024-06-12T13:22:54.679" v="5789"/>
          <ac:spMkLst>
            <pc:docMk/>
            <pc:sldMk cId="0" sldId="328"/>
            <ac:spMk id="5737" creationId="{4BF0AEC2-8E22-E6BA-60DE-43F4274B5178}"/>
          </ac:spMkLst>
        </pc:spChg>
        <pc:spChg chg="mod">
          <ac:chgData name="Robert Lalhlimpuia [Chillibreeze]" userId="8fe5ebfe-980d-441d-bbff-8c5265b810b8" providerId="ADAL" clId="{8604BD65-8997-4357-BA60-019791E2ED85}" dt="2024-06-12T13:22:54.679" v="5789"/>
          <ac:spMkLst>
            <pc:docMk/>
            <pc:sldMk cId="0" sldId="328"/>
            <ac:spMk id="5738" creationId="{0B3ACF19-D62A-6928-4354-2C633AFE7DA2}"/>
          </ac:spMkLst>
        </pc:spChg>
        <pc:spChg chg="mod">
          <ac:chgData name="Robert Lalhlimpuia [Chillibreeze]" userId="8fe5ebfe-980d-441d-bbff-8c5265b810b8" providerId="ADAL" clId="{8604BD65-8997-4357-BA60-019791E2ED85}" dt="2024-06-12T13:23:29.495" v="5807" actId="2711"/>
          <ac:spMkLst>
            <pc:docMk/>
            <pc:sldMk cId="0" sldId="328"/>
            <ac:spMk id="5740" creationId="{E625AC84-087F-CBBA-2B5F-E29891672F55}"/>
          </ac:spMkLst>
        </pc:spChg>
        <pc:spChg chg="mod">
          <ac:chgData name="Robert Lalhlimpuia [Chillibreeze]" userId="8fe5ebfe-980d-441d-bbff-8c5265b810b8" providerId="ADAL" clId="{8604BD65-8997-4357-BA60-019791E2ED85}" dt="2024-06-12T13:23:29.495" v="5807" actId="2711"/>
          <ac:spMkLst>
            <pc:docMk/>
            <pc:sldMk cId="0" sldId="328"/>
            <ac:spMk id="5741" creationId="{236B20AA-BDBE-3836-3370-4CB1246EBEF9}"/>
          </ac:spMkLst>
        </pc:spChg>
        <pc:spChg chg="mod">
          <ac:chgData name="Robert Lalhlimpuia [Chillibreeze]" userId="8fe5ebfe-980d-441d-bbff-8c5265b810b8" providerId="ADAL" clId="{8604BD65-8997-4357-BA60-019791E2ED85}" dt="2024-06-12T13:23:29.495" v="5807" actId="2711"/>
          <ac:spMkLst>
            <pc:docMk/>
            <pc:sldMk cId="0" sldId="328"/>
            <ac:spMk id="5742" creationId="{FECFCDD6-23D5-29C8-70ED-55A699BFF267}"/>
          </ac:spMkLst>
        </pc:spChg>
        <pc:spChg chg="mod">
          <ac:chgData name="Robert Lalhlimpuia [Chillibreeze]" userId="8fe5ebfe-980d-441d-bbff-8c5265b810b8" providerId="ADAL" clId="{8604BD65-8997-4357-BA60-019791E2ED85}" dt="2024-06-12T13:23:29.495" v="5807" actId="2711"/>
          <ac:spMkLst>
            <pc:docMk/>
            <pc:sldMk cId="0" sldId="328"/>
            <ac:spMk id="5743" creationId="{B328A95A-102B-2BBA-6707-13B64559C7DA}"/>
          </ac:spMkLst>
        </pc:spChg>
        <pc:spChg chg="mod">
          <ac:chgData name="Robert Lalhlimpuia [Chillibreeze]" userId="8fe5ebfe-980d-441d-bbff-8c5265b810b8" providerId="ADAL" clId="{8604BD65-8997-4357-BA60-019791E2ED85}" dt="2024-06-12T13:23:29.495" v="5807" actId="2711"/>
          <ac:spMkLst>
            <pc:docMk/>
            <pc:sldMk cId="0" sldId="328"/>
            <ac:spMk id="5744" creationId="{B720FA53-0BBB-D8CB-A8C8-9C96A7323DFC}"/>
          </ac:spMkLst>
        </pc:spChg>
        <pc:spChg chg="mod">
          <ac:chgData name="Robert Lalhlimpuia [Chillibreeze]" userId="8fe5ebfe-980d-441d-bbff-8c5265b810b8" providerId="ADAL" clId="{8604BD65-8997-4357-BA60-019791E2ED85}" dt="2024-06-12T13:23:29.495" v="5807" actId="2711"/>
          <ac:spMkLst>
            <pc:docMk/>
            <pc:sldMk cId="0" sldId="328"/>
            <ac:spMk id="5745" creationId="{E8723F32-ACF6-EDCD-71B4-00D2341B1534}"/>
          </ac:spMkLst>
        </pc:spChg>
        <pc:spChg chg="mod">
          <ac:chgData name="Robert Lalhlimpuia [Chillibreeze]" userId="8fe5ebfe-980d-441d-bbff-8c5265b810b8" providerId="ADAL" clId="{8604BD65-8997-4357-BA60-019791E2ED85}" dt="2024-06-12T13:23:29.495" v="5807" actId="2711"/>
          <ac:spMkLst>
            <pc:docMk/>
            <pc:sldMk cId="0" sldId="328"/>
            <ac:spMk id="5746" creationId="{E5A573CB-00E0-C375-A0C4-F46CC83462A6}"/>
          </ac:spMkLst>
        </pc:spChg>
        <pc:spChg chg="mod">
          <ac:chgData name="Robert Lalhlimpuia [Chillibreeze]" userId="8fe5ebfe-980d-441d-bbff-8c5265b810b8" providerId="ADAL" clId="{8604BD65-8997-4357-BA60-019791E2ED85}" dt="2024-06-12T13:23:29.495" v="5807" actId="2711"/>
          <ac:spMkLst>
            <pc:docMk/>
            <pc:sldMk cId="0" sldId="328"/>
            <ac:spMk id="5747" creationId="{27FEA527-F0D7-A173-F35E-9A840DAF1C7F}"/>
          </ac:spMkLst>
        </pc:spChg>
        <pc:spChg chg="mod">
          <ac:chgData name="Robert Lalhlimpuia [Chillibreeze]" userId="8fe5ebfe-980d-441d-bbff-8c5265b810b8" providerId="ADAL" clId="{8604BD65-8997-4357-BA60-019791E2ED85}" dt="2024-06-12T13:23:29.495" v="5807" actId="2711"/>
          <ac:spMkLst>
            <pc:docMk/>
            <pc:sldMk cId="0" sldId="328"/>
            <ac:spMk id="5748" creationId="{391990FA-3328-7D15-20FD-84EC136417C9}"/>
          </ac:spMkLst>
        </pc:spChg>
        <pc:spChg chg="mod">
          <ac:chgData name="Robert Lalhlimpuia [Chillibreeze]" userId="8fe5ebfe-980d-441d-bbff-8c5265b810b8" providerId="ADAL" clId="{8604BD65-8997-4357-BA60-019791E2ED85}" dt="2024-06-12T13:23:29.495" v="5807" actId="2711"/>
          <ac:spMkLst>
            <pc:docMk/>
            <pc:sldMk cId="0" sldId="328"/>
            <ac:spMk id="5749" creationId="{0C51BD02-F434-A4F1-0AFC-85869CEA401A}"/>
          </ac:spMkLst>
        </pc:spChg>
        <pc:spChg chg="mod">
          <ac:chgData name="Robert Lalhlimpuia [Chillibreeze]" userId="8fe5ebfe-980d-441d-bbff-8c5265b810b8" providerId="ADAL" clId="{8604BD65-8997-4357-BA60-019791E2ED85}" dt="2024-06-12T13:23:29.495" v="5807" actId="2711"/>
          <ac:spMkLst>
            <pc:docMk/>
            <pc:sldMk cId="0" sldId="328"/>
            <ac:spMk id="5750" creationId="{03D2172B-CC74-F90F-8EF1-6F8F63BA6F40}"/>
          </ac:spMkLst>
        </pc:spChg>
        <pc:spChg chg="mod">
          <ac:chgData name="Robert Lalhlimpuia [Chillibreeze]" userId="8fe5ebfe-980d-441d-bbff-8c5265b810b8" providerId="ADAL" clId="{8604BD65-8997-4357-BA60-019791E2ED85}" dt="2024-06-12T13:23:29.495" v="5807" actId="2711"/>
          <ac:spMkLst>
            <pc:docMk/>
            <pc:sldMk cId="0" sldId="328"/>
            <ac:spMk id="5751" creationId="{8D867584-58F9-DCC2-BBEE-52AF72AC8F75}"/>
          </ac:spMkLst>
        </pc:spChg>
        <pc:spChg chg="mod">
          <ac:chgData name="Robert Lalhlimpuia [Chillibreeze]" userId="8fe5ebfe-980d-441d-bbff-8c5265b810b8" providerId="ADAL" clId="{8604BD65-8997-4357-BA60-019791E2ED85}" dt="2024-06-12T13:23:29.495" v="5807" actId="2711"/>
          <ac:spMkLst>
            <pc:docMk/>
            <pc:sldMk cId="0" sldId="328"/>
            <ac:spMk id="5752" creationId="{B8681601-EB87-DB28-AD6F-EE0C60028B8D}"/>
          </ac:spMkLst>
        </pc:spChg>
        <pc:spChg chg="mod">
          <ac:chgData name="Robert Lalhlimpuia [Chillibreeze]" userId="8fe5ebfe-980d-441d-bbff-8c5265b810b8" providerId="ADAL" clId="{8604BD65-8997-4357-BA60-019791E2ED85}" dt="2024-06-12T13:23:29.495" v="5807" actId="2711"/>
          <ac:spMkLst>
            <pc:docMk/>
            <pc:sldMk cId="0" sldId="328"/>
            <ac:spMk id="5753" creationId="{E8F61103-8354-E398-8D6F-6B769FAF74F3}"/>
          </ac:spMkLst>
        </pc:spChg>
        <pc:spChg chg="mod">
          <ac:chgData name="Robert Lalhlimpuia [Chillibreeze]" userId="8fe5ebfe-980d-441d-bbff-8c5265b810b8" providerId="ADAL" clId="{8604BD65-8997-4357-BA60-019791E2ED85}" dt="2024-06-12T13:23:29.495" v="5807" actId="2711"/>
          <ac:spMkLst>
            <pc:docMk/>
            <pc:sldMk cId="0" sldId="328"/>
            <ac:spMk id="5754" creationId="{08BDAE94-9936-3CB4-CDE1-750BE3162110}"/>
          </ac:spMkLst>
        </pc:spChg>
        <pc:spChg chg="mod">
          <ac:chgData name="Robert Lalhlimpuia [Chillibreeze]" userId="8fe5ebfe-980d-441d-bbff-8c5265b810b8" providerId="ADAL" clId="{8604BD65-8997-4357-BA60-019791E2ED85}" dt="2024-06-12T13:23:29.495" v="5807" actId="2711"/>
          <ac:spMkLst>
            <pc:docMk/>
            <pc:sldMk cId="0" sldId="328"/>
            <ac:spMk id="5755" creationId="{C2DCA5E0-CA77-A441-0F8B-1188D4DB5F89}"/>
          </ac:spMkLst>
        </pc:spChg>
        <pc:spChg chg="mod">
          <ac:chgData name="Robert Lalhlimpuia [Chillibreeze]" userId="8fe5ebfe-980d-441d-bbff-8c5265b810b8" providerId="ADAL" clId="{8604BD65-8997-4357-BA60-019791E2ED85}" dt="2024-06-12T13:23:29.495" v="5807" actId="2711"/>
          <ac:spMkLst>
            <pc:docMk/>
            <pc:sldMk cId="0" sldId="328"/>
            <ac:spMk id="5756" creationId="{715CB73A-014C-1CCC-3389-8185A9B06B89}"/>
          </ac:spMkLst>
        </pc:spChg>
        <pc:spChg chg="mod">
          <ac:chgData name="Robert Lalhlimpuia [Chillibreeze]" userId="8fe5ebfe-980d-441d-bbff-8c5265b810b8" providerId="ADAL" clId="{8604BD65-8997-4357-BA60-019791E2ED85}" dt="2024-06-12T13:23:29.495" v="5807" actId="2711"/>
          <ac:spMkLst>
            <pc:docMk/>
            <pc:sldMk cId="0" sldId="328"/>
            <ac:spMk id="5757" creationId="{448F1EBF-C3C6-61DE-B0AF-C1DC5284954E}"/>
          </ac:spMkLst>
        </pc:spChg>
        <pc:spChg chg="add mod ord">
          <ac:chgData name="Robert Lalhlimpuia [Chillibreeze]" userId="8fe5ebfe-980d-441d-bbff-8c5265b810b8" providerId="ADAL" clId="{8604BD65-8997-4357-BA60-019791E2ED85}" dt="2024-06-13T05:58:37.534" v="6609" actId="1076"/>
          <ac:spMkLst>
            <pc:docMk/>
            <pc:sldMk cId="0" sldId="328"/>
            <ac:spMk id="5758" creationId="{DD58AB7B-2181-CCD4-A47B-25A3C6337453}"/>
          </ac:spMkLst>
        </pc:spChg>
        <pc:grpChg chg="add del mod">
          <ac:chgData name="Robert Lalhlimpuia [Chillibreeze]" userId="8fe5ebfe-980d-441d-bbff-8c5265b810b8" providerId="ADAL" clId="{8604BD65-8997-4357-BA60-019791E2ED85}" dt="2024-06-12T11:51:48.528" v="4525" actId="165"/>
          <ac:grpSpMkLst>
            <pc:docMk/>
            <pc:sldMk cId="0" sldId="328"/>
            <ac:grpSpMk id="4" creationId="{B8472A18-1C66-F01F-9387-CA3FDA1DD57A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2:34:16.494" v="4886" actId="165"/>
          <ac:grpSpMkLst>
            <pc:docMk/>
            <pc:sldMk cId="0" sldId="328"/>
            <ac:grpSpMk id="6" creationId="{8822FD5E-9CAE-2199-0ACC-0C9FC83CA661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2:34:19.213" v="4889" actId="165"/>
          <ac:grpSpMkLst>
            <pc:docMk/>
            <pc:sldMk cId="0" sldId="328"/>
            <ac:grpSpMk id="7" creationId="{30058359-C171-8B95-11B4-7A3E8DCEBBC5}"/>
          </ac:grpSpMkLst>
        </pc:grpChg>
        <pc:grpChg chg="del mod">
          <ac:chgData name="Robert Lalhlimpuia [Chillibreeze]" userId="8fe5ebfe-980d-441d-bbff-8c5265b810b8" providerId="ADAL" clId="{8604BD65-8997-4357-BA60-019791E2ED85}" dt="2024-06-13T05:21:55.507" v="6415" actId="165"/>
          <ac:grpSpMkLst>
            <pc:docMk/>
            <pc:sldMk cId="0" sldId="328"/>
            <ac:grpSpMk id="7" creationId="{53FD471D-ED9A-8CBD-BD2B-59BCF63B1D83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2:36:14.811" v="4997" actId="165"/>
          <ac:grpSpMkLst>
            <pc:docMk/>
            <pc:sldMk cId="0" sldId="328"/>
            <ac:grpSpMk id="13" creationId="{66C3EF72-5E6E-DBDD-4835-926D04BCB0F1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2:36:21.741" v="5000" actId="165"/>
          <ac:grpSpMkLst>
            <pc:docMk/>
            <pc:sldMk cId="0" sldId="328"/>
            <ac:grpSpMk id="14" creationId="{B4F99950-1705-9E26-F8A3-EE86D5634E64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2:46:45.218" v="5132" actId="165"/>
          <ac:grpSpMkLst>
            <pc:docMk/>
            <pc:sldMk cId="0" sldId="328"/>
            <ac:grpSpMk id="24" creationId="{F2D37EF4-40BB-490D-73A9-7BF627A74010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2:47:55.541" v="5176" actId="165"/>
          <ac:grpSpMkLst>
            <pc:docMk/>
            <pc:sldMk cId="0" sldId="328"/>
            <ac:grpSpMk id="27" creationId="{5B86AF59-BDCE-073C-0F19-EFBAF5E61FE7}"/>
          </ac:grpSpMkLst>
        </pc:grpChg>
        <pc:grpChg chg="del mod">
          <ac:chgData name="Robert Lalhlimpuia [Chillibreeze]" userId="8fe5ebfe-980d-441d-bbff-8c5265b810b8" providerId="ADAL" clId="{8604BD65-8997-4357-BA60-019791E2ED85}" dt="2024-06-12T13:00:02.230" v="5184" actId="165"/>
          <ac:grpSpMkLst>
            <pc:docMk/>
            <pc:sldMk cId="0" sldId="328"/>
            <ac:grpSpMk id="30" creationId="{951B09B2-0516-AA58-4AC1-BE755306C46E}"/>
          </ac:grpSpMkLst>
        </pc:grpChg>
        <pc:grpChg chg="add del mod topLvl">
          <ac:chgData name="Robert Lalhlimpuia [Chillibreeze]" userId="8fe5ebfe-980d-441d-bbff-8c5265b810b8" providerId="ADAL" clId="{8604BD65-8997-4357-BA60-019791E2ED85}" dt="2024-06-12T13:00:08.286" v="5188" actId="165"/>
          <ac:grpSpMkLst>
            <pc:docMk/>
            <pc:sldMk cId="0" sldId="328"/>
            <ac:grpSpMk id="31" creationId="{88006B3A-6EF8-2395-3DF0-620A5D36B1EB}"/>
          </ac:grpSpMkLst>
        </pc:grpChg>
        <pc:grpChg chg="del mod">
          <ac:chgData name="Robert Lalhlimpuia [Chillibreeze]" userId="8fe5ebfe-980d-441d-bbff-8c5265b810b8" providerId="ADAL" clId="{8604BD65-8997-4357-BA60-019791E2ED85}" dt="2024-06-13T05:50:59.576" v="6451" actId="27803"/>
          <ac:grpSpMkLst>
            <pc:docMk/>
            <pc:sldMk cId="0" sldId="328"/>
            <ac:grpSpMk id="34" creationId="{F40DC968-1827-C101-6C52-4D072C80FEAA}"/>
          </ac:grpSpMkLst>
        </pc:grpChg>
        <pc:grpChg chg="add mod">
          <ac:chgData name="Robert Lalhlimpuia [Chillibreeze]" userId="8fe5ebfe-980d-441d-bbff-8c5265b810b8" providerId="ADAL" clId="{8604BD65-8997-4357-BA60-019791E2ED85}" dt="2024-06-13T06:02:43.350" v="6665" actId="164"/>
          <ac:grpSpMkLst>
            <pc:docMk/>
            <pc:sldMk cId="0" sldId="328"/>
            <ac:grpSpMk id="43" creationId="{DEDC9584-93AE-7305-F60E-0B9BAB4AE030}"/>
          </ac:grpSpMkLst>
        </pc:grpChg>
        <pc:grpChg chg="del mod topLvl">
          <ac:chgData name="Robert Lalhlimpuia [Chillibreeze]" userId="8fe5ebfe-980d-441d-bbff-8c5265b810b8" providerId="ADAL" clId="{8604BD65-8997-4357-BA60-019791E2ED85}" dt="2024-06-12T11:51:48.738" v="4526" actId="165"/>
          <ac:grpSpMkLst>
            <pc:docMk/>
            <pc:sldMk cId="0" sldId="328"/>
            <ac:grpSpMk id="5425" creationId="{00000000-0000-0000-0000-000000000000}"/>
          </ac:grpSpMkLst>
        </pc:grpChg>
        <pc:grpChg chg="del mod topLvl">
          <ac:chgData name="Robert Lalhlimpuia [Chillibreeze]" userId="8fe5ebfe-980d-441d-bbff-8c5265b810b8" providerId="ADAL" clId="{8604BD65-8997-4357-BA60-019791E2ED85}" dt="2024-06-12T11:51:48.945" v="4527" actId="165"/>
          <ac:grpSpMkLst>
            <pc:docMk/>
            <pc:sldMk cId="0" sldId="328"/>
            <ac:grpSpMk id="5426" creationId="{00000000-0000-0000-0000-000000000000}"/>
          </ac:grpSpMkLst>
        </pc:grpChg>
        <pc:grpChg chg="del mod topLvl">
          <ac:chgData name="Robert Lalhlimpuia [Chillibreeze]" userId="8fe5ebfe-980d-441d-bbff-8c5265b810b8" providerId="ADAL" clId="{8604BD65-8997-4357-BA60-019791E2ED85}" dt="2024-06-12T11:51:51.906" v="4528" actId="21"/>
          <ac:grpSpMkLst>
            <pc:docMk/>
            <pc:sldMk cId="0" sldId="328"/>
            <ac:grpSpMk id="5428" creationId="{00000000-0000-0000-0000-000000000000}"/>
          </ac:grpSpMkLst>
        </pc:grpChg>
        <pc:grpChg chg="del mod topLvl">
          <ac:chgData name="Robert Lalhlimpuia [Chillibreeze]" userId="8fe5ebfe-980d-441d-bbff-8c5265b810b8" providerId="ADAL" clId="{8604BD65-8997-4357-BA60-019791E2ED85}" dt="2024-06-12T11:51:48.945" v="4527" actId="165"/>
          <ac:grpSpMkLst>
            <pc:docMk/>
            <pc:sldMk cId="0" sldId="328"/>
            <ac:grpSpMk id="5431" creationId="{00000000-0000-0000-0000-000000000000}"/>
          </ac:grpSpMkLst>
        </pc:grpChg>
        <pc:grpChg chg="del mod topLvl">
          <ac:chgData name="Robert Lalhlimpuia [Chillibreeze]" userId="8fe5ebfe-980d-441d-bbff-8c5265b810b8" providerId="ADAL" clId="{8604BD65-8997-4357-BA60-019791E2ED85}" dt="2024-06-12T13:00:08.774" v="5189" actId="165"/>
          <ac:grpSpMkLst>
            <pc:docMk/>
            <pc:sldMk cId="0" sldId="328"/>
            <ac:grpSpMk id="5559" creationId="{089CA74F-EEE6-ACCD-1C00-C8DDD779AD6D}"/>
          </ac:grpSpMkLst>
        </pc:grpChg>
        <pc:grpChg chg="del mod topLvl">
          <ac:chgData name="Robert Lalhlimpuia [Chillibreeze]" userId="8fe5ebfe-980d-441d-bbff-8c5265b810b8" providerId="ADAL" clId="{8604BD65-8997-4357-BA60-019791E2ED85}" dt="2024-06-12T13:00:08.774" v="5189" actId="165"/>
          <ac:grpSpMkLst>
            <pc:docMk/>
            <pc:sldMk cId="0" sldId="328"/>
            <ac:grpSpMk id="5564" creationId="{92EDA27C-E422-7C23-5E42-14C70C3DECA0}"/>
          </ac:grpSpMkLst>
        </pc:grpChg>
        <pc:grpChg chg="del mod topLvl">
          <ac:chgData name="Robert Lalhlimpuia [Chillibreeze]" userId="8fe5ebfe-980d-441d-bbff-8c5265b810b8" providerId="ADAL" clId="{8604BD65-8997-4357-BA60-019791E2ED85}" dt="2024-06-12T13:00:16.974" v="5193" actId="21"/>
          <ac:grpSpMkLst>
            <pc:docMk/>
            <pc:sldMk cId="0" sldId="328"/>
            <ac:grpSpMk id="5565" creationId="{CA231158-7C33-5B8A-2B5B-CBD32D6DB1EC}"/>
          </ac:grpSpMkLst>
        </pc:grpChg>
        <pc:grpChg chg="del mod topLvl">
          <ac:chgData name="Robert Lalhlimpuia [Chillibreeze]" userId="8fe5ebfe-980d-441d-bbff-8c5265b810b8" providerId="ADAL" clId="{8604BD65-8997-4357-BA60-019791E2ED85}" dt="2024-06-12T13:00:16.974" v="5193" actId="21"/>
          <ac:grpSpMkLst>
            <pc:docMk/>
            <pc:sldMk cId="0" sldId="328"/>
            <ac:grpSpMk id="5568" creationId="{EE64884A-38A8-6A1D-F777-812202CC53D8}"/>
          </ac:grpSpMkLst>
        </pc:grpChg>
        <pc:grpChg chg="del mod topLvl">
          <ac:chgData name="Robert Lalhlimpuia [Chillibreeze]" userId="8fe5ebfe-980d-441d-bbff-8c5265b810b8" providerId="ADAL" clId="{8604BD65-8997-4357-BA60-019791E2ED85}" dt="2024-06-12T13:00:08.774" v="5189" actId="165"/>
          <ac:grpSpMkLst>
            <pc:docMk/>
            <pc:sldMk cId="0" sldId="328"/>
            <ac:grpSpMk id="5572" creationId="{FF4A53EF-B21F-34DE-787E-814BB813AFCE}"/>
          </ac:grpSpMkLst>
        </pc:grpChg>
        <pc:grpChg chg="add del mod topLvl">
          <ac:chgData name="Robert Lalhlimpuia [Chillibreeze]" userId="8fe5ebfe-980d-441d-bbff-8c5265b810b8" providerId="ADAL" clId="{8604BD65-8997-4357-BA60-019791E2ED85}" dt="2024-06-12T13:00:20.802" v="5196" actId="21"/>
          <ac:grpSpMkLst>
            <pc:docMk/>
            <pc:sldMk cId="0" sldId="328"/>
            <ac:grpSpMk id="5575" creationId="{E5F23843-A6F5-94B2-8D3A-E62001224B78}"/>
          </ac:grpSpMkLst>
        </pc:grpChg>
        <pc:grpChg chg="del mod topLvl">
          <ac:chgData name="Robert Lalhlimpuia [Chillibreeze]" userId="8fe5ebfe-980d-441d-bbff-8c5265b810b8" providerId="ADAL" clId="{8604BD65-8997-4357-BA60-019791E2ED85}" dt="2024-06-12T13:00:08.774" v="5189" actId="165"/>
          <ac:grpSpMkLst>
            <pc:docMk/>
            <pc:sldMk cId="0" sldId="328"/>
            <ac:grpSpMk id="5587" creationId="{4F3B57E3-D1F8-1528-ECC4-BA21EB1811BD}"/>
          </ac:grpSpMkLst>
        </pc:grpChg>
        <pc:grpChg chg="add del mod topLvl">
          <ac:chgData name="Robert Lalhlimpuia [Chillibreeze]" userId="8fe5ebfe-980d-441d-bbff-8c5265b810b8" providerId="ADAL" clId="{8604BD65-8997-4357-BA60-019791E2ED85}" dt="2024-06-12T13:00:20.802" v="5196" actId="21"/>
          <ac:grpSpMkLst>
            <pc:docMk/>
            <pc:sldMk cId="0" sldId="328"/>
            <ac:grpSpMk id="5588" creationId="{1810DEDD-B199-1867-EC80-DD8CA386D588}"/>
          </ac:grpSpMkLst>
        </pc:grpChg>
        <pc:grpChg chg="add del mod topLvl">
          <ac:chgData name="Robert Lalhlimpuia [Chillibreeze]" userId="8fe5ebfe-980d-441d-bbff-8c5265b810b8" providerId="ADAL" clId="{8604BD65-8997-4357-BA60-019791E2ED85}" dt="2024-06-12T13:00:20.802" v="5196" actId="21"/>
          <ac:grpSpMkLst>
            <pc:docMk/>
            <pc:sldMk cId="0" sldId="328"/>
            <ac:grpSpMk id="5592" creationId="{03101876-5668-0738-6481-FC66C02D52D7}"/>
          </ac:grpSpMkLst>
        </pc:grpChg>
        <pc:grpChg chg="del mod topLvl">
          <ac:chgData name="Robert Lalhlimpuia [Chillibreeze]" userId="8fe5ebfe-980d-441d-bbff-8c5265b810b8" providerId="ADAL" clId="{8604BD65-8997-4357-BA60-019791E2ED85}" dt="2024-06-12T13:00:08.774" v="5189" actId="165"/>
          <ac:grpSpMkLst>
            <pc:docMk/>
            <pc:sldMk cId="0" sldId="328"/>
            <ac:grpSpMk id="5595" creationId="{EC65ABC0-17B2-D8D4-D445-59BAEA1855C7}"/>
          </ac:grpSpMkLst>
        </pc:grpChg>
        <pc:grpChg chg="add del mod topLvl">
          <ac:chgData name="Robert Lalhlimpuia [Chillibreeze]" userId="8fe5ebfe-980d-441d-bbff-8c5265b810b8" providerId="ADAL" clId="{8604BD65-8997-4357-BA60-019791E2ED85}" dt="2024-06-12T13:00:14.279" v="5192" actId="21"/>
          <ac:grpSpMkLst>
            <pc:docMk/>
            <pc:sldMk cId="0" sldId="328"/>
            <ac:grpSpMk id="5606" creationId="{5F049E32-1B9C-FF6B-6B65-9E355D871ACA}"/>
          </ac:grpSpMkLst>
        </pc:grpChg>
        <pc:grpChg chg="mod topLvl">
          <ac:chgData name="Robert Lalhlimpuia [Chillibreeze]" userId="8fe5ebfe-980d-441d-bbff-8c5265b810b8" providerId="ADAL" clId="{8604BD65-8997-4357-BA60-019791E2ED85}" dt="2024-06-12T13:00:04.915" v="5186" actId="165"/>
          <ac:grpSpMkLst>
            <pc:docMk/>
            <pc:sldMk cId="0" sldId="328"/>
            <ac:grpSpMk id="5607" creationId="{1804642E-4DC5-BAB3-7A1E-7E2E3A82A298}"/>
          </ac:grpSpMkLst>
        </pc:grpChg>
        <pc:grpChg chg="mod">
          <ac:chgData name="Robert Lalhlimpuia [Chillibreeze]" userId="8fe5ebfe-980d-441d-bbff-8c5265b810b8" providerId="ADAL" clId="{8604BD65-8997-4357-BA60-019791E2ED85}" dt="2024-06-12T13:00:04.915" v="5186" actId="165"/>
          <ac:grpSpMkLst>
            <pc:docMk/>
            <pc:sldMk cId="0" sldId="328"/>
            <ac:grpSpMk id="5608" creationId="{0E35AC54-2D29-D648-7356-4079C08C7954}"/>
          </ac:grpSpMkLst>
        </pc:grpChg>
        <pc:grpChg chg="mod">
          <ac:chgData name="Robert Lalhlimpuia [Chillibreeze]" userId="8fe5ebfe-980d-441d-bbff-8c5265b810b8" providerId="ADAL" clId="{8604BD65-8997-4357-BA60-019791E2ED85}" dt="2024-06-12T13:00:04.915" v="5186" actId="165"/>
          <ac:grpSpMkLst>
            <pc:docMk/>
            <pc:sldMk cId="0" sldId="328"/>
            <ac:grpSpMk id="5619" creationId="{9A77C508-A4F2-0365-0A5E-A299BAD90833}"/>
          </ac:grpSpMkLst>
        </pc:grpChg>
        <pc:grpChg chg="mod">
          <ac:chgData name="Robert Lalhlimpuia [Chillibreeze]" userId="8fe5ebfe-980d-441d-bbff-8c5265b810b8" providerId="ADAL" clId="{8604BD65-8997-4357-BA60-019791E2ED85}" dt="2024-06-12T13:00:04.915" v="5186" actId="165"/>
          <ac:grpSpMkLst>
            <pc:docMk/>
            <pc:sldMk cId="0" sldId="328"/>
            <ac:grpSpMk id="5631" creationId="{41DA059A-B0B0-2838-3643-C9D97E41C962}"/>
          </ac:grpSpMkLst>
        </pc:grpChg>
        <pc:grpChg chg="del mod">
          <ac:chgData name="Robert Lalhlimpuia [Chillibreeze]" userId="8fe5ebfe-980d-441d-bbff-8c5265b810b8" providerId="ADAL" clId="{8604BD65-8997-4357-BA60-019791E2ED85}" dt="2024-06-12T13:04:06.926" v="5371" actId="165"/>
          <ac:grpSpMkLst>
            <pc:docMk/>
            <pc:sldMk cId="0" sldId="328"/>
            <ac:grpSpMk id="5652" creationId="{3805FDEF-CDC5-2A0F-AAB6-E590DF03C1AF}"/>
          </ac:grpSpMkLst>
        </pc:grpChg>
        <pc:grpChg chg="del mod topLvl">
          <ac:chgData name="Robert Lalhlimpuia [Chillibreeze]" userId="8fe5ebfe-980d-441d-bbff-8c5265b810b8" providerId="ADAL" clId="{8604BD65-8997-4357-BA60-019791E2ED85}" dt="2024-06-12T13:04:07.113" v="5372" actId="165"/>
          <ac:grpSpMkLst>
            <pc:docMk/>
            <pc:sldMk cId="0" sldId="328"/>
            <ac:grpSpMk id="5653" creationId="{D5B19630-BB81-5353-8D3D-2763C0E30D64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3:08:30.472" v="5407" actId="165"/>
          <ac:grpSpMkLst>
            <pc:docMk/>
            <pc:sldMk cId="0" sldId="328"/>
            <ac:grpSpMk id="5672" creationId="{1E1D34DD-DA54-87C3-7C20-E73B3CE6A0DB}"/>
          </ac:grpSpMkLst>
        </pc:grpChg>
        <pc:grpChg chg="del mod ord">
          <ac:chgData name="Robert Lalhlimpuia [Chillibreeze]" userId="8fe5ebfe-980d-441d-bbff-8c5265b810b8" providerId="ADAL" clId="{8604BD65-8997-4357-BA60-019791E2ED85}" dt="2024-06-12T13:09:19.833" v="5473" actId="165"/>
          <ac:grpSpMkLst>
            <pc:docMk/>
            <pc:sldMk cId="0" sldId="328"/>
            <ac:grpSpMk id="5680" creationId="{907A9416-495B-EE90-A849-38D562F18ED0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3:10:02.749" v="5496" actId="21"/>
          <ac:grpSpMkLst>
            <pc:docMk/>
            <pc:sldMk cId="0" sldId="328"/>
            <ac:grpSpMk id="5692" creationId="{4F374F55-1926-EA9D-213E-8E7DE812C862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3:10:27.079" v="5512" actId="165"/>
          <ac:grpSpMkLst>
            <pc:docMk/>
            <pc:sldMk cId="0" sldId="328"/>
            <ac:grpSpMk id="5693" creationId="{4239EF4A-40B1-DAB7-576C-2FEB64ECF736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3:13:40.252" v="5537" actId="165"/>
          <ac:grpSpMkLst>
            <pc:docMk/>
            <pc:sldMk cId="0" sldId="328"/>
            <ac:grpSpMk id="5699" creationId="{8D191663-39D3-5DC1-C94E-92B98E935A09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3:13:55.741" v="5552" actId="165"/>
          <ac:grpSpMkLst>
            <pc:docMk/>
            <pc:sldMk cId="0" sldId="328"/>
            <ac:grpSpMk id="5700" creationId="{CBA8244C-2A2C-E051-0AAF-3746BA17B876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3:13:58.489" v="5554" actId="165"/>
          <ac:grpSpMkLst>
            <pc:docMk/>
            <pc:sldMk cId="0" sldId="328"/>
            <ac:grpSpMk id="5701" creationId="{828E4C9E-B1CB-E7D2-0BBC-A0A2D02E144C}"/>
          </ac:grpSpMkLst>
        </pc:grpChg>
        <pc:grpChg chg="add del mod ord topLvl">
          <ac:chgData name="Robert Lalhlimpuia [Chillibreeze]" userId="8fe5ebfe-980d-441d-bbff-8c5265b810b8" providerId="ADAL" clId="{8604BD65-8997-4357-BA60-019791E2ED85}" dt="2024-06-13T04:05:36.720" v="6383" actId="21"/>
          <ac:grpSpMkLst>
            <pc:docMk/>
            <pc:sldMk cId="0" sldId="328"/>
            <ac:grpSpMk id="5706" creationId="{3C1C38B3-FBA1-B64C-0A12-6CD9182BAD18}"/>
          </ac:grpSpMkLst>
        </pc:grpChg>
        <pc:grpChg chg="add del mod ord topLvl">
          <ac:chgData name="Robert Lalhlimpuia [Chillibreeze]" userId="8fe5ebfe-980d-441d-bbff-8c5265b810b8" providerId="ADAL" clId="{8604BD65-8997-4357-BA60-019791E2ED85}" dt="2024-06-13T04:05:34.994" v="6380" actId="21"/>
          <ac:grpSpMkLst>
            <pc:docMk/>
            <pc:sldMk cId="0" sldId="328"/>
            <ac:grpSpMk id="5707" creationId="{C17D2671-8216-F980-9A53-623AA0BB5EC1}"/>
          </ac:grpSpMkLst>
        </pc:grpChg>
        <pc:grpChg chg="add del mod ord topLvl">
          <ac:chgData name="Robert Lalhlimpuia [Chillibreeze]" userId="8fe5ebfe-980d-441d-bbff-8c5265b810b8" providerId="ADAL" clId="{8604BD65-8997-4357-BA60-019791E2ED85}" dt="2024-06-13T04:05:34.286" v="6379" actId="21"/>
          <ac:grpSpMkLst>
            <pc:docMk/>
            <pc:sldMk cId="0" sldId="328"/>
            <ac:grpSpMk id="5708" creationId="{2D68A0D4-83D4-16F9-8D83-8C23B1AEB1F5}"/>
          </ac:grpSpMkLst>
        </pc:grpChg>
        <pc:grpChg chg="add del mod ord topLvl">
          <ac:chgData name="Robert Lalhlimpuia [Chillibreeze]" userId="8fe5ebfe-980d-441d-bbff-8c5265b810b8" providerId="ADAL" clId="{8604BD65-8997-4357-BA60-019791E2ED85}" dt="2024-06-13T04:05:38.025" v="6385" actId="21"/>
          <ac:grpSpMkLst>
            <pc:docMk/>
            <pc:sldMk cId="0" sldId="328"/>
            <ac:grpSpMk id="5709" creationId="{80465DDE-B6E5-C376-C73C-F930751F07A6}"/>
          </ac:grpSpMkLst>
        </pc:grpChg>
        <pc:grpChg chg="add del mod ord topLvl">
          <ac:chgData name="Robert Lalhlimpuia [Chillibreeze]" userId="8fe5ebfe-980d-441d-bbff-8c5265b810b8" providerId="ADAL" clId="{8604BD65-8997-4357-BA60-019791E2ED85}" dt="2024-06-13T04:05:37.230" v="6384" actId="21"/>
          <ac:grpSpMkLst>
            <pc:docMk/>
            <pc:sldMk cId="0" sldId="328"/>
            <ac:grpSpMk id="5710" creationId="{BA32F5E2-9952-FCF3-8B38-8048185667E7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3:15:58.679" v="5612" actId="165"/>
          <ac:grpSpMkLst>
            <pc:docMk/>
            <pc:sldMk cId="0" sldId="328"/>
            <ac:grpSpMk id="5714" creationId="{3A1BDCB4-17B3-2CE7-75C1-E489867D9469}"/>
          </ac:grpSpMkLst>
        </pc:grpChg>
        <pc:grpChg chg="add mod ord">
          <ac:chgData name="Robert Lalhlimpuia [Chillibreeze]" userId="8fe5ebfe-980d-441d-bbff-8c5265b810b8" providerId="ADAL" clId="{8604BD65-8997-4357-BA60-019791E2ED85}" dt="2024-06-13T06:01:30.594" v="6636" actId="1076"/>
          <ac:grpSpMkLst>
            <pc:docMk/>
            <pc:sldMk cId="0" sldId="328"/>
            <ac:grpSpMk id="5734" creationId="{9D38A1F2-F431-270B-8E60-733EA89EBCE2}"/>
          </ac:grpSpMkLst>
        </pc:grpChg>
        <pc:grpChg chg="mod">
          <ac:chgData name="Robert Lalhlimpuia [Chillibreeze]" userId="8fe5ebfe-980d-441d-bbff-8c5265b810b8" providerId="ADAL" clId="{8604BD65-8997-4357-BA60-019791E2ED85}" dt="2024-06-12T13:22:54.679" v="5789"/>
          <ac:grpSpMkLst>
            <pc:docMk/>
            <pc:sldMk cId="0" sldId="328"/>
            <ac:grpSpMk id="5736" creationId="{37B53A90-5A09-FC4C-6AEF-30F7A7B36215}"/>
          </ac:grpSpMkLst>
        </pc:grpChg>
        <pc:grpChg chg="add mod ord">
          <ac:chgData name="Robert Lalhlimpuia [Chillibreeze]" userId="8fe5ebfe-980d-441d-bbff-8c5265b810b8" providerId="ADAL" clId="{8604BD65-8997-4357-BA60-019791E2ED85}" dt="2024-06-13T05:58:43.253" v="6612" actId="1076"/>
          <ac:grpSpMkLst>
            <pc:docMk/>
            <pc:sldMk cId="0" sldId="328"/>
            <ac:grpSpMk id="5739" creationId="{FF7A506F-0D58-1BC3-85F7-3D0EE160F9BF}"/>
          </ac:grpSpMkLst>
        </pc:grpChg>
        <pc:graphicFrameChg chg="add mod ord modVis replST">
          <ac:chgData name="Robert Lalhlimpuia [Chillibreeze]" userId="8fe5ebfe-980d-441d-bbff-8c5265b810b8" providerId="ADAL" clId="{8604BD65-8997-4357-BA60-019791E2ED85}" dt="2024-06-13T04:05:32.649" v="6378"/>
          <ac:graphicFrameMkLst>
            <pc:docMk/>
            <pc:sldMk cId="0" sldId="328"/>
            <ac:graphicFrameMk id="3" creationId="{EFBF82EB-EB56-065A-A354-8C4262B768E4}"/>
          </ac:graphicFrameMkLst>
        </pc:graphicFrameChg>
        <pc:graphicFrameChg chg="add del mod modGraphic">
          <ac:chgData name="Robert Lalhlimpuia [Chillibreeze]" userId="8fe5ebfe-980d-441d-bbff-8c5265b810b8" providerId="ADAL" clId="{8604BD65-8997-4357-BA60-019791E2ED85}" dt="2024-06-13T05:21:54.837" v="6414" actId="18245"/>
          <ac:graphicFrameMkLst>
            <pc:docMk/>
            <pc:sldMk cId="0" sldId="328"/>
            <ac:graphicFrameMk id="6" creationId="{109BE501-B36D-0DDA-0C8C-A299D2A40C4F}"/>
          </ac:graphicFrameMkLst>
        </pc:graphicFrameChg>
        <pc:graphicFrameChg chg="add del mod modGraphic">
          <ac:chgData name="Robert Lalhlimpuia [Chillibreeze]" userId="8fe5ebfe-980d-441d-bbff-8c5265b810b8" providerId="ADAL" clId="{8604BD65-8997-4357-BA60-019791E2ED85}" dt="2024-06-12T13:09:01.919" v="5421" actId="18245"/>
          <ac:graphicFrameMkLst>
            <pc:docMk/>
            <pc:sldMk cId="0" sldId="328"/>
            <ac:graphicFrameMk id="5679" creationId="{304E0C61-0351-7C98-AD19-C573F19561A6}"/>
          </ac:graphicFrameMkLst>
        </pc:graphicFrameChg>
        <pc:picChg chg="add mod">
          <ac:chgData name="Robert Lalhlimpuia [Chillibreeze]" userId="8fe5ebfe-980d-441d-bbff-8c5265b810b8" providerId="ADAL" clId="{8604BD65-8997-4357-BA60-019791E2ED85}" dt="2024-06-13T04:03:29.124" v="6002" actId="1076"/>
          <ac:picMkLst>
            <pc:docMk/>
            <pc:sldMk cId="0" sldId="328"/>
            <ac:picMk id="2" creationId="{2F34DC27-8FDA-8C89-B4D1-6B9AA1575675}"/>
          </ac:picMkLst>
        </pc:picChg>
        <pc:picChg chg="add del mod ord">
          <ac:chgData name="Robert Lalhlimpuia [Chillibreeze]" userId="8fe5ebfe-980d-441d-bbff-8c5265b810b8" providerId="ADAL" clId="{8604BD65-8997-4357-BA60-019791E2ED85}" dt="2024-06-13T05:59:02.760" v="6617"/>
          <ac:picMkLst>
            <pc:docMk/>
            <pc:sldMk cId="0" sldId="328"/>
            <ac:picMk id="4" creationId="{492B3AEB-6FE2-E4FF-C1E7-6B5406B8DF9D}"/>
          </ac:picMkLst>
        </pc:picChg>
        <pc:picChg chg="add mod">
          <ac:chgData name="Robert Lalhlimpuia [Chillibreeze]" userId="8fe5ebfe-980d-441d-bbff-8c5265b810b8" providerId="ADAL" clId="{8604BD65-8997-4357-BA60-019791E2ED85}" dt="2024-06-13T04:03:41.386" v="6005"/>
          <ac:picMkLst>
            <pc:docMk/>
            <pc:sldMk cId="0" sldId="328"/>
            <ac:picMk id="5" creationId="{9692AD4B-6CF8-B7EB-A487-909C5D5772FE}"/>
          </ac:picMkLst>
        </pc:picChg>
        <pc:picChg chg="add mod ord">
          <ac:chgData name="Robert Lalhlimpuia [Chillibreeze]" userId="8fe5ebfe-980d-441d-bbff-8c5265b810b8" providerId="ADAL" clId="{8604BD65-8997-4357-BA60-019791E2ED85}" dt="2024-06-13T04:05:32.641" v="6340"/>
          <ac:picMkLst>
            <pc:docMk/>
            <pc:sldMk cId="0" sldId="328"/>
            <ac:picMk id="15" creationId="{D9B6A7D2-5BD5-FFD8-9FF0-C8599F8D1AE5}"/>
          </ac:picMkLst>
        </pc:picChg>
        <pc:picChg chg="add mod ord">
          <ac:chgData name="Robert Lalhlimpuia [Chillibreeze]" userId="8fe5ebfe-980d-441d-bbff-8c5265b810b8" providerId="ADAL" clId="{8604BD65-8997-4357-BA60-019791E2ED85}" dt="2024-06-13T04:05:32.642" v="6342"/>
          <ac:picMkLst>
            <pc:docMk/>
            <pc:sldMk cId="0" sldId="328"/>
            <ac:picMk id="16" creationId="{57013595-41F0-A102-E063-C2FBE19CFFFC}"/>
          </ac:picMkLst>
        </pc:picChg>
        <pc:picChg chg="add del mod">
          <ac:chgData name="Robert Lalhlimpuia [Chillibreeze]" userId="8fe5ebfe-980d-441d-bbff-8c5265b810b8" providerId="ADAL" clId="{8604BD65-8997-4357-BA60-019791E2ED85}" dt="2024-06-12T13:00:01.432" v="5183" actId="27803"/>
          <ac:picMkLst>
            <pc:docMk/>
            <pc:sldMk cId="0" sldId="328"/>
            <ac:picMk id="29" creationId="{5CE54499-3A40-1B6C-555A-D21BCDC7C596}"/>
          </ac:picMkLst>
        </pc:picChg>
        <pc:picChg chg="add del mod">
          <ac:chgData name="Robert Lalhlimpuia [Chillibreeze]" userId="8fe5ebfe-980d-441d-bbff-8c5265b810b8" providerId="ADAL" clId="{8604BD65-8997-4357-BA60-019791E2ED85}" dt="2024-06-13T05:50:40.354" v="6447" actId="21"/>
          <ac:picMkLst>
            <pc:docMk/>
            <pc:sldMk cId="0" sldId="328"/>
            <ac:picMk id="32" creationId="{4B51464B-8544-FD41-872A-31A00A6097E4}"/>
          </ac:picMkLst>
        </pc:picChg>
        <pc:picChg chg="add del mod ord topLvl">
          <ac:chgData name="Robert Lalhlimpuia [Chillibreeze]" userId="8fe5ebfe-980d-441d-bbff-8c5265b810b8" providerId="ADAL" clId="{8604BD65-8997-4357-BA60-019791E2ED85}" dt="2024-06-12T13:01:30.902" v="5367" actId="21"/>
          <ac:picMkLst>
            <pc:docMk/>
            <pc:sldMk cId="0" sldId="328"/>
            <ac:picMk id="32" creationId="{748F0A7F-D47D-7164-0828-9E67250F30AB}"/>
          </ac:picMkLst>
        </pc:picChg>
        <pc:picChg chg="add del mod">
          <ac:chgData name="Robert Lalhlimpuia [Chillibreeze]" userId="8fe5ebfe-980d-441d-bbff-8c5265b810b8" providerId="ADAL" clId="{8604BD65-8997-4357-BA60-019791E2ED85}" dt="2024-06-13T05:50:59.576" v="6451" actId="27803"/>
          <ac:picMkLst>
            <pc:docMk/>
            <pc:sldMk cId="0" sldId="328"/>
            <ac:picMk id="33" creationId="{4B51464B-8544-FD41-872A-31A00A6097E4}"/>
          </ac:picMkLst>
        </pc:picChg>
        <pc:picChg chg="add del mod">
          <ac:chgData name="Robert Lalhlimpuia [Chillibreeze]" userId="8fe5ebfe-980d-441d-bbff-8c5265b810b8" providerId="ADAL" clId="{8604BD65-8997-4357-BA60-019791E2ED85}" dt="2024-06-13T06:00:17.203" v="6632" actId="21"/>
          <ac:picMkLst>
            <pc:docMk/>
            <pc:sldMk cId="0" sldId="328"/>
            <ac:picMk id="40" creationId="{4581F36E-1DE1-00BE-A297-38C3E34DEA60}"/>
          </ac:picMkLst>
        </pc:picChg>
        <pc:picChg chg="mod">
          <ac:chgData name="Robert Lalhlimpuia [Chillibreeze]" userId="8fe5ebfe-980d-441d-bbff-8c5265b810b8" providerId="ADAL" clId="{8604BD65-8997-4357-BA60-019791E2ED85}" dt="2024-06-13T05:59:02.760" v="6617"/>
          <ac:picMkLst>
            <pc:docMk/>
            <pc:sldMk cId="0" sldId="328"/>
            <ac:picMk id="42" creationId="{5E1D4B63-725F-6309-123B-88A303CE0DBB}"/>
          </ac:picMkLst>
        </pc:picChg>
        <pc:picChg chg="add del mod topLvl">
          <ac:chgData name="Robert Lalhlimpuia [Chillibreeze]" userId="8fe5ebfe-980d-441d-bbff-8c5265b810b8" providerId="ADAL" clId="{8604BD65-8997-4357-BA60-019791E2ED85}" dt="2024-06-12T13:00:20.802" v="5196" actId="21"/>
          <ac:picMkLst>
            <pc:docMk/>
            <pc:sldMk cId="0" sldId="328"/>
            <ac:picMk id="44" creationId="{6EAA7766-62B3-CBB8-2AC0-D992335324FA}"/>
          </ac:picMkLst>
        </pc:picChg>
        <pc:picChg chg="del mod topLvl">
          <ac:chgData name="Robert Lalhlimpuia [Chillibreeze]" userId="8fe5ebfe-980d-441d-bbff-8c5265b810b8" providerId="ADAL" clId="{8604BD65-8997-4357-BA60-019791E2ED85}" dt="2024-06-12T11:51:52.703" v="4529" actId="21"/>
          <ac:picMkLst>
            <pc:docMk/>
            <pc:sldMk cId="0" sldId="328"/>
            <ac:picMk id="5451" creationId="{00000000-0000-0000-0000-000000000000}"/>
          </ac:picMkLst>
        </pc:picChg>
        <pc:picChg chg="add del mod">
          <ac:chgData name="Robert Lalhlimpuia [Chillibreeze]" userId="8fe5ebfe-980d-441d-bbff-8c5265b810b8" providerId="ADAL" clId="{8604BD65-8997-4357-BA60-019791E2ED85}" dt="2024-06-12T13:04:06.344" v="5370" actId="27803"/>
          <ac:picMkLst>
            <pc:docMk/>
            <pc:sldMk cId="0" sldId="328"/>
            <ac:picMk id="5651" creationId="{455F5FDF-CB9B-F2F9-57E0-D301A802CC17}"/>
          </ac:picMkLst>
        </pc:picChg>
        <pc:picChg chg="del mod topLvl">
          <ac:chgData name="Robert Lalhlimpuia [Chillibreeze]" userId="8fe5ebfe-980d-441d-bbff-8c5265b810b8" providerId="ADAL" clId="{8604BD65-8997-4357-BA60-019791E2ED85}" dt="2024-06-12T13:04:24.540" v="5379" actId="21"/>
          <ac:picMkLst>
            <pc:docMk/>
            <pc:sldMk cId="0" sldId="328"/>
            <ac:picMk id="5654" creationId="{B3B8E74E-673E-6E8A-7416-81FB42EE3EFF}"/>
          </ac:picMkLst>
        </pc:picChg>
        <pc:picChg chg="del mod topLvl">
          <ac:chgData name="Robert Lalhlimpuia [Chillibreeze]" userId="8fe5ebfe-980d-441d-bbff-8c5265b810b8" providerId="ADAL" clId="{8604BD65-8997-4357-BA60-019791E2ED85}" dt="2024-06-12T13:04:24.540" v="5379" actId="21"/>
          <ac:picMkLst>
            <pc:docMk/>
            <pc:sldMk cId="0" sldId="328"/>
            <ac:picMk id="5666" creationId="{02BD94E4-672B-FBEE-3B09-B3AECFC0B9EA}"/>
          </ac:picMkLst>
        </pc:picChg>
        <pc:cxnChg chg="add mod">
          <ac:chgData name="Robert Lalhlimpuia [Chillibreeze]" userId="8fe5ebfe-980d-441d-bbff-8c5265b810b8" providerId="ADAL" clId="{8604BD65-8997-4357-BA60-019791E2ED85}" dt="2024-06-13T06:11:28.594" v="6745" actId="692"/>
          <ac:cxnSpMkLst>
            <pc:docMk/>
            <pc:sldMk cId="0" sldId="328"/>
            <ac:cxnSpMk id="45" creationId="{7C9F3AE4-33F0-489E-57DE-1FD55504D3B7}"/>
          </ac:cxnSpMkLst>
        </pc:cxnChg>
        <pc:cxnChg chg="add mod">
          <ac:chgData name="Robert Lalhlimpuia [Chillibreeze]" userId="8fe5ebfe-980d-441d-bbff-8c5265b810b8" providerId="ADAL" clId="{8604BD65-8997-4357-BA60-019791E2ED85}" dt="2024-06-13T06:11:39.718" v="6749" actId="692"/>
          <ac:cxnSpMkLst>
            <pc:docMk/>
            <pc:sldMk cId="0" sldId="328"/>
            <ac:cxnSpMk id="50" creationId="{8DD758A4-CF52-5069-5339-453468126735}"/>
          </ac:cxnSpMkLst>
        </pc:cxnChg>
        <pc:cxnChg chg="add mod">
          <ac:chgData name="Robert Lalhlimpuia [Chillibreeze]" userId="8fe5ebfe-980d-441d-bbff-8c5265b810b8" providerId="ADAL" clId="{8604BD65-8997-4357-BA60-019791E2ED85}" dt="2024-06-13T06:11:56.754" v="6755" actId="692"/>
          <ac:cxnSpMkLst>
            <pc:docMk/>
            <pc:sldMk cId="0" sldId="328"/>
            <ac:cxnSpMk id="53" creationId="{DCCFA5D0-74F5-337F-2DF1-609CFCBD7FD2}"/>
          </ac:cxnSpMkLst>
        </pc:cxnChg>
        <pc:cxnChg chg="add mod">
          <ac:chgData name="Robert Lalhlimpuia [Chillibreeze]" userId="8fe5ebfe-980d-441d-bbff-8c5265b810b8" providerId="ADAL" clId="{8604BD65-8997-4357-BA60-019791E2ED85}" dt="2024-06-13T06:12:16.891" v="6760" actId="692"/>
          <ac:cxnSpMkLst>
            <pc:docMk/>
            <pc:sldMk cId="0" sldId="328"/>
            <ac:cxnSpMk id="57" creationId="{5F92F39F-9325-9224-6F34-EFA8DD4EE810}"/>
          </ac:cxnSpMkLst>
        </pc:cxnChg>
        <pc:cxnChg chg="add mod">
          <ac:chgData name="Robert Lalhlimpuia [Chillibreeze]" userId="8fe5ebfe-980d-441d-bbff-8c5265b810b8" providerId="ADAL" clId="{8604BD65-8997-4357-BA60-019791E2ED85}" dt="2024-06-13T06:13:35.567" v="6769" actId="692"/>
          <ac:cxnSpMkLst>
            <pc:docMk/>
            <pc:sldMk cId="0" sldId="328"/>
            <ac:cxnSpMk id="60" creationId="{90B641A1-0D5D-BBF0-4BE2-7A24784618BB}"/>
          </ac:cxnSpMkLst>
        </pc:cxnChg>
        <pc:cxnChg chg="del mod topLvl">
          <ac:chgData name="Robert Lalhlimpuia [Chillibreeze]" userId="8fe5ebfe-980d-441d-bbff-8c5265b810b8" providerId="ADAL" clId="{8604BD65-8997-4357-BA60-019791E2ED85}" dt="2024-06-12T11:51:59.003" v="4532" actId="21"/>
          <ac:cxnSpMkLst>
            <pc:docMk/>
            <pc:sldMk cId="0" sldId="328"/>
            <ac:cxnSpMk id="5453" creationId="{00000000-0000-0000-0000-000000000000}"/>
          </ac:cxnSpMkLst>
        </pc:cxnChg>
        <pc:cxnChg chg="del mod topLvl">
          <ac:chgData name="Robert Lalhlimpuia [Chillibreeze]" userId="8fe5ebfe-980d-441d-bbff-8c5265b810b8" providerId="ADAL" clId="{8604BD65-8997-4357-BA60-019791E2ED85}" dt="2024-06-12T11:51:59.003" v="4532" actId="21"/>
          <ac:cxnSpMkLst>
            <pc:docMk/>
            <pc:sldMk cId="0" sldId="328"/>
            <ac:cxnSpMk id="5454" creationId="{00000000-0000-0000-0000-000000000000}"/>
          </ac:cxnSpMkLst>
        </pc:cxnChg>
        <pc:cxnChg chg="del mod topLvl">
          <ac:chgData name="Robert Lalhlimpuia [Chillibreeze]" userId="8fe5ebfe-980d-441d-bbff-8c5265b810b8" providerId="ADAL" clId="{8604BD65-8997-4357-BA60-019791E2ED85}" dt="2024-06-12T11:52:05.499" v="4533" actId="21"/>
          <ac:cxnSpMkLst>
            <pc:docMk/>
            <pc:sldMk cId="0" sldId="328"/>
            <ac:cxnSpMk id="5455" creationId="{00000000-0000-0000-0000-000000000000}"/>
          </ac:cxnSpMkLst>
        </pc:cxnChg>
        <pc:cxnChg chg="del mod topLvl">
          <ac:chgData name="Robert Lalhlimpuia [Chillibreeze]" userId="8fe5ebfe-980d-441d-bbff-8c5265b810b8" providerId="ADAL" clId="{8604BD65-8997-4357-BA60-019791E2ED85}" dt="2024-06-12T11:51:59.003" v="4532" actId="21"/>
          <ac:cxnSpMkLst>
            <pc:docMk/>
            <pc:sldMk cId="0" sldId="328"/>
            <ac:cxnSpMk id="5456" creationId="{00000000-0000-0000-0000-000000000000}"/>
          </ac:cxnSpMkLst>
        </pc:cxnChg>
        <pc:cxnChg chg="del mod topLvl">
          <ac:chgData name="Robert Lalhlimpuia [Chillibreeze]" userId="8fe5ebfe-980d-441d-bbff-8c5265b810b8" providerId="ADAL" clId="{8604BD65-8997-4357-BA60-019791E2ED85}" dt="2024-06-12T11:51:59.003" v="4532" actId="21"/>
          <ac:cxnSpMkLst>
            <pc:docMk/>
            <pc:sldMk cId="0" sldId="328"/>
            <ac:cxnSpMk id="5457" creationId="{00000000-0000-0000-0000-000000000000}"/>
          </ac:cxnSpMkLst>
        </pc:cxnChg>
        <pc:cxnChg chg="del mod topLvl">
          <ac:chgData name="Robert Lalhlimpuia [Chillibreeze]" userId="8fe5ebfe-980d-441d-bbff-8c5265b810b8" providerId="ADAL" clId="{8604BD65-8997-4357-BA60-019791E2ED85}" dt="2024-06-12T13:08:32.196" v="5408" actId="21"/>
          <ac:cxnSpMkLst>
            <pc:docMk/>
            <pc:sldMk cId="0" sldId="328"/>
            <ac:cxnSpMk id="5674" creationId="{95524602-B0C3-8298-6147-36D6FF84AE4D}"/>
          </ac:cxnSpMkLst>
        </pc:cxnChg>
        <pc:cxnChg chg="add del mod">
          <ac:chgData name="Robert Lalhlimpuia [Chillibreeze]" userId="8fe5ebfe-980d-441d-bbff-8c5265b810b8" providerId="ADAL" clId="{8604BD65-8997-4357-BA60-019791E2ED85}" dt="2024-06-12T13:12:56.375" v="5525" actId="21"/>
          <ac:cxnSpMkLst>
            <pc:docMk/>
            <pc:sldMk cId="0" sldId="328"/>
            <ac:cxnSpMk id="5694" creationId="{42140D82-8EB3-98DD-6198-8BD7A7BE3B51}"/>
          </ac:cxnSpMkLst>
        </pc:cxnChg>
        <pc:cxnChg chg="add del mod ord">
          <ac:chgData name="Robert Lalhlimpuia [Chillibreeze]" userId="8fe5ebfe-980d-441d-bbff-8c5265b810b8" providerId="ADAL" clId="{8604BD65-8997-4357-BA60-019791E2ED85}" dt="2024-06-13T04:05:26.505" v="6322" actId="21"/>
          <ac:cxnSpMkLst>
            <pc:docMk/>
            <pc:sldMk cId="0" sldId="328"/>
            <ac:cxnSpMk id="5712" creationId="{47D85C86-C6A3-BCE4-ED55-AB3B51D86E81}"/>
          </ac:cxnSpMkLst>
        </pc:cxnChg>
        <pc:cxnChg chg="add del mod ord">
          <ac:chgData name="Robert Lalhlimpuia [Chillibreeze]" userId="8fe5ebfe-980d-441d-bbff-8c5265b810b8" providerId="ADAL" clId="{8604BD65-8997-4357-BA60-019791E2ED85}" dt="2024-06-13T04:05:29.153" v="6326" actId="21"/>
          <ac:cxnSpMkLst>
            <pc:docMk/>
            <pc:sldMk cId="0" sldId="328"/>
            <ac:cxnSpMk id="5716" creationId="{42EA30FE-5CAB-DEAC-2D42-8E9FD64B5FB3}"/>
          </ac:cxnSpMkLst>
        </pc:cxnChg>
        <pc:cxnChg chg="add del mod ord">
          <ac:chgData name="Robert Lalhlimpuia [Chillibreeze]" userId="8fe5ebfe-980d-441d-bbff-8c5265b810b8" providerId="ADAL" clId="{8604BD65-8997-4357-BA60-019791E2ED85}" dt="2024-06-13T04:05:28.215" v="6325" actId="21"/>
          <ac:cxnSpMkLst>
            <pc:docMk/>
            <pc:sldMk cId="0" sldId="328"/>
            <ac:cxnSpMk id="5720" creationId="{8C5E2368-C168-6300-414A-EBEA92227C14}"/>
          </ac:cxnSpMkLst>
        </pc:cxnChg>
        <pc:cxnChg chg="add del mod ord">
          <ac:chgData name="Robert Lalhlimpuia [Chillibreeze]" userId="8fe5ebfe-980d-441d-bbff-8c5265b810b8" providerId="ADAL" clId="{8604BD65-8997-4357-BA60-019791E2ED85}" dt="2024-06-13T04:05:27.514" v="6324" actId="21"/>
          <ac:cxnSpMkLst>
            <pc:docMk/>
            <pc:sldMk cId="0" sldId="328"/>
            <ac:cxnSpMk id="5725" creationId="{E29575C6-2E72-E6BD-59CD-DF08362F29EA}"/>
          </ac:cxnSpMkLst>
        </pc:cxnChg>
        <pc:cxnChg chg="add del mod">
          <ac:chgData name="Robert Lalhlimpuia [Chillibreeze]" userId="8fe5ebfe-980d-441d-bbff-8c5265b810b8" providerId="ADAL" clId="{8604BD65-8997-4357-BA60-019791E2ED85}" dt="2024-06-12T13:22:09.477" v="5763" actId="21"/>
          <ac:cxnSpMkLst>
            <pc:docMk/>
            <pc:sldMk cId="0" sldId="328"/>
            <ac:cxnSpMk id="5730" creationId="{5DA1AA4D-E94B-0F75-5E6F-AFCB804C50B1}"/>
          </ac:cxnSpMkLst>
        </pc:cxnChg>
        <pc:cxnChg chg="add del mod ord">
          <ac:chgData name="Robert Lalhlimpuia [Chillibreeze]" userId="8fe5ebfe-980d-441d-bbff-8c5265b810b8" providerId="ADAL" clId="{8604BD65-8997-4357-BA60-019791E2ED85}" dt="2024-06-13T04:05:27.107" v="6323" actId="21"/>
          <ac:cxnSpMkLst>
            <pc:docMk/>
            <pc:sldMk cId="0" sldId="328"/>
            <ac:cxnSpMk id="5731" creationId="{6C499841-6A1C-3BEE-F9D1-F4C4B77680B0}"/>
          </ac:cxnSpMkLst>
        </pc:cxnChg>
      </pc:sldChg>
      <pc:sldChg chg="addSp delSp modSp mod chgLayout">
        <pc:chgData name="Robert Lalhlimpuia [Chillibreeze]" userId="8fe5ebfe-980d-441d-bbff-8c5265b810b8" providerId="ADAL" clId="{8604BD65-8997-4357-BA60-019791E2ED85}" dt="2024-06-13T06:06:22.562" v="6730" actId="1076"/>
        <pc:sldMkLst>
          <pc:docMk/>
          <pc:sldMk cId="0" sldId="329"/>
        </pc:sldMkLst>
        <pc:spChg chg="add del mod">
          <ac:chgData name="Robert Lalhlimpuia [Chillibreeze]" userId="8fe5ebfe-980d-441d-bbff-8c5265b810b8" providerId="ADAL" clId="{8604BD65-8997-4357-BA60-019791E2ED85}" dt="2024-06-12T11:20:39.789" v="3714" actId="6264"/>
          <ac:spMkLst>
            <pc:docMk/>
            <pc:sldMk cId="0" sldId="329"/>
            <ac:spMk id="2" creationId="{B6B94246-B327-1E43-6A53-F912C4F17098}"/>
          </ac:spMkLst>
        </pc:spChg>
        <pc:spChg chg="add del mod">
          <ac:chgData name="Robert Lalhlimpuia [Chillibreeze]" userId="8fe5ebfe-980d-441d-bbff-8c5265b810b8" providerId="ADAL" clId="{8604BD65-8997-4357-BA60-019791E2ED85}" dt="2024-06-12T11:20:39.789" v="3714" actId="6264"/>
          <ac:spMkLst>
            <pc:docMk/>
            <pc:sldMk cId="0" sldId="329"/>
            <ac:spMk id="3" creationId="{E1B3FEA0-0894-AEBA-63F9-FEAB2247C54A}"/>
          </ac:spMkLst>
        </pc:spChg>
        <pc:spChg chg="mod">
          <ac:chgData name="Robert Lalhlimpuia [Chillibreeze]" userId="8fe5ebfe-980d-441d-bbff-8c5265b810b8" providerId="ADAL" clId="{8604BD65-8997-4357-BA60-019791E2ED85}" dt="2024-06-13T06:02:47.198" v="6666"/>
          <ac:spMkLst>
            <pc:docMk/>
            <pc:sldMk cId="0" sldId="329"/>
            <ac:spMk id="3" creationId="{EFF68F67-87FC-CB33-5C0F-C9464FD72C75}"/>
          </ac:spMkLst>
        </pc:spChg>
        <pc:spChg chg="add del mod">
          <ac:chgData name="Robert Lalhlimpuia [Chillibreeze]" userId="8fe5ebfe-980d-441d-bbff-8c5265b810b8" providerId="ADAL" clId="{8604BD65-8997-4357-BA60-019791E2ED85}" dt="2024-06-12T11:20:39.789" v="3714" actId="6264"/>
          <ac:spMkLst>
            <pc:docMk/>
            <pc:sldMk cId="0" sldId="329"/>
            <ac:spMk id="4" creationId="{23A4FB48-ED2E-156B-A99C-CCA6A52217B2}"/>
          </ac:spMkLst>
        </pc:spChg>
        <pc:spChg chg="mod">
          <ac:chgData name="Robert Lalhlimpuia [Chillibreeze]" userId="8fe5ebfe-980d-441d-bbff-8c5265b810b8" providerId="ADAL" clId="{8604BD65-8997-4357-BA60-019791E2ED85}" dt="2024-06-13T06:02:47.198" v="6666"/>
          <ac:spMkLst>
            <pc:docMk/>
            <pc:sldMk cId="0" sldId="329"/>
            <ac:spMk id="4" creationId="{9889EE10-BD4B-50FA-5A1E-D787C03A08CC}"/>
          </ac:spMkLst>
        </pc:spChg>
        <pc:spChg chg="mod">
          <ac:chgData name="Robert Lalhlimpuia [Chillibreeze]" userId="8fe5ebfe-980d-441d-bbff-8c5265b810b8" providerId="ADAL" clId="{8604BD65-8997-4357-BA60-019791E2ED85}" dt="2024-06-13T06:02:47.198" v="6666"/>
          <ac:spMkLst>
            <pc:docMk/>
            <pc:sldMk cId="0" sldId="329"/>
            <ac:spMk id="5" creationId="{CF9A8536-FBB4-28F4-7C76-2FC51DBEEDB6}"/>
          </ac:spMkLst>
        </pc:spChg>
        <pc:spChg chg="add del mod">
          <ac:chgData name="Robert Lalhlimpuia [Chillibreeze]" userId="8fe5ebfe-980d-441d-bbff-8c5265b810b8" providerId="ADAL" clId="{8604BD65-8997-4357-BA60-019791E2ED85}" dt="2024-06-12T11:20:41.906" v="3732" actId="6264"/>
          <ac:spMkLst>
            <pc:docMk/>
            <pc:sldMk cId="0" sldId="329"/>
            <ac:spMk id="7" creationId="{04B2CAB4-0D99-42A9-4D85-6ECFC6266C1B}"/>
          </ac:spMkLst>
        </pc:spChg>
        <pc:spChg chg="mod">
          <ac:chgData name="Robert Lalhlimpuia [Chillibreeze]" userId="8fe5ebfe-980d-441d-bbff-8c5265b810b8" providerId="ADAL" clId="{8604BD65-8997-4357-BA60-019791E2ED85}" dt="2024-06-13T06:02:47.198" v="6666"/>
          <ac:spMkLst>
            <pc:docMk/>
            <pc:sldMk cId="0" sldId="329"/>
            <ac:spMk id="7" creationId="{D0812681-6420-C5F0-F363-EDD0BFB28ECF}"/>
          </ac:spMkLst>
        </pc:spChg>
        <pc:spChg chg="mod">
          <ac:chgData name="Robert Lalhlimpuia [Chillibreeze]" userId="8fe5ebfe-980d-441d-bbff-8c5265b810b8" providerId="ADAL" clId="{8604BD65-8997-4357-BA60-019791E2ED85}" dt="2024-06-13T06:02:47.198" v="6666"/>
          <ac:spMkLst>
            <pc:docMk/>
            <pc:sldMk cId="0" sldId="329"/>
            <ac:spMk id="8" creationId="{3BC302B9-5868-06B4-A83D-CE15DCE238C4}"/>
          </ac:spMkLst>
        </pc:spChg>
        <pc:spChg chg="add del mod">
          <ac:chgData name="Robert Lalhlimpuia [Chillibreeze]" userId="8fe5ebfe-980d-441d-bbff-8c5265b810b8" providerId="ADAL" clId="{8604BD65-8997-4357-BA60-019791E2ED85}" dt="2024-06-12T11:20:42.076" v="3733" actId="6264"/>
          <ac:spMkLst>
            <pc:docMk/>
            <pc:sldMk cId="0" sldId="329"/>
            <ac:spMk id="8" creationId="{CAEC92E7-8AF8-61DF-D847-F79E9D2C75DD}"/>
          </ac:spMkLst>
        </pc:spChg>
        <pc:spChg chg="add del mod">
          <ac:chgData name="Robert Lalhlimpuia [Chillibreeze]" userId="8fe5ebfe-980d-441d-bbff-8c5265b810b8" providerId="ADAL" clId="{8604BD65-8997-4357-BA60-019791E2ED85}" dt="2024-06-12T11:20:42.236" v="3734" actId="6264"/>
          <ac:spMkLst>
            <pc:docMk/>
            <pc:sldMk cId="0" sldId="329"/>
            <ac:spMk id="9" creationId="{2B467FAC-059F-C029-B37B-ADFFD41FA153}"/>
          </ac:spMkLst>
        </pc:spChg>
        <pc:spChg chg="mod">
          <ac:chgData name="Robert Lalhlimpuia [Chillibreeze]" userId="8fe5ebfe-980d-441d-bbff-8c5265b810b8" providerId="ADAL" clId="{8604BD65-8997-4357-BA60-019791E2ED85}" dt="2024-06-13T06:03:09.070" v="6680" actId="571"/>
          <ac:spMkLst>
            <pc:docMk/>
            <pc:sldMk cId="0" sldId="329"/>
            <ac:spMk id="10" creationId="{226D0649-5043-8BAB-2672-239387F5D31B}"/>
          </ac:spMkLst>
        </pc:spChg>
        <pc:spChg chg="add del mod">
          <ac:chgData name="Robert Lalhlimpuia [Chillibreeze]" userId="8fe5ebfe-980d-441d-bbff-8c5265b810b8" providerId="ADAL" clId="{8604BD65-8997-4357-BA60-019791E2ED85}" dt="2024-06-12T11:21:03.033" v="3760" actId="6264"/>
          <ac:spMkLst>
            <pc:docMk/>
            <pc:sldMk cId="0" sldId="329"/>
            <ac:spMk id="10" creationId="{AC5ADA1F-BCE8-03FB-5A62-3A6D9279C35B}"/>
          </ac:spMkLst>
        </pc:spChg>
        <pc:spChg chg="add del mod">
          <ac:chgData name="Robert Lalhlimpuia [Chillibreeze]" userId="8fe5ebfe-980d-441d-bbff-8c5265b810b8" providerId="ADAL" clId="{8604BD65-8997-4357-BA60-019791E2ED85}" dt="2024-06-12T11:21:03.175" v="3761" actId="6264"/>
          <ac:spMkLst>
            <pc:docMk/>
            <pc:sldMk cId="0" sldId="329"/>
            <ac:spMk id="11" creationId="{11991593-9953-DC90-6DA0-E5AA52434E39}"/>
          </ac:spMkLst>
        </pc:spChg>
        <pc:spChg chg="mod">
          <ac:chgData name="Robert Lalhlimpuia [Chillibreeze]" userId="8fe5ebfe-980d-441d-bbff-8c5265b810b8" providerId="ADAL" clId="{8604BD65-8997-4357-BA60-019791E2ED85}" dt="2024-06-13T06:03:09.070" v="6680" actId="571"/>
          <ac:spMkLst>
            <pc:docMk/>
            <pc:sldMk cId="0" sldId="329"/>
            <ac:spMk id="11" creationId="{45731416-381B-22DF-3E5C-7B81BB216133}"/>
          </ac:spMkLst>
        </pc:spChg>
        <pc:spChg chg="add del mod">
          <ac:chgData name="Robert Lalhlimpuia [Chillibreeze]" userId="8fe5ebfe-980d-441d-bbff-8c5265b810b8" providerId="ADAL" clId="{8604BD65-8997-4357-BA60-019791E2ED85}" dt="2024-06-12T11:21:03.331" v="3762" actId="6264"/>
          <ac:spMkLst>
            <pc:docMk/>
            <pc:sldMk cId="0" sldId="329"/>
            <ac:spMk id="12" creationId="{26D8CFE8-E273-ACD0-B52A-188B337B1B36}"/>
          </ac:spMkLst>
        </pc:spChg>
        <pc:spChg chg="mod">
          <ac:chgData name="Robert Lalhlimpuia [Chillibreeze]" userId="8fe5ebfe-980d-441d-bbff-8c5265b810b8" providerId="ADAL" clId="{8604BD65-8997-4357-BA60-019791E2ED85}" dt="2024-06-13T06:03:09.070" v="6680" actId="571"/>
          <ac:spMkLst>
            <pc:docMk/>
            <pc:sldMk cId="0" sldId="329"/>
            <ac:spMk id="12" creationId="{9891E934-8EB3-A428-0D0F-06935EB31938}"/>
          </ac:spMkLst>
        </pc:spChg>
        <pc:spChg chg="add del mod">
          <ac:chgData name="Robert Lalhlimpuia [Chillibreeze]" userId="8fe5ebfe-980d-441d-bbff-8c5265b810b8" providerId="ADAL" clId="{8604BD65-8997-4357-BA60-019791E2ED85}" dt="2024-06-12T11:21:03.463" v="3763" actId="6264"/>
          <ac:spMkLst>
            <pc:docMk/>
            <pc:sldMk cId="0" sldId="329"/>
            <ac:spMk id="13" creationId="{8AE245CD-CB62-75CA-FDE8-7565EF687D7B}"/>
          </ac:spMkLst>
        </pc:spChg>
        <pc:spChg chg="mod">
          <ac:chgData name="Robert Lalhlimpuia [Chillibreeze]" userId="8fe5ebfe-980d-441d-bbff-8c5265b810b8" providerId="ADAL" clId="{8604BD65-8997-4357-BA60-019791E2ED85}" dt="2024-06-13T06:03:09.070" v="6680" actId="571"/>
          <ac:spMkLst>
            <pc:docMk/>
            <pc:sldMk cId="0" sldId="329"/>
            <ac:spMk id="13" creationId="{AD32B029-34EA-61D2-36E2-CF03B7DB2664}"/>
          </ac:spMkLst>
        </pc:spChg>
        <pc:spChg chg="add del mod">
          <ac:chgData name="Robert Lalhlimpuia [Chillibreeze]" userId="8fe5ebfe-980d-441d-bbff-8c5265b810b8" providerId="ADAL" clId="{8604BD65-8997-4357-BA60-019791E2ED85}" dt="2024-06-12T11:21:03.599" v="3764" actId="6264"/>
          <ac:spMkLst>
            <pc:docMk/>
            <pc:sldMk cId="0" sldId="329"/>
            <ac:spMk id="14" creationId="{213AFA4E-1F3B-0BC3-188D-FCE471E51DF3}"/>
          </ac:spMkLst>
        </pc:spChg>
        <pc:spChg chg="mod">
          <ac:chgData name="Robert Lalhlimpuia [Chillibreeze]" userId="8fe5ebfe-980d-441d-bbff-8c5265b810b8" providerId="ADAL" clId="{8604BD65-8997-4357-BA60-019791E2ED85}" dt="2024-06-13T06:03:09.070" v="6680" actId="571"/>
          <ac:spMkLst>
            <pc:docMk/>
            <pc:sldMk cId="0" sldId="329"/>
            <ac:spMk id="14" creationId="{9A8219F3-7177-50E0-E29A-A62A6F44D952}"/>
          </ac:spMkLst>
        </pc:spChg>
        <pc:spChg chg="add del mod">
          <ac:chgData name="Robert Lalhlimpuia [Chillibreeze]" userId="8fe5ebfe-980d-441d-bbff-8c5265b810b8" providerId="ADAL" clId="{8604BD65-8997-4357-BA60-019791E2ED85}" dt="2024-06-12T11:21:03.725" v="3765" actId="6264"/>
          <ac:spMkLst>
            <pc:docMk/>
            <pc:sldMk cId="0" sldId="329"/>
            <ac:spMk id="15" creationId="{B6B324B8-BC5E-1A4B-A3C4-6ED3B21E76C6}"/>
          </ac:spMkLst>
        </pc:spChg>
        <pc:spChg chg="mod">
          <ac:chgData name="Robert Lalhlimpuia [Chillibreeze]" userId="8fe5ebfe-980d-441d-bbff-8c5265b810b8" providerId="ADAL" clId="{8604BD65-8997-4357-BA60-019791E2ED85}" dt="2024-06-13T06:03:10.672" v="6681" actId="571"/>
          <ac:spMkLst>
            <pc:docMk/>
            <pc:sldMk cId="0" sldId="329"/>
            <ac:spMk id="16" creationId="{0413579D-28EE-DCC7-429A-06EB20E8D7AC}"/>
          </ac:spMkLst>
        </pc:spChg>
        <pc:spChg chg="add del mod">
          <ac:chgData name="Robert Lalhlimpuia [Chillibreeze]" userId="8fe5ebfe-980d-441d-bbff-8c5265b810b8" providerId="ADAL" clId="{8604BD65-8997-4357-BA60-019791E2ED85}" dt="2024-06-12T11:24:36.706" v="3799" actId="6264"/>
          <ac:spMkLst>
            <pc:docMk/>
            <pc:sldMk cId="0" sldId="329"/>
            <ac:spMk id="17" creationId="{182892F3-0C80-EF95-D794-A274539806DE}"/>
          </ac:spMkLst>
        </pc:spChg>
        <pc:spChg chg="mod">
          <ac:chgData name="Robert Lalhlimpuia [Chillibreeze]" userId="8fe5ebfe-980d-441d-bbff-8c5265b810b8" providerId="ADAL" clId="{8604BD65-8997-4357-BA60-019791E2ED85}" dt="2024-06-13T06:03:10.672" v="6681" actId="571"/>
          <ac:spMkLst>
            <pc:docMk/>
            <pc:sldMk cId="0" sldId="329"/>
            <ac:spMk id="17" creationId="{FAF05A57-4FE0-DCBF-D6CE-965A71F1083F}"/>
          </ac:spMkLst>
        </pc:spChg>
        <pc:spChg chg="mod">
          <ac:chgData name="Robert Lalhlimpuia [Chillibreeze]" userId="8fe5ebfe-980d-441d-bbff-8c5265b810b8" providerId="ADAL" clId="{8604BD65-8997-4357-BA60-019791E2ED85}" dt="2024-06-13T06:03:10.672" v="6681" actId="571"/>
          <ac:spMkLst>
            <pc:docMk/>
            <pc:sldMk cId="0" sldId="329"/>
            <ac:spMk id="18" creationId="{20FD1052-D446-60B9-D757-A65F39B7850D}"/>
          </ac:spMkLst>
        </pc:spChg>
        <pc:spChg chg="add del mod">
          <ac:chgData name="Robert Lalhlimpuia [Chillibreeze]" userId="8fe5ebfe-980d-441d-bbff-8c5265b810b8" providerId="ADAL" clId="{8604BD65-8997-4357-BA60-019791E2ED85}" dt="2024-06-12T11:24:36.874" v="3800" actId="6264"/>
          <ac:spMkLst>
            <pc:docMk/>
            <pc:sldMk cId="0" sldId="329"/>
            <ac:spMk id="18" creationId="{81B9D470-D45A-5C3E-67FD-5719B617DFBF}"/>
          </ac:spMkLst>
        </pc:spChg>
        <pc:spChg chg="mod">
          <ac:chgData name="Robert Lalhlimpuia [Chillibreeze]" userId="8fe5ebfe-980d-441d-bbff-8c5265b810b8" providerId="ADAL" clId="{8604BD65-8997-4357-BA60-019791E2ED85}" dt="2024-06-13T06:03:10.672" v="6681" actId="571"/>
          <ac:spMkLst>
            <pc:docMk/>
            <pc:sldMk cId="0" sldId="329"/>
            <ac:spMk id="19" creationId="{19FA5FC7-01B4-11D6-6FE4-7DD2E9D70E5A}"/>
          </ac:spMkLst>
        </pc:spChg>
        <pc:spChg chg="add del mod">
          <ac:chgData name="Robert Lalhlimpuia [Chillibreeze]" userId="8fe5ebfe-980d-441d-bbff-8c5265b810b8" providerId="ADAL" clId="{8604BD65-8997-4357-BA60-019791E2ED85}" dt="2024-06-12T11:24:37.027" v="3801" actId="6264"/>
          <ac:spMkLst>
            <pc:docMk/>
            <pc:sldMk cId="0" sldId="329"/>
            <ac:spMk id="19" creationId="{77390672-CB18-8F29-2B8C-F71D00CA8C1D}"/>
          </ac:spMkLst>
        </pc:spChg>
        <pc:spChg chg="mod">
          <ac:chgData name="Robert Lalhlimpuia [Chillibreeze]" userId="8fe5ebfe-980d-441d-bbff-8c5265b810b8" providerId="ADAL" clId="{8604BD65-8997-4357-BA60-019791E2ED85}" dt="2024-06-13T06:03:10.672" v="6681" actId="571"/>
          <ac:spMkLst>
            <pc:docMk/>
            <pc:sldMk cId="0" sldId="329"/>
            <ac:spMk id="20" creationId="{4324D247-FE8D-C2C5-D8DC-32507C2708F6}"/>
          </ac:spMkLst>
        </pc:spChg>
        <pc:spChg chg="mod">
          <ac:chgData name="Robert Lalhlimpuia [Chillibreeze]" userId="8fe5ebfe-980d-441d-bbff-8c5265b810b8" providerId="ADAL" clId="{8604BD65-8997-4357-BA60-019791E2ED85}" dt="2024-06-13T06:03:12.126" v="6682" actId="571"/>
          <ac:spMkLst>
            <pc:docMk/>
            <pc:sldMk cId="0" sldId="329"/>
            <ac:spMk id="23" creationId="{2F5712C3-1F95-A585-89B9-A389A764C8AF}"/>
          </ac:spMkLst>
        </pc:spChg>
        <pc:spChg chg="add del mod">
          <ac:chgData name="Robert Lalhlimpuia [Chillibreeze]" userId="8fe5ebfe-980d-441d-bbff-8c5265b810b8" providerId="ADAL" clId="{8604BD65-8997-4357-BA60-019791E2ED85}" dt="2024-06-12T11:28:41.608" v="3905" actId="21"/>
          <ac:spMkLst>
            <pc:docMk/>
            <pc:sldMk cId="0" sldId="329"/>
            <ac:spMk id="23" creationId="{9C15EFA2-26FC-A542-ED70-94B49111F584}"/>
          </ac:spMkLst>
        </pc:spChg>
        <pc:spChg chg="mod">
          <ac:chgData name="Robert Lalhlimpuia [Chillibreeze]" userId="8fe5ebfe-980d-441d-bbff-8c5265b810b8" providerId="ADAL" clId="{8604BD65-8997-4357-BA60-019791E2ED85}" dt="2024-06-13T06:03:12.126" v="6682" actId="571"/>
          <ac:spMkLst>
            <pc:docMk/>
            <pc:sldMk cId="0" sldId="329"/>
            <ac:spMk id="24" creationId="{4DB35EFF-A14A-C9A8-2229-96C520869299}"/>
          </ac:spMkLst>
        </pc:spChg>
        <pc:spChg chg="mod">
          <ac:chgData name="Robert Lalhlimpuia [Chillibreeze]" userId="8fe5ebfe-980d-441d-bbff-8c5265b810b8" providerId="ADAL" clId="{8604BD65-8997-4357-BA60-019791E2ED85}" dt="2024-06-13T06:03:12.126" v="6682" actId="571"/>
          <ac:spMkLst>
            <pc:docMk/>
            <pc:sldMk cId="0" sldId="329"/>
            <ac:spMk id="25" creationId="{7E8413C8-E2CE-F578-052C-F39991EB58A1}"/>
          </ac:spMkLst>
        </pc:spChg>
        <pc:spChg chg="mod">
          <ac:chgData name="Robert Lalhlimpuia [Chillibreeze]" userId="8fe5ebfe-980d-441d-bbff-8c5265b810b8" providerId="ADAL" clId="{8604BD65-8997-4357-BA60-019791E2ED85}" dt="2024-06-13T06:03:12.126" v="6682" actId="571"/>
          <ac:spMkLst>
            <pc:docMk/>
            <pc:sldMk cId="0" sldId="329"/>
            <ac:spMk id="26" creationId="{98391E74-B256-7F2B-184C-2A77F708E413}"/>
          </ac:spMkLst>
        </pc:spChg>
        <pc:spChg chg="mod">
          <ac:chgData name="Robert Lalhlimpuia [Chillibreeze]" userId="8fe5ebfe-980d-441d-bbff-8c5265b810b8" providerId="ADAL" clId="{8604BD65-8997-4357-BA60-019791E2ED85}" dt="2024-06-13T06:03:12.126" v="6682" actId="571"/>
          <ac:spMkLst>
            <pc:docMk/>
            <pc:sldMk cId="0" sldId="329"/>
            <ac:spMk id="28" creationId="{A0450654-A34B-55F4-FF5E-9885550C7FA3}"/>
          </ac:spMkLst>
        </pc:spChg>
        <pc:spChg chg="mod">
          <ac:chgData name="Robert Lalhlimpuia [Chillibreeze]" userId="8fe5ebfe-980d-441d-bbff-8c5265b810b8" providerId="ADAL" clId="{8604BD65-8997-4357-BA60-019791E2ED85}" dt="2024-06-12T11:29:20.728" v="4254"/>
          <ac:spMkLst>
            <pc:docMk/>
            <pc:sldMk cId="0" sldId="329"/>
            <ac:spMk id="29" creationId="{085F527D-8E25-0714-E9B0-0F0B9F0EFDD3}"/>
          </ac:spMkLst>
        </pc:spChg>
        <pc:spChg chg="mod">
          <ac:chgData name="Robert Lalhlimpuia [Chillibreeze]" userId="8fe5ebfe-980d-441d-bbff-8c5265b810b8" providerId="ADAL" clId="{8604BD65-8997-4357-BA60-019791E2ED85}" dt="2024-06-12T11:29:20.728" v="4254"/>
          <ac:spMkLst>
            <pc:docMk/>
            <pc:sldMk cId="0" sldId="329"/>
            <ac:spMk id="30" creationId="{69D18B9D-65A0-F832-762D-705D9F3C6443}"/>
          </ac:spMkLst>
        </pc:spChg>
        <pc:spChg chg="mod">
          <ac:chgData name="Robert Lalhlimpuia [Chillibreeze]" userId="8fe5ebfe-980d-441d-bbff-8c5265b810b8" providerId="ADAL" clId="{8604BD65-8997-4357-BA60-019791E2ED85}" dt="2024-06-13T06:03:43.464" v="6691"/>
          <ac:spMkLst>
            <pc:docMk/>
            <pc:sldMk cId="0" sldId="329"/>
            <ac:spMk id="30" creationId="{F7CE10A5-C3C8-565B-9398-1F5A4B007E73}"/>
          </ac:spMkLst>
        </pc:spChg>
        <pc:spChg chg="mod">
          <ac:chgData name="Robert Lalhlimpuia [Chillibreeze]" userId="8fe5ebfe-980d-441d-bbff-8c5265b810b8" providerId="ADAL" clId="{8604BD65-8997-4357-BA60-019791E2ED85}" dt="2024-06-13T06:03:43.464" v="6691"/>
          <ac:spMkLst>
            <pc:docMk/>
            <pc:sldMk cId="0" sldId="329"/>
            <ac:spMk id="31" creationId="{054459EF-B5A6-AADA-2E77-320286F93475}"/>
          </ac:spMkLst>
        </pc:spChg>
        <pc:spChg chg="mod">
          <ac:chgData name="Robert Lalhlimpuia [Chillibreeze]" userId="8fe5ebfe-980d-441d-bbff-8c5265b810b8" providerId="ADAL" clId="{8604BD65-8997-4357-BA60-019791E2ED85}" dt="2024-06-12T11:29:20.728" v="4254"/>
          <ac:spMkLst>
            <pc:docMk/>
            <pc:sldMk cId="0" sldId="329"/>
            <ac:spMk id="31" creationId="{D240E555-7DB3-E5B7-5B24-2BA654169E7F}"/>
          </ac:spMkLst>
        </pc:spChg>
        <pc:spChg chg="mod">
          <ac:chgData name="Robert Lalhlimpuia [Chillibreeze]" userId="8fe5ebfe-980d-441d-bbff-8c5265b810b8" providerId="ADAL" clId="{8604BD65-8997-4357-BA60-019791E2ED85}" dt="2024-06-12T11:29:39.143" v="4259"/>
          <ac:spMkLst>
            <pc:docMk/>
            <pc:sldMk cId="0" sldId="329"/>
            <ac:spMk id="33" creationId="{28D5DAE7-A9D7-C136-18D9-1C2FDD3E10EF}"/>
          </ac:spMkLst>
        </pc:spChg>
        <pc:spChg chg="mod">
          <ac:chgData name="Robert Lalhlimpuia [Chillibreeze]" userId="8fe5ebfe-980d-441d-bbff-8c5265b810b8" providerId="ADAL" clId="{8604BD65-8997-4357-BA60-019791E2ED85}" dt="2024-06-12T11:29:39.143" v="4259"/>
          <ac:spMkLst>
            <pc:docMk/>
            <pc:sldMk cId="0" sldId="329"/>
            <ac:spMk id="34" creationId="{77EA5A58-4401-6148-6922-D129CA77B554}"/>
          </ac:spMkLst>
        </pc:spChg>
        <pc:spChg chg="mod">
          <ac:chgData name="Robert Lalhlimpuia [Chillibreeze]" userId="8fe5ebfe-980d-441d-bbff-8c5265b810b8" providerId="ADAL" clId="{8604BD65-8997-4357-BA60-019791E2ED85}" dt="2024-06-13T06:03:43.464" v="6691"/>
          <ac:spMkLst>
            <pc:docMk/>
            <pc:sldMk cId="0" sldId="329"/>
            <ac:spMk id="35" creationId="{963085D2-DA8B-7A67-BF80-B92F7D8379A7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47:54.055" v="4500" actId="21"/>
          <ac:spMkLst>
            <pc:docMk/>
            <pc:sldMk cId="0" sldId="329"/>
            <ac:spMk id="36" creationId="{278E38E9-DF86-03B8-54B6-EACB8B59C996}"/>
          </ac:spMkLst>
        </pc:spChg>
        <pc:spChg chg="mod">
          <ac:chgData name="Robert Lalhlimpuia [Chillibreeze]" userId="8fe5ebfe-980d-441d-bbff-8c5265b810b8" providerId="ADAL" clId="{8604BD65-8997-4357-BA60-019791E2ED85}" dt="2024-06-13T06:03:43.464" v="6691"/>
          <ac:spMkLst>
            <pc:docMk/>
            <pc:sldMk cId="0" sldId="329"/>
            <ac:spMk id="36" creationId="{3BD2CD29-88C5-4896-E5E5-9379FD07E4F4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48:26.356" v="4501" actId="21"/>
          <ac:spMkLst>
            <pc:docMk/>
            <pc:sldMk cId="0" sldId="329"/>
            <ac:spMk id="37" creationId="{C5BA212A-A3B8-2E7A-ACE9-ACE4F387DE7F}"/>
          </ac:spMkLst>
        </pc:spChg>
        <pc:spChg chg="mod">
          <ac:chgData name="Robert Lalhlimpuia [Chillibreeze]" userId="8fe5ebfe-980d-441d-bbff-8c5265b810b8" providerId="ADAL" clId="{8604BD65-8997-4357-BA60-019791E2ED85}" dt="2024-06-13T06:03:43.464" v="6691"/>
          <ac:spMkLst>
            <pc:docMk/>
            <pc:sldMk cId="0" sldId="329"/>
            <ac:spMk id="37" creationId="{CA6E8F89-B037-D6E1-C5E0-542EB4F1766C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47:54.055" v="4500" actId="21"/>
          <ac:spMkLst>
            <pc:docMk/>
            <pc:sldMk cId="0" sldId="329"/>
            <ac:spMk id="38" creationId="{BB80164A-3120-3C6A-23B6-4C6766703D0C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47:54.055" v="4500" actId="21"/>
          <ac:spMkLst>
            <pc:docMk/>
            <pc:sldMk cId="0" sldId="329"/>
            <ac:spMk id="39" creationId="{BC56F9BD-701A-BB26-3B9A-FC36F3C255A2}"/>
          </ac:spMkLst>
        </pc:spChg>
        <pc:spChg chg="mod">
          <ac:chgData name="Robert Lalhlimpuia [Chillibreeze]" userId="8fe5ebfe-980d-441d-bbff-8c5265b810b8" providerId="ADAL" clId="{8604BD65-8997-4357-BA60-019791E2ED85}" dt="2024-06-13T06:03:50.113" v="6694" actId="571"/>
          <ac:spMkLst>
            <pc:docMk/>
            <pc:sldMk cId="0" sldId="329"/>
            <ac:spMk id="39" creationId="{DCE402D3-100E-E828-DE5C-C8B1469D255F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46:11.120" v="4473"/>
          <ac:spMkLst>
            <pc:docMk/>
            <pc:sldMk cId="0" sldId="329"/>
            <ac:spMk id="40" creationId="{0944A559-946D-68F1-274F-37D8B4AC097D}"/>
          </ac:spMkLst>
        </pc:spChg>
        <pc:spChg chg="mod">
          <ac:chgData name="Robert Lalhlimpuia [Chillibreeze]" userId="8fe5ebfe-980d-441d-bbff-8c5265b810b8" providerId="ADAL" clId="{8604BD65-8997-4357-BA60-019791E2ED85}" dt="2024-06-13T06:03:50.113" v="6694" actId="571"/>
          <ac:spMkLst>
            <pc:docMk/>
            <pc:sldMk cId="0" sldId="329"/>
            <ac:spMk id="40" creationId="{F26572A7-4E7A-DD11-1843-2D1FADB81A23}"/>
          </ac:spMkLst>
        </pc:spChg>
        <pc:spChg chg="mod">
          <ac:chgData name="Robert Lalhlimpuia [Chillibreeze]" userId="8fe5ebfe-980d-441d-bbff-8c5265b810b8" providerId="ADAL" clId="{8604BD65-8997-4357-BA60-019791E2ED85}" dt="2024-06-13T06:03:50.113" v="6694" actId="571"/>
          <ac:spMkLst>
            <pc:docMk/>
            <pc:sldMk cId="0" sldId="329"/>
            <ac:spMk id="41" creationId="{486A90AF-1B28-547B-15D5-B31F1F36B92D}"/>
          </ac:spMkLst>
        </pc:spChg>
        <pc:spChg chg="mod">
          <ac:chgData name="Robert Lalhlimpuia [Chillibreeze]" userId="8fe5ebfe-980d-441d-bbff-8c5265b810b8" providerId="ADAL" clId="{8604BD65-8997-4357-BA60-019791E2ED85}" dt="2024-06-13T06:03:50.113" v="6694" actId="571"/>
          <ac:spMkLst>
            <pc:docMk/>
            <pc:sldMk cId="0" sldId="329"/>
            <ac:spMk id="42" creationId="{A160BD6C-C1A0-B01B-429B-D73403460A7A}"/>
          </ac:spMkLst>
        </pc:spChg>
        <pc:spChg chg="mod">
          <ac:chgData name="Robert Lalhlimpuia [Chillibreeze]" userId="8fe5ebfe-980d-441d-bbff-8c5265b810b8" providerId="ADAL" clId="{8604BD65-8997-4357-BA60-019791E2ED85}" dt="2024-06-12T11:42:55.444" v="4396"/>
          <ac:spMkLst>
            <pc:docMk/>
            <pc:sldMk cId="0" sldId="329"/>
            <ac:spMk id="43" creationId="{483C7DD8-9853-C621-36C2-2B2CA75482D5}"/>
          </ac:spMkLst>
        </pc:spChg>
        <pc:spChg chg="mod">
          <ac:chgData name="Robert Lalhlimpuia [Chillibreeze]" userId="8fe5ebfe-980d-441d-bbff-8c5265b810b8" providerId="ADAL" clId="{8604BD65-8997-4357-BA60-019791E2ED85}" dt="2024-06-13T06:03:50.113" v="6694" actId="571"/>
          <ac:spMkLst>
            <pc:docMk/>
            <pc:sldMk cId="0" sldId="329"/>
            <ac:spMk id="43" creationId="{BE23C42B-0BA7-1915-4B78-A64718E4C988}"/>
          </ac:spMkLst>
        </pc:spChg>
        <pc:spChg chg="mod topLvl">
          <ac:chgData name="Robert Lalhlimpuia [Chillibreeze]" userId="8fe5ebfe-980d-441d-bbff-8c5265b810b8" providerId="ADAL" clId="{8604BD65-8997-4357-BA60-019791E2ED85}" dt="2024-06-12T13:26:16.534" v="5866"/>
          <ac:spMkLst>
            <pc:docMk/>
            <pc:sldMk cId="0" sldId="329"/>
            <ac:spMk id="46" creationId="{D7D3C4BA-ED22-06D5-1AC9-2981F40D84CF}"/>
          </ac:spMkLst>
        </pc:spChg>
        <pc:spChg chg="mod">
          <ac:chgData name="Robert Lalhlimpuia [Chillibreeze]" userId="8fe5ebfe-980d-441d-bbff-8c5265b810b8" providerId="ADAL" clId="{8604BD65-8997-4357-BA60-019791E2ED85}" dt="2024-06-12T13:26:17.822" v="5868"/>
          <ac:spMkLst>
            <pc:docMk/>
            <pc:sldMk cId="0" sldId="329"/>
            <ac:spMk id="50" creationId="{6733544E-B5FE-443A-4A22-6AB2271A9D2B}"/>
          </ac:spMkLst>
        </pc:spChg>
        <pc:spChg chg="mod">
          <ac:chgData name="Robert Lalhlimpuia [Chillibreeze]" userId="8fe5ebfe-980d-441d-bbff-8c5265b810b8" providerId="ADAL" clId="{8604BD65-8997-4357-BA60-019791E2ED85}" dt="2024-06-12T13:26:18.925" v="5872"/>
          <ac:spMkLst>
            <pc:docMk/>
            <pc:sldMk cId="0" sldId="329"/>
            <ac:spMk id="53" creationId="{7A23526B-CB33-CAF7-5E23-EB3BDE90C1D0}"/>
          </ac:spMkLst>
        </pc:spChg>
        <pc:spChg chg="mod">
          <ac:chgData name="Robert Lalhlimpuia [Chillibreeze]" userId="8fe5ebfe-980d-441d-bbff-8c5265b810b8" providerId="ADAL" clId="{8604BD65-8997-4357-BA60-019791E2ED85}" dt="2024-06-12T11:43:56.046" v="4428" actId="571"/>
          <ac:spMkLst>
            <pc:docMk/>
            <pc:sldMk cId="0" sldId="329"/>
            <ac:spMk id="56" creationId="{9E4D9AEC-39DC-A245-FF47-B1857762E29C}"/>
          </ac:spMkLst>
        </pc:spChg>
        <pc:spChg chg="mod">
          <ac:chgData name="Robert Lalhlimpuia [Chillibreeze]" userId="8fe5ebfe-980d-441d-bbff-8c5265b810b8" providerId="ADAL" clId="{8604BD65-8997-4357-BA60-019791E2ED85}" dt="2024-06-13T06:03:57.894" v="6697" actId="571"/>
          <ac:spMkLst>
            <pc:docMk/>
            <pc:sldMk cId="0" sldId="329"/>
            <ac:spMk id="57" creationId="{751EDEAF-B195-515B-E6ED-76748305E06B}"/>
          </ac:spMkLst>
        </pc:spChg>
        <pc:spChg chg="mod">
          <ac:chgData name="Robert Lalhlimpuia [Chillibreeze]" userId="8fe5ebfe-980d-441d-bbff-8c5265b810b8" providerId="ADAL" clId="{8604BD65-8997-4357-BA60-019791E2ED85}" dt="2024-06-12T11:43:56.046" v="4428" actId="571"/>
          <ac:spMkLst>
            <pc:docMk/>
            <pc:sldMk cId="0" sldId="329"/>
            <ac:spMk id="57" creationId="{B4156F76-24AF-946F-60E9-FE7E6BD97012}"/>
          </ac:spMkLst>
        </pc:spChg>
        <pc:spChg chg="mod">
          <ac:chgData name="Robert Lalhlimpuia [Chillibreeze]" userId="8fe5ebfe-980d-441d-bbff-8c5265b810b8" providerId="ADAL" clId="{8604BD65-8997-4357-BA60-019791E2ED85}" dt="2024-06-12T11:43:56.046" v="4428" actId="571"/>
          <ac:spMkLst>
            <pc:docMk/>
            <pc:sldMk cId="0" sldId="329"/>
            <ac:spMk id="58" creationId="{9618D25E-0BFE-8A2E-75AA-82E7F7117A10}"/>
          </ac:spMkLst>
        </pc:spChg>
        <pc:spChg chg="mod">
          <ac:chgData name="Robert Lalhlimpuia [Chillibreeze]" userId="8fe5ebfe-980d-441d-bbff-8c5265b810b8" providerId="ADAL" clId="{8604BD65-8997-4357-BA60-019791E2ED85}" dt="2024-06-13T06:03:57.894" v="6697" actId="571"/>
          <ac:spMkLst>
            <pc:docMk/>
            <pc:sldMk cId="0" sldId="329"/>
            <ac:spMk id="58" creationId="{D7F28031-6219-66A2-C9E3-D78461F26559}"/>
          </ac:spMkLst>
        </pc:spChg>
        <pc:spChg chg="mod">
          <ac:chgData name="Robert Lalhlimpuia [Chillibreeze]" userId="8fe5ebfe-980d-441d-bbff-8c5265b810b8" providerId="ADAL" clId="{8604BD65-8997-4357-BA60-019791E2ED85}" dt="2024-06-13T06:03:57.894" v="6697" actId="571"/>
          <ac:spMkLst>
            <pc:docMk/>
            <pc:sldMk cId="0" sldId="329"/>
            <ac:spMk id="59" creationId="{70F56331-5264-767E-96F2-AF1C1CEA97FB}"/>
          </ac:spMkLst>
        </pc:spChg>
        <pc:spChg chg="mod">
          <ac:chgData name="Robert Lalhlimpuia [Chillibreeze]" userId="8fe5ebfe-980d-441d-bbff-8c5265b810b8" providerId="ADAL" clId="{8604BD65-8997-4357-BA60-019791E2ED85}" dt="2024-06-12T11:43:56.046" v="4428" actId="571"/>
          <ac:spMkLst>
            <pc:docMk/>
            <pc:sldMk cId="0" sldId="329"/>
            <ac:spMk id="59" creationId="{9F4670D4-0882-B601-127C-557A50657F92}"/>
          </ac:spMkLst>
        </pc:spChg>
        <pc:spChg chg="mod">
          <ac:chgData name="Robert Lalhlimpuia [Chillibreeze]" userId="8fe5ebfe-980d-441d-bbff-8c5265b810b8" providerId="ADAL" clId="{8604BD65-8997-4357-BA60-019791E2ED85}" dt="2024-06-13T06:03:57.894" v="6697" actId="571"/>
          <ac:spMkLst>
            <pc:docMk/>
            <pc:sldMk cId="0" sldId="329"/>
            <ac:spMk id="60" creationId="{A2A67F90-F3E7-C7AE-18CB-2FF0189E47D2}"/>
          </ac:spMkLst>
        </pc:spChg>
        <pc:spChg chg="mod">
          <ac:chgData name="Robert Lalhlimpuia [Chillibreeze]" userId="8fe5ebfe-980d-441d-bbff-8c5265b810b8" providerId="ADAL" clId="{8604BD65-8997-4357-BA60-019791E2ED85}" dt="2024-06-12T11:43:56.046" v="4428" actId="571"/>
          <ac:spMkLst>
            <pc:docMk/>
            <pc:sldMk cId="0" sldId="329"/>
            <ac:spMk id="60" creationId="{E2FD6D12-8224-F8F0-4DCF-CAB2C9C7F134}"/>
          </ac:spMkLst>
        </pc:spChg>
        <pc:spChg chg="mod">
          <ac:chgData name="Robert Lalhlimpuia [Chillibreeze]" userId="8fe5ebfe-980d-441d-bbff-8c5265b810b8" providerId="ADAL" clId="{8604BD65-8997-4357-BA60-019791E2ED85}" dt="2024-06-13T06:03:57.894" v="6697" actId="571"/>
          <ac:spMkLst>
            <pc:docMk/>
            <pc:sldMk cId="0" sldId="329"/>
            <ac:spMk id="61" creationId="{13C446FD-C1AC-4991-6534-9F65ABBAAE93}"/>
          </ac:spMkLst>
        </pc:spChg>
        <pc:spChg chg="mod">
          <ac:chgData name="Robert Lalhlimpuia [Chillibreeze]" userId="8fe5ebfe-980d-441d-bbff-8c5265b810b8" providerId="ADAL" clId="{8604BD65-8997-4357-BA60-019791E2ED85}" dt="2024-06-13T06:03:57.894" v="6697" actId="571"/>
          <ac:spMkLst>
            <pc:docMk/>
            <pc:sldMk cId="0" sldId="329"/>
            <ac:spMk id="62" creationId="{2BBFDA12-D21E-E0EA-F1EC-C84DF74A3E10}"/>
          </ac:spMkLst>
        </pc:spChg>
        <pc:spChg chg="mod">
          <ac:chgData name="Robert Lalhlimpuia [Chillibreeze]" userId="8fe5ebfe-980d-441d-bbff-8c5265b810b8" providerId="ADAL" clId="{8604BD65-8997-4357-BA60-019791E2ED85}" dt="2024-06-12T11:43:57.474" v="4429" actId="571"/>
          <ac:spMkLst>
            <pc:docMk/>
            <pc:sldMk cId="0" sldId="329"/>
            <ac:spMk id="62" creationId="{59442576-7774-188A-A049-6198489E6D92}"/>
          </ac:spMkLst>
        </pc:spChg>
        <pc:spChg chg="mod">
          <ac:chgData name="Robert Lalhlimpuia [Chillibreeze]" userId="8fe5ebfe-980d-441d-bbff-8c5265b810b8" providerId="ADAL" clId="{8604BD65-8997-4357-BA60-019791E2ED85}" dt="2024-06-13T06:03:57.894" v="6697" actId="571"/>
          <ac:spMkLst>
            <pc:docMk/>
            <pc:sldMk cId="0" sldId="329"/>
            <ac:spMk id="63" creationId="{048EFC2B-FA8A-0E3D-C3F2-0B179E3CA792}"/>
          </ac:spMkLst>
        </pc:spChg>
        <pc:spChg chg="mod">
          <ac:chgData name="Robert Lalhlimpuia [Chillibreeze]" userId="8fe5ebfe-980d-441d-bbff-8c5265b810b8" providerId="ADAL" clId="{8604BD65-8997-4357-BA60-019791E2ED85}" dt="2024-06-12T11:43:57.474" v="4429" actId="571"/>
          <ac:spMkLst>
            <pc:docMk/>
            <pc:sldMk cId="0" sldId="329"/>
            <ac:spMk id="63" creationId="{E36E7DB7-1EEB-9D80-8D3C-F73952BF9AC1}"/>
          </ac:spMkLst>
        </pc:spChg>
        <pc:spChg chg="mod">
          <ac:chgData name="Robert Lalhlimpuia [Chillibreeze]" userId="8fe5ebfe-980d-441d-bbff-8c5265b810b8" providerId="ADAL" clId="{8604BD65-8997-4357-BA60-019791E2ED85}" dt="2024-06-12T11:43:57.474" v="4429" actId="571"/>
          <ac:spMkLst>
            <pc:docMk/>
            <pc:sldMk cId="0" sldId="329"/>
            <ac:spMk id="5440" creationId="{4C518E12-7C29-7AC7-A603-39DAF4190F3C}"/>
          </ac:spMkLst>
        </pc:spChg>
        <pc:spChg chg="mod">
          <ac:chgData name="Robert Lalhlimpuia [Chillibreeze]" userId="8fe5ebfe-980d-441d-bbff-8c5265b810b8" providerId="ADAL" clId="{8604BD65-8997-4357-BA60-019791E2ED85}" dt="2024-06-12T11:43:57.474" v="4429" actId="571"/>
          <ac:spMkLst>
            <pc:docMk/>
            <pc:sldMk cId="0" sldId="329"/>
            <ac:spMk id="5441" creationId="{1B86DAFF-3C49-DEB4-0402-92CD0F270FDB}"/>
          </ac:spMkLst>
        </pc:spChg>
        <pc:spChg chg="mod">
          <ac:chgData name="Robert Lalhlimpuia [Chillibreeze]" userId="8fe5ebfe-980d-441d-bbff-8c5265b810b8" providerId="ADAL" clId="{8604BD65-8997-4357-BA60-019791E2ED85}" dt="2024-06-13T06:05:56.676" v="6720"/>
          <ac:spMkLst>
            <pc:docMk/>
            <pc:sldMk cId="0" sldId="329"/>
            <ac:spMk id="5441" creationId="{9FC7001F-9EC1-5EAE-4C5F-13198ADE8FA2}"/>
          </ac:spMkLst>
        </pc:spChg>
        <pc:spChg chg="mod">
          <ac:chgData name="Robert Lalhlimpuia [Chillibreeze]" userId="8fe5ebfe-980d-441d-bbff-8c5265b810b8" providerId="ADAL" clId="{8604BD65-8997-4357-BA60-019791E2ED85}" dt="2024-06-13T06:05:56.676" v="6720"/>
          <ac:spMkLst>
            <pc:docMk/>
            <pc:sldMk cId="0" sldId="329"/>
            <ac:spMk id="5442" creationId="{31F291FC-AB3B-B170-8404-81BB04201005}"/>
          </ac:spMkLst>
        </pc:spChg>
        <pc:spChg chg="mod">
          <ac:chgData name="Robert Lalhlimpuia [Chillibreeze]" userId="8fe5ebfe-980d-441d-bbff-8c5265b810b8" providerId="ADAL" clId="{8604BD65-8997-4357-BA60-019791E2ED85}" dt="2024-06-12T11:43:57.474" v="4429" actId="571"/>
          <ac:spMkLst>
            <pc:docMk/>
            <pc:sldMk cId="0" sldId="329"/>
            <ac:spMk id="5442" creationId="{AB04441C-E80E-EBED-09D6-A118DCBB9995}"/>
          </ac:spMkLst>
        </pc:spChg>
        <pc:spChg chg="mod">
          <ac:chgData name="Robert Lalhlimpuia [Chillibreeze]" userId="8fe5ebfe-980d-441d-bbff-8c5265b810b8" providerId="ADAL" clId="{8604BD65-8997-4357-BA60-019791E2ED85}" dt="2024-06-13T06:05:56.676" v="6720"/>
          <ac:spMkLst>
            <pc:docMk/>
            <pc:sldMk cId="0" sldId="329"/>
            <ac:spMk id="5443" creationId="{29535675-649A-FE69-BFF8-F16A83599134}"/>
          </ac:spMkLst>
        </pc:spChg>
        <pc:spChg chg="add del mod">
          <ac:chgData name="Robert Lalhlimpuia [Chillibreeze]" userId="8fe5ebfe-980d-441d-bbff-8c5265b810b8" providerId="ADAL" clId="{8604BD65-8997-4357-BA60-019791E2ED85}" dt="2024-06-12T13:28:24.472" v="5912" actId="21"/>
          <ac:spMkLst>
            <pc:docMk/>
            <pc:sldMk cId="0" sldId="329"/>
            <ac:spMk id="5443" creationId="{D269E214-AFF2-B4BC-C877-2DCB9559CCFF}"/>
          </ac:spMkLst>
        </pc:spChg>
        <pc:spChg chg="mod">
          <ac:chgData name="Robert Lalhlimpuia [Chillibreeze]" userId="8fe5ebfe-980d-441d-bbff-8c5265b810b8" providerId="ADAL" clId="{8604BD65-8997-4357-BA60-019791E2ED85}" dt="2024-06-13T06:05:56.676" v="6720"/>
          <ac:spMkLst>
            <pc:docMk/>
            <pc:sldMk cId="0" sldId="329"/>
            <ac:spMk id="5444" creationId="{0C22B98E-1F77-F2E5-F9BF-E049511DD02C}"/>
          </ac:spMkLst>
        </pc:spChg>
        <pc:spChg chg="mod">
          <ac:chgData name="Robert Lalhlimpuia [Chillibreeze]" userId="8fe5ebfe-980d-441d-bbff-8c5265b810b8" providerId="ADAL" clId="{8604BD65-8997-4357-BA60-019791E2ED85}" dt="2024-06-12T11:44:05.209" v="4431" actId="571"/>
          <ac:spMkLst>
            <pc:docMk/>
            <pc:sldMk cId="0" sldId="329"/>
            <ac:spMk id="5445" creationId="{102461E0-D99D-D515-0E29-50211C5ED397}"/>
          </ac:spMkLst>
        </pc:spChg>
        <pc:spChg chg="mod">
          <ac:chgData name="Robert Lalhlimpuia [Chillibreeze]" userId="8fe5ebfe-980d-441d-bbff-8c5265b810b8" providerId="ADAL" clId="{8604BD65-8997-4357-BA60-019791E2ED85}" dt="2024-06-13T06:05:56.676" v="6720"/>
          <ac:spMkLst>
            <pc:docMk/>
            <pc:sldMk cId="0" sldId="329"/>
            <ac:spMk id="5445" creationId="{BF0440CE-C825-9D73-4106-F4EABB3B58FC}"/>
          </ac:spMkLst>
        </pc:spChg>
        <pc:spChg chg="mod">
          <ac:chgData name="Robert Lalhlimpuia [Chillibreeze]" userId="8fe5ebfe-980d-441d-bbff-8c5265b810b8" providerId="ADAL" clId="{8604BD65-8997-4357-BA60-019791E2ED85}" dt="2024-06-12T11:44:05.209" v="4431" actId="571"/>
          <ac:spMkLst>
            <pc:docMk/>
            <pc:sldMk cId="0" sldId="329"/>
            <ac:spMk id="5446" creationId="{5A40F510-73CE-B3EE-4F1A-4010A79007FD}"/>
          </ac:spMkLst>
        </pc:spChg>
        <pc:spChg chg="mod">
          <ac:chgData name="Robert Lalhlimpuia [Chillibreeze]" userId="8fe5ebfe-980d-441d-bbff-8c5265b810b8" providerId="ADAL" clId="{8604BD65-8997-4357-BA60-019791E2ED85}" dt="2024-06-12T11:44:05.209" v="4431" actId="571"/>
          <ac:spMkLst>
            <pc:docMk/>
            <pc:sldMk cId="0" sldId="329"/>
            <ac:spMk id="5447" creationId="{5FA3CA04-43A5-F2BD-2A61-BFDE1A597711}"/>
          </ac:spMkLst>
        </pc:spChg>
        <pc:spChg chg="mod">
          <ac:chgData name="Robert Lalhlimpuia [Chillibreeze]" userId="8fe5ebfe-980d-441d-bbff-8c5265b810b8" providerId="ADAL" clId="{8604BD65-8997-4357-BA60-019791E2ED85}" dt="2024-06-12T11:44:05.209" v="4431" actId="571"/>
          <ac:spMkLst>
            <pc:docMk/>
            <pc:sldMk cId="0" sldId="329"/>
            <ac:spMk id="5448" creationId="{228C43D6-65B7-63A5-232D-21A1B6F36443}"/>
          </ac:spMkLst>
        </pc:spChg>
        <pc:spChg chg="mod">
          <ac:chgData name="Robert Lalhlimpuia [Chillibreeze]" userId="8fe5ebfe-980d-441d-bbff-8c5265b810b8" providerId="ADAL" clId="{8604BD65-8997-4357-BA60-019791E2ED85}" dt="2024-06-12T11:44:05.209" v="4431" actId="571"/>
          <ac:spMkLst>
            <pc:docMk/>
            <pc:sldMk cId="0" sldId="329"/>
            <ac:spMk id="5449" creationId="{8EB183D6-76E8-49DC-0792-6290495EA6D8}"/>
          </ac:spMkLst>
        </pc:spChg>
        <pc:spChg chg="mod">
          <ac:chgData name="Robert Lalhlimpuia [Chillibreeze]" userId="8fe5ebfe-980d-441d-bbff-8c5265b810b8" providerId="ADAL" clId="{8604BD65-8997-4357-BA60-019791E2ED85}" dt="2024-06-13T06:05:58.626" v="6722"/>
          <ac:spMkLst>
            <pc:docMk/>
            <pc:sldMk cId="0" sldId="329"/>
            <ac:spMk id="5451" creationId="{9B2F0560-7ACA-30BA-AFD9-8A02D3895BB9}"/>
          </ac:spMkLst>
        </pc:spChg>
        <pc:spChg chg="mod">
          <ac:chgData name="Robert Lalhlimpuia [Chillibreeze]" userId="8fe5ebfe-980d-441d-bbff-8c5265b810b8" providerId="ADAL" clId="{8604BD65-8997-4357-BA60-019791E2ED85}" dt="2024-06-12T11:45:16.536" v="4450" actId="692"/>
          <ac:spMkLst>
            <pc:docMk/>
            <pc:sldMk cId="0" sldId="329"/>
            <ac:spMk id="5451" creationId="{A2222A49-7D54-ABDD-680C-AF23981CC6B3}"/>
          </ac:spMkLst>
        </pc:spChg>
        <pc:spChg chg="mod">
          <ac:chgData name="Robert Lalhlimpuia [Chillibreeze]" userId="8fe5ebfe-980d-441d-bbff-8c5265b810b8" providerId="ADAL" clId="{8604BD65-8997-4357-BA60-019791E2ED85}" dt="2024-06-12T11:45:16.536" v="4450" actId="692"/>
          <ac:spMkLst>
            <pc:docMk/>
            <pc:sldMk cId="0" sldId="329"/>
            <ac:spMk id="5452" creationId="{7C9C90E4-430C-008B-8621-FEFB0A65AB1A}"/>
          </ac:spMkLst>
        </pc:spChg>
        <pc:spChg chg="mod">
          <ac:chgData name="Robert Lalhlimpuia [Chillibreeze]" userId="8fe5ebfe-980d-441d-bbff-8c5265b810b8" providerId="ADAL" clId="{8604BD65-8997-4357-BA60-019791E2ED85}" dt="2024-06-13T06:05:58.626" v="6722"/>
          <ac:spMkLst>
            <pc:docMk/>
            <pc:sldMk cId="0" sldId="329"/>
            <ac:spMk id="5452" creationId="{9814B627-20AD-9BEF-E4CF-5F13DFBEE22E}"/>
          </ac:spMkLst>
        </pc:spChg>
        <pc:spChg chg="mod">
          <ac:chgData name="Robert Lalhlimpuia [Chillibreeze]" userId="8fe5ebfe-980d-441d-bbff-8c5265b810b8" providerId="ADAL" clId="{8604BD65-8997-4357-BA60-019791E2ED85}" dt="2024-06-12T11:45:16.536" v="4450" actId="692"/>
          <ac:spMkLst>
            <pc:docMk/>
            <pc:sldMk cId="0" sldId="329"/>
            <ac:spMk id="5453" creationId="{38A78BF6-D8E0-24B6-A829-F09D60D02277}"/>
          </ac:spMkLst>
        </pc:spChg>
        <pc:spChg chg="mod">
          <ac:chgData name="Robert Lalhlimpuia [Chillibreeze]" userId="8fe5ebfe-980d-441d-bbff-8c5265b810b8" providerId="ADAL" clId="{8604BD65-8997-4357-BA60-019791E2ED85}" dt="2024-06-13T06:05:58.626" v="6722"/>
          <ac:spMkLst>
            <pc:docMk/>
            <pc:sldMk cId="0" sldId="329"/>
            <ac:spMk id="5453" creationId="{F51B9602-71EF-617D-F3B7-DCAC854C7C9A}"/>
          </ac:spMkLst>
        </pc:spChg>
        <pc:spChg chg="mod">
          <ac:chgData name="Robert Lalhlimpuia [Chillibreeze]" userId="8fe5ebfe-980d-441d-bbff-8c5265b810b8" providerId="ADAL" clId="{8604BD65-8997-4357-BA60-019791E2ED85}" dt="2024-06-12T11:45:16.536" v="4450" actId="692"/>
          <ac:spMkLst>
            <pc:docMk/>
            <pc:sldMk cId="0" sldId="329"/>
            <ac:spMk id="5454" creationId="{8547B1D0-C744-B195-F6B7-B80A5821F2EC}"/>
          </ac:spMkLst>
        </pc:spChg>
        <pc:spChg chg="mod">
          <ac:chgData name="Robert Lalhlimpuia [Chillibreeze]" userId="8fe5ebfe-980d-441d-bbff-8c5265b810b8" providerId="ADAL" clId="{8604BD65-8997-4357-BA60-019791E2ED85}" dt="2024-06-13T06:05:58.626" v="6722"/>
          <ac:spMkLst>
            <pc:docMk/>
            <pc:sldMk cId="0" sldId="329"/>
            <ac:spMk id="5454" creationId="{89C36747-E31A-933D-1A56-83E3B45729BE}"/>
          </ac:spMkLst>
        </pc:spChg>
        <pc:spChg chg="mod">
          <ac:chgData name="Robert Lalhlimpuia [Chillibreeze]" userId="8fe5ebfe-980d-441d-bbff-8c5265b810b8" providerId="ADAL" clId="{8604BD65-8997-4357-BA60-019791E2ED85}" dt="2024-06-13T06:05:58.626" v="6722"/>
          <ac:spMkLst>
            <pc:docMk/>
            <pc:sldMk cId="0" sldId="329"/>
            <ac:spMk id="5455" creationId="{2ADE158C-F4AB-6802-EDC9-5DB113D7DCE8}"/>
          </ac:spMkLst>
        </pc:spChg>
        <pc:spChg chg="mod">
          <ac:chgData name="Robert Lalhlimpuia [Chillibreeze]" userId="8fe5ebfe-980d-441d-bbff-8c5265b810b8" providerId="ADAL" clId="{8604BD65-8997-4357-BA60-019791E2ED85}" dt="2024-06-12T11:45:16.536" v="4450" actId="692"/>
          <ac:spMkLst>
            <pc:docMk/>
            <pc:sldMk cId="0" sldId="329"/>
            <ac:spMk id="5455" creationId="{753F519D-3DDF-4CC8-69D1-024460781DCD}"/>
          </ac:spMkLst>
        </pc:spChg>
        <pc:spChg chg="mod">
          <ac:chgData name="Robert Lalhlimpuia [Chillibreeze]" userId="8fe5ebfe-980d-441d-bbff-8c5265b810b8" providerId="ADAL" clId="{8604BD65-8997-4357-BA60-019791E2ED85}" dt="2024-06-13T06:05:58.626" v="6722"/>
          <ac:spMkLst>
            <pc:docMk/>
            <pc:sldMk cId="0" sldId="329"/>
            <ac:spMk id="5456" creationId="{3E472F8E-DE2A-6AEA-3555-7BF95257F16E}"/>
          </ac:spMkLst>
        </pc:spChg>
        <pc:spChg chg="add mod">
          <ac:chgData name="Robert Lalhlimpuia [Chillibreeze]" userId="8fe5ebfe-980d-441d-bbff-8c5265b810b8" providerId="ADAL" clId="{8604BD65-8997-4357-BA60-019791E2ED85}" dt="2024-06-12T11:45:25.016" v="4453" actId="571"/>
          <ac:spMkLst>
            <pc:docMk/>
            <pc:sldMk cId="0" sldId="329"/>
            <ac:spMk id="5456" creationId="{C61534A7-CCA8-8D28-A0A1-83726A3B576B}"/>
          </ac:spMkLst>
        </pc:spChg>
        <pc:spChg chg="mod">
          <ac:chgData name="Robert Lalhlimpuia [Chillibreeze]" userId="8fe5ebfe-980d-441d-bbff-8c5265b810b8" providerId="ADAL" clId="{8604BD65-8997-4357-BA60-019791E2ED85}" dt="2024-06-13T06:05:58.626" v="6722"/>
          <ac:spMkLst>
            <pc:docMk/>
            <pc:sldMk cId="0" sldId="329"/>
            <ac:spMk id="5457" creationId="{ECD721C1-C25A-028D-958B-729BA609B997}"/>
          </ac:spMkLst>
        </pc:spChg>
        <pc:spChg chg="mod">
          <ac:chgData name="Robert Lalhlimpuia [Chillibreeze]" userId="8fe5ebfe-980d-441d-bbff-8c5265b810b8" providerId="ADAL" clId="{8604BD65-8997-4357-BA60-019791E2ED85}" dt="2024-06-12T11:45:25.016" v="4453" actId="571"/>
          <ac:spMkLst>
            <pc:docMk/>
            <pc:sldMk cId="0" sldId="329"/>
            <ac:spMk id="5458" creationId="{924210FC-A088-CEA6-9747-B698CC4651B2}"/>
          </ac:spMkLst>
        </pc:spChg>
        <pc:spChg chg="mod">
          <ac:chgData name="Robert Lalhlimpuia [Chillibreeze]" userId="8fe5ebfe-980d-441d-bbff-8c5265b810b8" providerId="ADAL" clId="{8604BD65-8997-4357-BA60-019791E2ED85}" dt="2024-06-13T06:05:58.626" v="6722"/>
          <ac:spMkLst>
            <pc:docMk/>
            <pc:sldMk cId="0" sldId="329"/>
            <ac:spMk id="5458" creationId="{A61747CD-CAA2-2DE0-65C7-F2FAAF6CC3C0}"/>
          </ac:spMkLst>
        </pc:spChg>
        <pc:spChg chg="mod">
          <ac:chgData name="Robert Lalhlimpuia [Chillibreeze]" userId="8fe5ebfe-980d-441d-bbff-8c5265b810b8" providerId="ADAL" clId="{8604BD65-8997-4357-BA60-019791E2ED85}" dt="2024-06-13T06:05:58.626" v="6722"/>
          <ac:spMkLst>
            <pc:docMk/>
            <pc:sldMk cId="0" sldId="329"/>
            <ac:spMk id="5459" creationId="{2418E3DB-6A6F-8E98-C230-E2C88CD16116}"/>
          </ac:spMkLst>
        </pc:spChg>
        <pc:spChg chg="mod">
          <ac:chgData name="Robert Lalhlimpuia [Chillibreeze]" userId="8fe5ebfe-980d-441d-bbff-8c5265b810b8" providerId="ADAL" clId="{8604BD65-8997-4357-BA60-019791E2ED85}" dt="2024-06-12T11:45:25.016" v="4453" actId="571"/>
          <ac:spMkLst>
            <pc:docMk/>
            <pc:sldMk cId="0" sldId="329"/>
            <ac:spMk id="5459" creationId="{6E48D34E-6D14-2252-77E4-AA7720B54CF7}"/>
          </ac:spMkLst>
        </pc:spChg>
        <pc:spChg chg="mod">
          <ac:chgData name="Robert Lalhlimpuia [Chillibreeze]" userId="8fe5ebfe-980d-441d-bbff-8c5265b810b8" providerId="ADAL" clId="{8604BD65-8997-4357-BA60-019791E2ED85}" dt="2024-06-12T11:45:25.016" v="4453" actId="571"/>
          <ac:spMkLst>
            <pc:docMk/>
            <pc:sldMk cId="0" sldId="329"/>
            <ac:spMk id="5460" creationId="{1287ECD7-BF41-A3C2-4365-FC858E98C2FA}"/>
          </ac:spMkLst>
        </pc:spChg>
        <pc:spChg chg="mod">
          <ac:chgData name="Robert Lalhlimpuia [Chillibreeze]" userId="8fe5ebfe-980d-441d-bbff-8c5265b810b8" providerId="ADAL" clId="{8604BD65-8997-4357-BA60-019791E2ED85}" dt="2024-06-13T06:05:58.626" v="6722"/>
          <ac:spMkLst>
            <pc:docMk/>
            <pc:sldMk cId="0" sldId="329"/>
            <ac:spMk id="5460" creationId="{E8E8E71B-EA54-09C6-F2A2-945105A7C1BD}"/>
          </ac:spMkLst>
        </pc:spChg>
        <pc:spChg chg="mod">
          <ac:chgData name="Robert Lalhlimpuia [Chillibreeze]" userId="8fe5ebfe-980d-441d-bbff-8c5265b810b8" providerId="ADAL" clId="{8604BD65-8997-4357-BA60-019791E2ED85}" dt="2024-06-13T06:05:58.626" v="6722"/>
          <ac:spMkLst>
            <pc:docMk/>
            <pc:sldMk cId="0" sldId="329"/>
            <ac:spMk id="5461" creationId="{132FF052-1E6F-CC13-AE63-34A45617E0AD}"/>
          </ac:spMkLst>
        </pc:spChg>
        <pc:spChg chg="mod">
          <ac:chgData name="Robert Lalhlimpuia [Chillibreeze]" userId="8fe5ebfe-980d-441d-bbff-8c5265b810b8" providerId="ADAL" clId="{8604BD65-8997-4357-BA60-019791E2ED85}" dt="2024-06-12T11:45:25.016" v="4453" actId="571"/>
          <ac:spMkLst>
            <pc:docMk/>
            <pc:sldMk cId="0" sldId="329"/>
            <ac:spMk id="5461" creationId="{A71354EE-77C3-39F9-0CDD-0641C2BFD55F}"/>
          </ac:spMkLst>
        </pc:spChg>
        <pc:spChg chg="mod">
          <ac:chgData name="Robert Lalhlimpuia [Chillibreeze]" userId="8fe5ebfe-980d-441d-bbff-8c5265b810b8" providerId="ADAL" clId="{8604BD65-8997-4357-BA60-019791E2ED85}" dt="2024-06-13T06:05:58.626" v="6722"/>
          <ac:spMkLst>
            <pc:docMk/>
            <pc:sldMk cId="0" sldId="329"/>
            <ac:spMk id="5462" creationId="{04E2BDBC-7F99-3EEB-2E92-53BF475B969A}"/>
          </ac:spMkLst>
        </pc:spChg>
        <pc:spChg chg="del mod ord">
          <ac:chgData name="Robert Lalhlimpuia [Chillibreeze]" userId="8fe5ebfe-980d-441d-bbff-8c5265b810b8" providerId="ADAL" clId="{8604BD65-8997-4357-BA60-019791E2ED85}" dt="2024-06-12T13:04:42.554" v="5381" actId="21"/>
          <ac:spMkLst>
            <pc:docMk/>
            <pc:sldMk cId="0" sldId="329"/>
            <ac:spMk id="5463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3T06:05:58.626" v="6722"/>
          <ac:spMkLst>
            <pc:docMk/>
            <pc:sldMk cId="0" sldId="329"/>
            <ac:spMk id="5463" creationId="{B678C0B7-4DC6-846A-5FBF-B7AA98D82318}"/>
          </ac:spMkLst>
        </pc:spChg>
        <pc:spChg chg="del">
          <ac:chgData name="Robert Lalhlimpuia [Chillibreeze]" userId="8fe5ebfe-980d-441d-bbff-8c5265b810b8" providerId="ADAL" clId="{8604BD65-8997-4357-BA60-019791E2ED85}" dt="2024-06-12T11:24:22.746" v="3785" actId="21"/>
          <ac:spMkLst>
            <pc:docMk/>
            <pc:sldMk cId="0" sldId="329"/>
            <ac:spMk id="5464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3T06:05:58.626" v="6722"/>
          <ac:spMkLst>
            <pc:docMk/>
            <pc:sldMk cId="0" sldId="329"/>
            <ac:spMk id="5464" creationId="{2850108F-5056-AF8B-F2D0-F6B6145E3CC8}"/>
          </ac:spMkLst>
        </pc:spChg>
        <pc:spChg chg="mod">
          <ac:chgData name="Robert Lalhlimpuia [Chillibreeze]" userId="8fe5ebfe-980d-441d-bbff-8c5265b810b8" providerId="ADAL" clId="{8604BD65-8997-4357-BA60-019791E2ED85}" dt="2024-06-13T06:05:58.626" v="6722"/>
          <ac:spMkLst>
            <pc:docMk/>
            <pc:sldMk cId="0" sldId="329"/>
            <ac:spMk id="5465" creationId="{AFD5B6A3-29B3-3ECE-ED41-508AC138B170}"/>
          </ac:spMkLst>
        </pc:spChg>
        <pc:spChg chg="mod ord topLvl">
          <ac:chgData name="Robert Lalhlimpuia [Chillibreeze]" userId="8fe5ebfe-980d-441d-bbff-8c5265b810b8" providerId="ADAL" clId="{8604BD65-8997-4357-BA60-019791E2ED85}" dt="2024-06-13T06:02:58.766" v="6677" actId="12789"/>
          <ac:spMkLst>
            <pc:docMk/>
            <pc:sldMk cId="0" sldId="329"/>
            <ac:spMk id="5466" creationId="{00000000-0000-0000-0000-000000000000}"/>
          </ac:spMkLst>
        </pc:spChg>
        <pc:spChg chg="mod ord topLvl">
          <ac:chgData name="Robert Lalhlimpuia [Chillibreeze]" userId="8fe5ebfe-980d-441d-bbff-8c5265b810b8" providerId="ADAL" clId="{8604BD65-8997-4357-BA60-019791E2ED85}" dt="2024-06-13T06:03:26.640" v="6688" actId="12788"/>
          <ac:spMkLst>
            <pc:docMk/>
            <pc:sldMk cId="0" sldId="329"/>
            <ac:spMk id="5467" creationId="{00000000-0000-0000-0000-000000000000}"/>
          </ac:spMkLst>
        </pc:spChg>
        <pc:spChg chg="mod ord topLvl">
          <ac:chgData name="Robert Lalhlimpuia [Chillibreeze]" userId="8fe5ebfe-980d-441d-bbff-8c5265b810b8" providerId="ADAL" clId="{8604BD65-8997-4357-BA60-019791E2ED85}" dt="2024-06-13T06:03:29.792" v="6689" actId="12788"/>
          <ac:spMkLst>
            <pc:docMk/>
            <pc:sldMk cId="0" sldId="329"/>
            <ac:spMk id="5468" creationId="{00000000-0000-0000-0000-000000000000}"/>
          </ac:spMkLst>
        </pc:spChg>
        <pc:spChg chg="mod ord topLvl">
          <ac:chgData name="Robert Lalhlimpuia [Chillibreeze]" userId="8fe5ebfe-980d-441d-bbff-8c5265b810b8" providerId="ADAL" clId="{8604BD65-8997-4357-BA60-019791E2ED85}" dt="2024-06-13T06:03:33.185" v="6690" actId="12788"/>
          <ac:spMkLst>
            <pc:docMk/>
            <pc:sldMk cId="0" sldId="329"/>
            <ac:spMk id="5469" creationId="{00000000-0000-0000-0000-000000000000}"/>
          </ac:spMkLst>
        </pc:spChg>
        <pc:spChg chg="mod ord topLvl">
          <ac:chgData name="Robert Lalhlimpuia [Chillibreeze]" userId="8fe5ebfe-980d-441d-bbff-8c5265b810b8" providerId="ADAL" clId="{8604BD65-8997-4357-BA60-019791E2ED85}" dt="2024-06-12T11:30:00.433" v="4271"/>
          <ac:spMkLst>
            <pc:docMk/>
            <pc:sldMk cId="0" sldId="329"/>
            <ac:spMk id="5470" creationId="{00000000-0000-0000-0000-000000000000}"/>
          </ac:spMkLst>
        </pc:spChg>
        <pc:spChg chg="del mod ord">
          <ac:chgData name="Robert Lalhlimpuia [Chillibreeze]" userId="8fe5ebfe-980d-441d-bbff-8c5265b810b8" providerId="ADAL" clId="{8604BD65-8997-4357-BA60-019791E2ED85}" dt="2024-06-12T13:04:41.785" v="5380" actId="21"/>
          <ac:spMkLst>
            <pc:docMk/>
            <pc:sldMk cId="0" sldId="329"/>
            <ac:spMk id="5471" creationId="{00000000-0000-0000-0000-000000000000}"/>
          </ac:spMkLst>
        </pc:spChg>
        <pc:spChg chg="mod ord topLvl">
          <ac:chgData name="Robert Lalhlimpuia [Chillibreeze]" userId="8fe5ebfe-980d-441d-bbff-8c5265b810b8" providerId="ADAL" clId="{8604BD65-8997-4357-BA60-019791E2ED85}" dt="2024-06-12T11:40:44.057" v="4378" actId="404"/>
          <ac:spMkLst>
            <pc:docMk/>
            <pc:sldMk cId="0" sldId="329"/>
            <ac:spMk id="5472" creationId="{00000000-0000-0000-0000-000000000000}"/>
          </ac:spMkLst>
        </pc:spChg>
        <pc:spChg chg="mod ord topLvl">
          <ac:chgData name="Robert Lalhlimpuia [Chillibreeze]" userId="8fe5ebfe-980d-441d-bbff-8c5265b810b8" providerId="ADAL" clId="{8604BD65-8997-4357-BA60-019791E2ED85}" dt="2024-06-12T11:41:31.080" v="4393" actId="207"/>
          <ac:spMkLst>
            <pc:docMk/>
            <pc:sldMk cId="0" sldId="329"/>
            <ac:spMk id="5473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2T11:25:46.230" v="3859" actId="165"/>
          <ac:spMkLst>
            <pc:docMk/>
            <pc:sldMk cId="0" sldId="329"/>
            <ac:spMk id="5475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2T11:25:46.230" v="3859" actId="165"/>
          <ac:spMkLst>
            <pc:docMk/>
            <pc:sldMk cId="0" sldId="329"/>
            <ac:spMk id="5476" creationId="{00000000-0000-0000-0000-000000000000}"/>
          </ac:spMkLst>
        </pc:spChg>
        <pc:spChg chg="del mod ord topLvl">
          <ac:chgData name="Robert Lalhlimpuia [Chillibreeze]" userId="8fe5ebfe-980d-441d-bbff-8c5265b810b8" providerId="ADAL" clId="{8604BD65-8997-4357-BA60-019791E2ED85}" dt="2024-06-12T11:38:54.594" v="4301" actId="21"/>
          <ac:spMkLst>
            <pc:docMk/>
            <pc:sldMk cId="0" sldId="329"/>
            <ac:spMk id="5477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3T06:05:55.315" v="6718"/>
          <ac:spMkLst>
            <pc:docMk/>
            <pc:sldMk cId="0" sldId="329"/>
            <ac:spMk id="5477" creationId="{7D15F992-4925-103B-7D76-1292D78AD5B3}"/>
          </ac:spMkLst>
        </pc:spChg>
        <pc:spChg chg="del mod ord topLvl">
          <ac:chgData name="Robert Lalhlimpuia [Chillibreeze]" userId="8fe5ebfe-980d-441d-bbff-8c5265b810b8" providerId="ADAL" clId="{8604BD65-8997-4357-BA60-019791E2ED85}" dt="2024-06-12T11:38:54.594" v="4301" actId="21"/>
          <ac:spMkLst>
            <pc:docMk/>
            <pc:sldMk cId="0" sldId="329"/>
            <ac:spMk id="5478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3T06:05:55.315" v="6718"/>
          <ac:spMkLst>
            <pc:docMk/>
            <pc:sldMk cId="0" sldId="329"/>
            <ac:spMk id="5478" creationId="{BBBAEFD4-0ACD-2DC3-D984-627F4CE7472E}"/>
          </ac:spMkLst>
        </pc:spChg>
        <pc:spChg chg="del mod ord topLvl">
          <ac:chgData name="Robert Lalhlimpuia [Chillibreeze]" userId="8fe5ebfe-980d-441d-bbff-8c5265b810b8" providerId="ADAL" clId="{8604BD65-8997-4357-BA60-019791E2ED85}" dt="2024-06-12T11:38:54.594" v="4301" actId="21"/>
          <ac:spMkLst>
            <pc:docMk/>
            <pc:sldMk cId="0" sldId="329"/>
            <ac:spMk id="5479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3T06:05:55.315" v="6718"/>
          <ac:spMkLst>
            <pc:docMk/>
            <pc:sldMk cId="0" sldId="329"/>
            <ac:spMk id="5479" creationId="{0D2B96A5-4E5D-D926-7FF1-A6CBBF7DAE34}"/>
          </ac:spMkLst>
        </pc:spChg>
        <pc:spChg chg="mod">
          <ac:chgData name="Robert Lalhlimpuia [Chillibreeze]" userId="8fe5ebfe-980d-441d-bbff-8c5265b810b8" providerId="ADAL" clId="{8604BD65-8997-4357-BA60-019791E2ED85}" dt="2024-06-13T06:05:55.315" v="6718"/>
          <ac:spMkLst>
            <pc:docMk/>
            <pc:sldMk cId="0" sldId="329"/>
            <ac:spMk id="5480" creationId="{E6D52BF4-9021-F3EF-88E2-009F73CF1BA0}"/>
          </ac:spMkLst>
        </pc:spChg>
        <pc:spChg chg="mod">
          <ac:chgData name="Robert Lalhlimpuia [Chillibreeze]" userId="8fe5ebfe-980d-441d-bbff-8c5265b810b8" providerId="ADAL" clId="{8604BD65-8997-4357-BA60-019791E2ED85}" dt="2024-06-13T06:05:55.315" v="6718"/>
          <ac:spMkLst>
            <pc:docMk/>
            <pc:sldMk cId="0" sldId="329"/>
            <ac:spMk id="5481" creationId="{7CF2312F-A373-80CB-35B8-B6805A6AA605}"/>
          </ac:spMkLst>
        </pc:spChg>
        <pc:spChg chg="mod">
          <ac:chgData name="Robert Lalhlimpuia [Chillibreeze]" userId="8fe5ebfe-980d-441d-bbff-8c5265b810b8" providerId="ADAL" clId="{8604BD65-8997-4357-BA60-019791E2ED85}" dt="2024-06-13T06:05:55.315" v="6718"/>
          <ac:spMkLst>
            <pc:docMk/>
            <pc:sldMk cId="0" sldId="329"/>
            <ac:spMk id="5482" creationId="{8E2383DC-5418-662F-D5FC-706598FD7BF6}"/>
          </ac:spMkLst>
        </pc:spChg>
        <pc:spChg chg="mod">
          <ac:chgData name="Robert Lalhlimpuia [Chillibreeze]" userId="8fe5ebfe-980d-441d-bbff-8c5265b810b8" providerId="ADAL" clId="{8604BD65-8997-4357-BA60-019791E2ED85}" dt="2024-06-13T06:05:55.315" v="6718"/>
          <ac:spMkLst>
            <pc:docMk/>
            <pc:sldMk cId="0" sldId="329"/>
            <ac:spMk id="5483" creationId="{2DCB5257-C584-CFA3-0152-5550BE72E94D}"/>
          </ac:spMkLst>
        </pc:spChg>
        <pc:spChg chg="mod">
          <ac:chgData name="Robert Lalhlimpuia [Chillibreeze]" userId="8fe5ebfe-980d-441d-bbff-8c5265b810b8" providerId="ADAL" clId="{8604BD65-8997-4357-BA60-019791E2ED85}" dt="2024-06-13T06:05:55.315" v="6718"/>
          <ac:spMkLst>
            <pc:docMk/>
            <pc:sldMk cId="0" sldId="329"/>
            <ac:spMk id="5484" creationId="{8BC72834-7A22-4B12-108A-9335A967D0E4}"/>
          </ac:spMkLst>
        </pc:spChg>
        <pc:spChg chg="mod">
          <ac:chgData name="Robert Lalhlimpuia [Chillibreeze]" userId="8fe5ebfe-980d-441d-bbff-8c5265b810b8" providerId="ADAL" clId="{8604BD65-8997-4357-BA60-019791E2ED85}" dt="2024-06-13T06:05:55.315" v="6718"/>
          <ac:spMkLst>
            <pc:docMk/>
            <pc:sldMk cId="0" sldId="329"/>
            <ac:spMk id="5485" creationId="{C9D6559F-A474-A24A-3E22-992717EDC818}"/>
          </ac:spMkLst>
        </pc:spChg>
        <pc:spChg chg="mod">
          <ac:chgData name="Robert Lalhlimpuia [Chillibreeze]" userId="8fe5ebfe-980d-441d-bbff-8c5265b810b8" providerId="ADAL" clId="{8604BD65-8997-4357-BA60-019791E2ED85}" dt="2024-06-13T06:05:55.315" v="6718"/>
          <ac:spMkLst>
            <pc:docMk/>
            <pc:sldMk cId="0" sldId="329"/>
            <ac:spMk id="5486" creationId="{4B3EC17E-9FF4-C323-C246-F86F0254A8E8}"/>
          </ac:spMkLst>
        </pc:spChg>
        <pc:spChg chg="mod">
          <ac:chgData name="Robert Lalhlimpuia [Chillibreeze]" userId="8fe5ebfe-980d-441d-bbff-8c5265b810b8" providerId="ADAL" clId="{8604BD65-8997-4357-BA60-019791E2ED85}" dt="2024-06-13T06:05:55.315" v="6718"/>
          <ac:spMkLst>
            <pc:docMk/>
            <pc:sldMk cId="0" sldId="329"/>
            <ac:spMk id="5487" creationId="{17C022B7-EA8B-D8C6-C216-FBE0E18EEF2C}"/>
          </ac:spMkLst>
        </pc:spChg>
        <pc:spChg chg="mod">
          <ac:chgData name="Robert Lalhlimpuia [Chillibreeze]" userId="8fe5ebfe-980d-441d-bbff-8c5265b810b8" providerId="ADAL" clId="{8604BD65-8997-4357-BA60-019791E2ED85}" dt="2024-06-13T06:05:55.315" v="6718"/>
          <ac:spMkLst>
            <pc:docMk/>
            <pc:sldMk cId="0" sldId="329"/>
            <ac:spMk id="5488" creationId="{AC48D7E4-DC33-F027-E26B-A85C985DBB5B}"/>
          </ac:spMkLst>
        </pc:spChg>
        <pc:spChg chg="mod">
          <ac:chgData name="Robert Lalhlimpuia [Chillibreeze]" userId="8fe5ebfe-980d-441d-bbff-8c5265b810b8" providerId="ADAL" clId="{8604BD65-8997-4357-BA60-019791E2ED85}" dt="2024-06-13T06:05:55.315" v="6718"/>
          <ac:spMkLst>
            <pc:docMk/>
            <pc:sldMk cId="0" sldId="329"/>
            <ac:spMk id="5489" creationId="{E2B41641-0FCF-F61B-1D2A-691664F20C0E}"/>
          </ac:spMkLst>
        </pc:spChg>
        <pc:spChg chg="mod">
          <ac:chgData name="Robert Lalhlimpuia [Chillibreeze]" userId="8fe5ebfe-980d-441d-bbff-8c5265b810b8" providerId="ADAL" clId="{8604BD65-8997-4357-BA60-019791E2ED85}" dt="2024-06-13T06:05:55.315" v="6718"/>
          <ac:spMkLst>
            <pc:docMk/>
            <pc:sldMk cId="0" sldId="329"/>
            <ac:spMk id="5490" creationId="{B793AFBA-6C3B-8340-AD09-BB6F9D0DDA0F}"/>
          </ac:spMkLst>
        </pc:spChg>
        <pc:spChg chg="mod">
          <ac:chgData name="Robert Lalhlimpuia [Chillibreeze]" userId="8fe5ebfe-980d-441d-bbff-8c5265b810b8" providerId="ADAL" clId="{8604BD65-8997-4357-BA60-019791E2ED85}" dt="2024-06-13T06:05:55.315" v="6718"/>
          <ac:spMkLst>
            <pc:docMk/>
            <pc:sldMk cId="0" sldId="329"/>
            <ac:spMk id="5491" creationId="{0980A351-8D55-5AEF-2787-A80DD868BE93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25:55.794" v="3860" actId="478"/>
          <ac:spMkLst>
            <pc:docMk/>
            <pc:sldMk cId="0" sldId="329"/>
            <ac:spMk id="5494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2T11:25:46.230" v="3859" actId="165"/>
          <ac:spMkLst>
            <pc:docMk/>
            <pc:sldMk cId="0" sldId="329"/>
            <ac:spMk id="5496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3T06:06:02.442" v="6724" actId="165"/>
          <ac:spMkLst>
            <pc:docMk/>
            <pc:sldMk cId="0" sldId="329"/>
            <ac:spMk id="5496" creationId="{BF8F7EBD-9445-8E17-5C08-81CF02A68C0E}"/>
          </ac:spMkLst>
        </pc:spChg>
        <pc:spChg chg="mod">
          <ac:chgData name="Robert Lalhlimpuia [Chillibreeze]" userId="8fe5ebfe-980d-441d-bbff-8c5265b810b8" providerId="ADAL" clId="{8604BD65-8997-4357-BA60-019791E2ED85}" dt="2024-06-12T11:25:46.230" v="3859" actId="165"/>
          <ac:spMkLst>
            <pc:docMk/>
            <pc:sldMk cId="0" sldId="329"/>
            <ac:spMk id="5497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3T06:06:02.442" v="6724" actId="165"/>
          <ac:spMkLst>
            <pc:docMk/>
            <pc:sldMk cId="0" sldId="329"/>
            <ac:spMk id="5497" creationId="{DD3775C1-C35C-779F-6929-D89174677A44}"/>
          </ac:spMkLst>
        </pc:spChg>
        <pc:spChg chg="mod ord topLvl">
          <ac:chgData name="Robert Lalhlimpuia [Chillibreeze]" userId="8fe5ebfe-980d-441d-bbff-8c5265b810b8" providerId="ADAL" clId="{8604BD65-8997-4357-BA60-019791E2ED85}" dt="2024-06-12T11:41:31.080" v="4393" actId="207"/>
          <ac:spMkLst>
            <pc:docMk/>
            <pc:sldMk cId="0" sldId="329"/>
            <ac:spMk id="5498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26:03.833" v="3865" actId="478"/>
          <ac:spMkLst>
            <pc:docMk/>
            <pc:sldMk cId="0" sldId="329"/>
            <ac:spMk id="5499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3T06:06:02.442" v="6724" actId="165"/>
          <ac:spMkLst>
            <pc:docMk/>
            <pc:sldMk cId="0" sldId="329"/>
            <ac:spMk id="5499" creationId="{1E3C8107-74F3-458D-848F-14B04428A71C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25:59.599" v="3862" actId="478"/>
          <ac:spMkLst>
            <pc:docMk/>
            <pc:sldMk cId="0" sldId="329"/>
            <ac:spMk id="5500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3T06:06:02.442" v="6724" actId="165"/>
          <ac:spMkLst>
            <pc:docMk/>
            <pc:sldMk cId="0" sldId="329"/>
            <ac:spMk id="5500" creationId="{FE68110A-1C62-868C-CF9C-5D2A6E7525DA}"/>
          </ac:spMkLst>
        </pc:spChg>
        <pc:spChg chg="mod">
          <ac:chgData name="Robert Lalhlimpuia [Chillibreeze]" userId="8fe5ebfe-980d-441d-bbff-8c5265b810b8" providerId="ADAL" clId="{8604BD65-8997-4357-BA60-019791E2ED85}" dt="2024-06-13T06:06:02.442" v="6724" actId="165"/>
          <ac:spMkLst>
            <pc:docMk/>
            <pc:sldMk cId="0" sldId="329"/>
            <ac:spMk id="5501" creationId="{E27E1CA7-1E99-0B69-7BB0-21BC92AA22F5}"/>
          </ac:spMkLst>
        </pc:spChg>
        <pc:spChg chg="mod">
          <ac:chgData name="Robert Lalhlimpuia [Chillibreeze]" userId="8fe5ebfe-980d-441d-bbff-8c5265b810b8" providerId="ADAL" clId="{8604BD65-8997-4357-BA60-019791E2ED85}" dt="2024-06-13T06:06:02.442" v="6724" actId="165"/>
          <ac:spMkLst>
            <pc:docMk/>
            <pc:sldMk cId="0" sldId="329"/>
            <ac:spMk id="5502" creationId="{A35B0EE2-291D-65EB-8495-315827CA1781}"/>
          </ac:spMkLst>
        </pc:spChg>
        <pc:spChg chg="mod">
          <ac:chgData name="Robert Lalhlimpuia [Chillibreeze]" userId="8fe5ebfe-980d-441d-bbff-8c5265b810b8" providerId="ADAL" clId="{8604BD65-8997-4357-BA60-019791E2ED85}" dt="2024-06-13T06:06:02.442" v="6724" actId="165"/>
          <ac:spMkLst>
            <pc:docMk/>
            <pc:sldMk cId="0" sldId="329"/>
            <ac:spMk id="5503" creationId="{B0C1CCB8-F8D9-FCD5-F9B6-86BC59DE2A34}"/>
          </ac:spMkLst>
        </pc:spChg>
        <pc:spChg chg="mod">
          <ac:chgData name="Robert Lalhlimpuia [Chillibreeze]" userId="8fe5ebfe-980d-441d-bbff-8c5265b810b8" providerId="ADAL" clId="{8604BD65-8997-4357-BA60-019791E2ED85}" dt="2024-06-13T06:06:02.442" v="6724" actId="165"/>
          <ac:spMkLst>
            <pc:docMk/>
            <pc:sldMk cId="0" sldId="329"/>
            <ac:spMk id="5504" creationId="{890B0346-9AC7-AA21-99B5-0D8D38F630F8}"/>
          </ac:spMkLst>
        </pc:spChg>
        <pc:spChg chg="mod">
          <ac:chgData name="Robert Lalhlimpuia [Chillibreeze]" userId="8fe5ebfe-980d-441d-bbff-8c5265b810b8" providerId="ADAL" clId="{8604BD65-8997-4357-BA60-019791E2ED85}" dt="2024-06-13T06:06:02.442" v="6724" actId="165"/>
          <ac:spMkLst>
            <pc:docMk/>
            <pc:sldMk cId="0" sldId="329"/>
            <ac:spMk id="5505" creationId="{B0E08DB6-FC4F-179A-AEC5-4E59190322DB}"/>
          </ac:spMkLst>
        </pc:spChg>
        <pc:spChg chg="mod">
          <ac:chgData name="Robert Lalhlimpuia [Chillibreeze]" userId="8fe5ebfe-980d-441d-bbff-8c5265b810b8" providerId="ADAL" clId="{8604BD65-8997-4357-BA60-019791E2ED85}" dt="2024-06-13T06:06:02.442" v="6724" actId="165"/>
          <ac:spMkLst>
            <pc:docMk/>
            <pc:sldMk cId="0" sldId="329"/>
            <ac:spMk id="5506" creationId="{E6732715-0915-A061-6468-96925EE4F2BE}"/>
          </ac:spMkLst>
        </pc:spChg>
        <pc:spChg chg="mod ord">
          <ac:chgData name="Robert Lalhlimpuia [Chillibreeze]" userId="8fe5ebfe-980d-441d-bbff-8c5265b810b8" providerId="ADAL" clId="{8604BD65-8997-4357-BA60-019791E2ED85}" dt="2024-06-12T13:29:32.739" v="5970" actId="404"/>
          <ac:spMkLst>
            <pc:docMk/>
            <pc:sldMk cId="0" sldId="329"/>
            <ac:spMk id="5511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2T11:45:25.016" v="4453" actId="571"/>
          <ac:spMkLst>
            <pc:docMk/>
            <pc:sldMk cId="0" sldId="329"/>
            <ac:spMk id="5512" creationId="{10591F18-7C42-9946-33CE-82DF57387619}"/>
          </ac:spMkLst>
        </pc:spChg>
        <pc:spChg chg="mod">
          <ac:chgData name="Robert Lalhlimpuia [Chillibreeze]" userId="8fe5ebfe-980d-441d-bbff-8c5265b810b8" providerId="ADAL" clId="{8604BD65-8997-4357-BA60-019791E2ED85}" dt="2024-06-12T11:45:28.056" v="4454" actId="571"/>
          <ac:spMkLst>
            <pc:docMk/>
            <pc:sldMk cId="0" sldId="329"/>
            <ac:spMk id="5514" creationId="{6FD1530A-200A-A0DB-DE52-6011BDAE9E01}"/>
          </ac:spMkLst>
        </pc:spChg>
        <pc:spChg chg="mod">
          <ac:chgData name="Robert Lalhlimpuia [Chillibreeze]" userId="8fe5ebfe-980d-441d-bbff-8c5265b810b8" providerId="ADAL" clId="{8604BD65-8997-4357-BA60-019791E2ED85}" dt="2024-06-12T11:45:28.056" v="4454" actId="571"/>
          <ac:spMkLst>
            <pc:docMk/>
            <pc:sldMk cId="0" sldId="329"/>
            <ac:spMk id="5515" creationId="{E9940695-34CD-4FFD-68D6-F681503A30C5}"/>
          </ac:spMkLst>
        </pc:spChg>
        <pc:spChg chg="mod">
          <ac:chgData name="Robert Lalhlimpuia [Chillibreeze]" userId="8fe5ebfe-980d-441d-bbff-8c5265b810b8" providerId="ADAL" clId="{8604BD65-8997-4357-BA60-019791E2ED85}" dt="2024-06-12T11:45:28.056" v="4454" actId="571"/>
          <ac:spMkLst>
            <pc:docMk/>
            <pc:sldMk cId="0" sldId="329"/>
            <ac:spMk id="5516" creationId="{A8829860-3C90-2786-1E66-9FE05E483225}"/>
          </ac:spMkLst>
        </pc:spChg>
        <pc:spChg chg="mod">
          <ac:chgData name="Robert Lalhlimpuia [Chillibreeze]" userId="8fe5ebfe-980d-441d-bbff-8c5265b810b8" providerId="ADAL" clId="{8604BD65-8997-4357-BA60-019791E2ED85}" dt="2024-06-12T11:45:28.056" v="4454" actId="571"/>
          <ac:spMkLst>
            <pc:docMk/>
            <pc:sldMk cId="0" sldId="329"/>
            <ac:spMk id="5517" creationId="{071BCECF-CFAF-0C09-760D-02F002099981}"/>
          </ac:spMkLst>
        </pc:spChg>
        <pc:spChg chg="mod">
          <ac:chgData name="Robert Lalhlimpuia [Chillibreeze]" userId="8fe5ebfe-980d-441d-bbff-8c5265b810b8" providerId="ADAL" clId="{8604BD65-8997-4357-BA60-019791E2ED85}" dt="2024-06-12T11:45:28.056" v="4454" actId="571"/>
          <ac:spMkLst>
            <pc:docMk/>
            <pc:sldMk cId="0" sldId="329"/>
            <ac:spMk id="5518" creationId="{C6A3C298-416C-76EC-F719-27808AAE863D}"/>
          </ac:spMkLst>
        </pc:spChg>
        <pc:spChg chg="mod">
          <ac:chgData name="Robert Lalhlimpuia [Chillibreeze]" userId="8fe5ebfe-980d-441d-bbff-8c5265b810b8" providerId="ADAL" clId="{8604BD65-8997-4357-BA60-019791E2ED85}" dt="2024-06-12T11:45:40.115" v="4461" actId="571"/>
          <ac:spMkLst>
            <pc:docMk/>
            <pc:sldMk cId="0" sldId="329"/>
            <ac:spMk id="5523" creationId="{2D0204B3-4454-E56A-1D24-671246B709EF}"/>
          </ac:spMkLst>
        </pc:spChg>
        <pc:spChg chg="mod">
          <ac:chgData name="Robert Lalhlimpuia [Chillibreeze]" userId="8fe5ebfe-980d-441d-bbff-8c5265b810b8" providerId="ADAL" clId="{8604BD65-8997-4357-BA60-019791E2ED85}" dt="2024-06-12T11:45:40.115" v="4461" actId="571"/>
          <ac:spMkLst>
            <pc:docMk/>
            <pc:sldMk cId="0" sldId="329"/>
            <ac:spMk id="5524" creationId="{AD016388-8BE4-A369-EB41-2195C03F4DE6}"/>
          </ac:spMkLst>
        </pc:spChg>
        <pc:spChg chg="mod">
          <ac:chgData name="Robert Lalhlimpuia [Chillibreeze]" userId="8fe5ebfe-980d-441d-bbff-8c5265b810b8" providerId="ADAL" clId="{8604BD65-8997-4357-BA60-019791E2ED85}" dt="2024-06-12T11:45:40.115" v="4461" actId="571"/>
          <ac:spMkLst>
            <pc:docMk/>
            <pc:sldMk cId="0" sldId="329"/>
            <ac:spMk id="5525" creationId="{07976EAB-6E9C-54F4-5DE8-A93A787FFA8C}"/>
          </ac:spMkLst>
        </pc:spChg>
        <pc:spChg chg="mod">
          <ac:chgData name="Robert Lalhlimpuia [Chillibreeze]" userId="8fe5ebfe-980d-441d-bbff-8c5265b810b8" providerId="ADAL" clId="{8604BD65-8997-4357-BA60-019791E2ED85}" dt="2024-06-12T11:45:40.115" v="4461" actId="571"/>
          <ac:spMkLst>
            <pc:docMk/>
            <pc:sldMk cId="0" sldId="329"/>
            <ac:spMk id="5526" creationId="{107922E1-94DF-6BE5-9FEE-9F4F88C65940}"/>
          </ac:spMkLst>
        </pc:spChg>
        <pc:spChg chg="mod">
          <ac:chgData name="Robert Lalhlimpuia [Chillibreeze]" userId="8fe5ebfe-980d-441d-bbff-8c5265b810b8" providerId="ADAL" clId="{8604BD65-8997-4357-BA60-019791E2ED85}" dt="2024-06-12T11:45:40.115" v="4461" actId="571"/>
          <ac:spMkLst>
            <pc:docMk/>
            <pc:sldMk cId="0" sldId="329"/>
            <ac:spMk id="5527" creationId="{D6A7B459-3632-DF6C-07BA-0C2409FA5807}"/>
          </ac:spMkLst>
        </pc:spChg>
        <pc:spChg chg="mod">
          <ac:chgData name="Robert Lalhlimpuia [Chillibreeze]" userId="8fe5ebfe-980d-441d-bbff-8c5265b810b8" providerId="ADAL" clId="{8604BD65-8997-4357-BA60-019791E2ED85}" dt="2024-06-12T11:45:40.115" v="4461" actId="571"/>
          <ac:spMkLst>
            <pc:docMk/>
            <pc:sldMk cId="0" sldId="329"/>
            <ac:spMk id="5528" creationId="{0FFB8A1B-C75E-63CC-2D50-994D9AF2EC24}"/>
          </ac:spMkLst>
        </pc:spChg>
        <pc:spChg chg="mod">
          <ac:chgData name="Robert Lalhlimpuia [Chillibreeze]" userId="8fe5ebfe-980d-441d-bbff-8c5265b810b8" providerId="ADAL" clId="{8604BD65-8997-4357-BA60-019791E2ED85}" dt="2024-06-12T11:45:40.115" v="4461" actId="571"/>
          <ac:spMkLst>
            <pc:docMk/>
            <pc:sldMk cId="0" sldId="329"/>
            <ac:spMk id="5529" creationId="{44989B0C-F261-8CD1-6F38-E0BB8F306495}"/>
          </ac:spMkLst>
        </pc:spChg>
        <pc:spChg chg="mod">
          <ac:chgData name="Robert Lalhlimpuia [Chillibreeze]" userId="8fe5ebfe-980d-441d-bbff-8c5265b810b8" providerId="ADAL" clId="{8604BD65-8997-4357-BA60-019791E2ED85}" dt="2024-06-12T11:45:40.115" v="4461" actId="571"/>
          <ac:spMkLst>
            <pc:docMk/>
            <pc:sldMk cId="0" sldId="329"/>
            <ac:spMk id="5530" creationId="{6DF2AC8B-2A27-158B-D4D5-0E93653AE2BC}"/>
          </ac:spMkLst>
        </pc:spChg>
        <pc:spChg chg="mod">
          <ac:chgData name="Robert Lalhlimpuia [Chillibreeze]" userId="8fe5ebfe-980d-441d-bbff-8c5265b810b8" providerId="ADAL" clId="{8604BD65-8997-4357-BA60-019791E2ED85}" dt="2024-06-12T11:45:40.115" v="4461" actId="571"/>
          <ac:spMkLst>
            <pc:docMk/>
            <pc:sldMk cId="0" sldId="329"/>
            <ac:spMk id="5531" creationId="{85EF8CF7-2505-A56C-2B7B-B9D5CBC6893D}"/>
          </ac:spMkLst>
        </pc:spChg>
        <pc:spChg chg="mod">
          <ac:chgData name="Robert Lalhlimpuia [Chillibreeze]" userId="8fe5ebfe-980d-441d-bbff-8c5265b810b8" providerId="ADAL" clId="{8604BD65-8997-4357-BA60-019791E2ED85}" dt="2024-06-12T11:45:40.115" v="4461" actId="571"/>
          <ac:spMkLst>
            <pc:docMk/>
            <pc:sldMk cId="0" sldId="329"/>
            <ac:spMk id="5532" creationId="{2A81A767-00AD-0DD9-2181-C2336C915201}"/>
          </ac:spMkLst>
        </pc:spChg>
        <pc:spChg chg="mod">
          <ac:chgData name="Robert Lalhlimpuia [Chillibreeze]" userId="8fe5ebfe-980d-441d-bbff-8c5265b810b8" providerId="ADAL" clId="{8604BD65-8997-4357-BA60-019791E2ED85}" dt="2024-06-12T11:45:41.785" v="4462" actId="571"/>
          <ac:spMkLst>
            <pc:docMk/>
            <pc:sldMk cId="0" sldId="329"/>
            <ac:spMk id="5536" creationId="{2193B271-D26E-AFCC-24D7-37CE4E3DD090}"/>
          </ac:spMkLst>
        </pc:spChg>
        <pc:spChg chg="mod">
          <ac:chgData name="Robert Lalhlimpuia [Chillibreeze]" userId="8fe5ebfe-980d-441d-bbff-8c5265b810b8" providerId="ADAL" clId="{8604BD65-8997-4357-BA60-019791E2ED85}" dt="2024-06-12T11:45:41.785" v="4462" actId="571"/>
          <ac:spMkLst>
            <pc:docMk/>
            <pc:sldMk cId="0" sldId="329"/>
            <ac:spMk id="5537" creationId="{98A7FCE0-CA18-F66E-D7BB-1B160CE0817E}"/>
          </ac:spMkLst>
        </pc:spChg>
        <pc:spChg chg="mod">
          <ac:chgData name="Robert Lalhlimpuia [Chillibreeze]" userId="8fe5ebfe-980d-441d-bbff-8c5265b810b8" providerId="ADAL" clId="{8604BD65-8997-4357-BA60-019791E2ED85}" dt="2024-06-12T11:45:41.785" v="4462" actId="571"/>
          <ac:spMkLst>
            <pc:docMk/>
            <pc:sldMk cId="0" sldId="329"/>
            <ac:spMk id="5538" creationId="{7B794618-F0EF-C702-CA1F-52E2D8733039}"/>
          </ac:spMkLst>
        </pc:spChg>
        <pc:spChg chg="mod">
          <ac:chgData name="Robert Lalhlimpuia [Chillibreeze]" userId="8fe5ebfe-980d-441d-bbff-8c5265b810b8" providerId="ADAL" clId="{8604BD65-8997-4357-BA60-019791E2ED85}" dt="2024-06-12T11:45:41.785" v="4462" actId="571"/>
          <ac:spMkLst>
            <pc:docMk/>
            <pc:sldMk cId="0" sldId="329"/>
            <ac:spMk id="5539" creationId="{AAD612C7-1E01-6D10-43DB-53D1D631853E}"/>
          </ac:spMkLst>
        </pc:spChg>
        <pc:spChg chg="mod">
          <ac:chgData name="Robert Lalhlimpuia [Chillibreeze]" userId="8fe5ebfe-980d-441d-bbff-8c5265b810b8" providerId="ADAL" clId="{8604BD65-8997-4357-BA60-019791E2ED85}" dt="2024-06-12T11:45:41.785" v="4462" actId="571"/>
          <ac:spMkLst>
            <pc:docMk/>
            <pc:sldMk cId="0" sldId="329"/>
            <ac:spMk id="5540" creationId="{CD82648D-EAA6-6021-3E16-BD48F905F1B0}"/>
          </ac:spMkLst>
        </pc:spChg>
        <pc:spChg chg="mod">
          <ac:chgData name="Robert Lalhlimpuia [Chillibreeze]" userId="8fe5ebfe-980d-441d-bbff-8c5265b810b8" providerId="ADAL" clId="{8604BD65-8997-4357-BA60-019791E2ED85}" dt="2024-06-12T11:45:41.785" v="4462" actId="571"/>
          <ac:spMkLst>
            <pc:docMk/>
            <pc:sldMk cId="0" sldId="329"/>
            <ac:spMk id="5541" creationId="{13A57B8B-7A9F-AA7A-9053-68EFAB4F8CBC}"/>
          </ac:spMkLst>
        </pc:spChg>
        <pc:spChg chg="mod">
          <ac:chgData name="Robert Lalhlimpuia [Chillibreeze]" userId="8fe5ebfe-980d-441d-bbff-8c5265b810b8" providerId="ADAL" clId="{8604BD65-8997-4357-BA60-019791E2ED85}" dt="2024-06-12T11:45:41.785" v="4462" actId="571"/>
          <ac:spMkLst>
            <pc:docMk/>
            <pc:sldMk cId="0" sldId="329"/>
            <ac:spMk id="5542" creationId="{CD2469D7-80F7-303B-DB1E-D7D62E3F3296}"/>
          </ac:spMkLst>
        </pc:spChg>
        <pc:spChg chg="mod">
          <ac:chgData name="Robert Lalhlimpuia [Chillibreeze]" userId="8fe5ebfe-980d-441d-bbff-8c5265b810b8" providerId="ADAL" clId="{8604BD65-8997-4357-BA60-019791E2ED85}" dt="2024-06-12T11:45:41.785" v="4462" actId="571"/>
          <ac:spMkLst>
            <pc:docMk/>
            <pc:sldMk cId="0" sldId="329"/>
            <ac:spMk id="5543" creationId="{D82C9FCB-E84D-7031-0297-34A391A4DB91}"/>
          </ac:spMkLst>
        </pc:spChg>
        <pc:spChg chg="mod">
          <ac:chgData name="Robert Lalhlimpuia [Chillibreeze]" userId="8fe5ebfe-980d-441d-bbff-8c5265b810b8" providerId="ADAL" clId="{8604BD65-8997-4357-BA60-019791E2ED85}" dt="2024-06-12T11:45:41.785" v="4462" actId="571"/>
          <ac:spMkLst>
            <pc:docMk/>
            <pc:sldMk cId="0" sldId="329"/>
            <ac:spMk id="5544" creationId="{29CBB8E9-E96A-ADF7-9376-C3AC02CD5487}"/>
          </ac:spMkLst>
        </pc:spChg>
        <pc:spChg chg="mod">
          <ac:chgData name="Robert Lalhlimpuia [Chillibreeze]" userId="8fe5ebfe-980d-441d-bbff-8c5265b810b8" providerId="ADAL" clId="{8604BD65-8997-4357-BA60-019791E2ED85}" dt="2024-06-12T11:45:41.785" v="4462" actId="571"/>
          <ac:spMkLst>
            <pc:docMk/>
            <pc:sldMk cId="0" sldId="329"/>
            <ac:spMk id="5545" creationId="{5ED1F761-A7A8-A007-8B9C-5505B0447450}"/>
          </ac:spMkLst>
        </pc:spChg>
        <pc:spChg chg="add del mod">
          <ac:chgData name="Robert Lalhlimpuia [Chillibreeze]" userId="8fe5ebfe-980d-441d-bbff-8c5265b810b8" providerId="ADAL" clId="{8604BD65-8997-4357-BA60-019791E2ED85}" dt="2024-06-12T11:46:11.120" v="4473"/>
          <ac:spMkLst>
            <pc:docMk/>
            <pc:sldMk cId="0" sldId="329"/>
            <ac:spMk id="5546" creationId="{061DF83A-8B27-8FFB-6211-336E1E75485D}"/>
          </ac:spMkLst>
        </pc:spChg>
        <pc:spChg chg="del mod">
          <ac:chgData name="Robert Lalhlimpuia [Chillibreeze]" userId="8fe5ebfe-980d-441d-bbff-8c5265b810b8" providerId="ADAL" clId="{8604BD65-8997-4357-BA60-019791E2ED85}" dt="2024-06-12T11:47:50.409" v="4499" actId="21"/>
          <ac:spMkLst>
            <pc:docMk/>
            <pc:sldMk cId="0" sldId="329"/>
            <ac:spMk id="5547" creationId="{CC810A82-3957-DC2E-8B5C-D97ED000CF04}"/>
          </ac:spMkLst>
        </pc:spChg>
        <pc:spChg chg="add del mod">
          <ac:chgData name="Robert Lalhlimpuia [Chillibreeze]" userId="8fe5ebfe-980d-441d-bbff-8c5265b810b8" providerId="ADAL" clId="{8604BD65-8997-4357-BA60-019791E2ED85}" dt="2024-06-12T11:46:48.086" v="4496" actId="571"/>
          <ac:spMkLst>
            <pc:docMk/>
            <pc:sldMk cId="0" sldId="329"/>
            <ac:spMk id="5548" creationId="{44CE207C-DA63-EE95-A9F8-66B002C1A3D5}"/>
          </ac:spMkLst>
        </pc:spChg>
        <pc:spChg chg="add del mod">
          <ac:chgData name="Robert Lalhlimpuia [Chillibreeze]" userId="8fe5ebfe-980d-441d-bbff-8c5265b810b8" providerId="ADAL" clId="{8604BD65-8997-4357-BA60-019791E2ED85}" dt="2024-06-12T13:25:05.765" v="5835" actId="21"/>
          <ac:spMkLst>
            <pc:docMk/>
            <pc:sldMk cId="0" sldId="329"/>
            <ac:spMk id="5549" creationId="{5C02D324-DD86-ECE6-D610-83028FA4DE4C}"/>
          </ac:spMkLst>
        </pc:spChg>
        <pc:spChg chg="add mod topLvl">
          <ac:chgData name="Robert Lalhlimpuia [Chillibreeze]" userId="8fe5ebfe-980d-441d-bbff-8c5265b810b8" providerId="ADAL" clId="{8604BD65-8997-4357-BA60-019791E2ED85}" dt="2024-06-12T13:25:52.734" v="5851" actId="164"/>
          <ac:spMkLst>
            <pc:docMk/>
            <pc:sldMk cId="0" sldId="329"/>
            <ac:spMk id="5550" creationId="{B3FE9437-2D7B-8D8F-3395-5228362A1E6E}"/>
          </ac:spMkLst>
        </pc:spChg>
        <pc:spChg chg="mod">
          <ac:chgData name="Robert Lalhlimpuia [Chillibreeze]" userId="8fe5ebfe-980d-441d-bbff-8c5265b810b8" providerId="ADAL" clId="{8604BD65-8997-4357-BA60-019791E2ED85}" dt="2024-06-12T13:25:44.591" v="5849" actId="165"/>
          <ac:spMkLst>
            <pc:docMk/>
            <pc:sldMk cId="0" sldId="329"/>
            <ac:spMk id="5552" creationId="{E799AAFD-AD0F-5E4D-DB68-666E41DFF42E}"/>
          </ac:spMkLst>
        </pc:spChg>
        <pc:spChg chg="mod">
          <ac:chgData name="Robert Lalhlimpuia [Chillibreeze]" userId="8fe5ebfe-980d-441d-bbff-8c5265b810b8" providerId="ADAL" clId="{8604BD65-8997-4357-BA60-019791E2ED85}" dt="2024-06-12T13:25:44.591" v="5849" actId="165"/>
          <ac:spMkLst>
            <pc:docMk/>
            <pc:sldMk cId="0" sldId="329"/>
            <ac:spMk id="5553" creationId="{C939E47D-8158-42BD-2555-A5CFB3FE2271}"/>
          </ac:spMkLst>
        </pc:spChg>
        <pc:spChg chg="mod">
          <ac:chgData name="Robert Lalhlimpuia [Chillibreeze]" userId="8fe5ebfe-980d-441d-bbff-8c5265b810b8" providerId="ADAL" clId="{8604BD65-8997-4357-BA60-019791E2ED85}" dt="2024-06-12T13:25:44.591" v="5849" actId="165"/>
          <ac:spMkLst>
            <pc:docMk/>
            <pc:sldMk cId="0" sldId="329"/>
            <ac:spMk id="5555" creationId="{E9CA3A43-9EFD-88D8-A845-2F7FAF767316}"/>
          </ac:spMkLst>
        </pc:spChg>
        <pc:spChg chg="mod">
          <ac:chgData name="Robert Lalhlimpuia [Chillibreeze]" userId="8fe5ebfe-980d-441d-bbff-8c5265b810b8" providerId="ADAL" clId="{8604BD65-8997-4357-BA60-019791E2ED85}" dt="2024-06-12T13:25:44.591" v="5849" actId="165"/>
          <ac:spMkLst>
            <pc:docMk/>
            <pc:sldMk cId="0" sldId="329"/>
            <ac:spMk id="5556" creationId="{7F7ED0D7-D1A7-328F-38A0-89497F761C37}"/>
          </ac:spMkLst>
        </pc:spChg>
        <pc:spChg chg="mod">
          <ac:chgData name="Robert Lalhlimpuia [Chillibreeze]" userId="8fe5ebfe-980d-441d-bbff-8c5265b810b8" providerId="ADAL" clId="{8604BD65-8997-4357-BA60-019791E2ED85}" dt="2024-06-12T13:25:44.591" v="5849" actId="165"/>
          <ac:spMkLst>
            <pc:docMk/>
            <pc:sldMk cId="0" sldId="329"/>
            <ac:spMk id="5558" creationId="{523BE28E-0C96-3859-F7BD-FF7683FC7B94}"/>
          </ac:spMkLst>
        </pc:spChg>
        <pc:spChg chg="mod">
          <ac:chgData name="Robert Lalhlimpuia [Chillibreeze]" userId="8fe5ebfe-980d-441d-bbff-8c5265b810b8" providerId="ADAL" clId="{8604BD65-8997-4357-BA60-019791E2ED85}" dt="2024-06-12T13:25:44.591" v="5849" actId="165"/>
          <ac:spMkLst>
            <pc:docMk/>
            <pc:sldMk cId="0" sldId="329"/>
            <ac:spMk id="5559" creationId="{979F8A17-58E5-60A4-A9D3-80EB64CAF77F}"/>
          </ac:spMkLst>
        </pc:spChg>
        <pc:spChg chg="mod">
          <ac:chgData name="Robert Lalhlimpuia [Chillibreeze]" userId="8fe5ebfe-980d-441d-bbff-8c5265b810b8" providerId="ADAL" clId="{8604BD65-8997-4357-BA60-019791E2ED85}" dt="2024-06-12T13:25:44.591" v="5849" actId="165"/>
          <ac:spMkLst>
            <pc:docMk/>
            <pc:sldMk cId="0" sldId="329"/>
            <ac:spMk id="5561" creationId="{03E8C01B-233F-F707-5B9D-492AA7343792}"/>
          </ac:spMkLst>
        </pc:spChg>
        <pc:spChg chg="mod">
          <ac:chgData name="Robert Lalhlimpuia [Chillibreeze]" userId="8fe5ebfe-980d-441d-bbff-8c5265b810b8" providerId="ADAL" clId="{8604BD65-8997-4357-BA60-019791E2ED85}" dt="2024-06-12T13:25:44.591" v="5849" actId="165"/>
          <ac:spMkLst>
            <pc:docMk/>
            <pc:sldMk cId="0" sldId="329"/>
            <ac:spMk id="5562" creationId="{760774AF-F58E-AFAA-F864-13A467453853}"/>
          </ac:spMkLst>
        </pc:spChg>
        <pc:spChg chg="mod">
          <ac:chgData name="Robert Lalhlimpuia [Chillibreeze]" userId="8fe5ebfe-980d-441d-bbff-8c5265b810b8" providerId="ADAL" clId="{8604BD65-8997-4357-BA60-019791E2ED85}" dt="2024-06-12T13:25:44.591" v="5849" actId="165"/>
          <ac:spMkLst>
            <pc:docMk/>
            <pc:sldMk cId="0" sldId="329"/>
            <ac:spMk id="5564" creationId="{752E7B52-3F03-ABE8-AB4C-7DA289DA31EB}"/>
          </ac:spMkLst>
        </pc:spChg>
        <pc:spChg chg="mod">
          <ac:chgData name="Robert Lalhlimpuia [Chillibreeze]" userId="8fe5ebfe-980d-441d-bbff-8c5265b810b8" providerId="ADAL" clId="{8604BD65-8997-4357-BA60-019791E2ED85}" dt="2024-06-12T13:25:44.591" v="5849" actId="165"/>
          <ac:spMkLst>
            <pc:docMk/>
            <pc:sldMk cId="0" sldId="329"/>
            <ac:spMk id="5565" creationId="{70EC408E-1274-4FBE-7B9D-9F520D2D0F14}"/>
          </ac:spMkLst>
        </pc:spChg>
        <pc:spChg chg="mod">
          <ac:chgData name="Robert Lalhlimpuia [Chillibreeze]" userId="8fe5ebfe-980d-441d-bbff-8c5265b810b8" providerId="ADAL" clId="{8604BD65-8997-4357-BA60-019791E2ED85}" dt="2024-06-12T13:24:53.141" v="5830"/>
          <ac:spMkLst>
            <pc:docMk/>
            <pc:sldMk cId="0" sldId="329"/>
            <ac:spMk id="5567" creationId="{77B741A8-47F0-C10D-3093-57FC3E4A606B}"/>
          </ac:spMkLst>
        </pc:spChg>
        <pc:spChg chg="mod">
          <ac:chgData name="Robert Lalhlimpuia [Chillibreeze]" userId="8fe5ebfe-980d-441d-bbff-8c5265b810b8" providerId="ADAL" clId="{8604BD65-8997-4357-BA60-019791E2ED85}" dt="2024-06-12T13:24:53.141" v="5830"/>
          <ac:spMkLst>
            <pc:docMk/>
            <pc:sldMk cId="0" sldId="329"/>
            <ac:spMk id="5569" creationId="{5844DFDF-B4C2-AEFE-6B67-CFF3CE051756}"/>
          </ac:spMkLst>
        </pc:spChg>
        <pc:spChg chg="mod">
          <ac:chgData name="Robert Lalhlimpuia [Chillibreeze]" userId="8fe5ebfe-980d-441d-bbff-8c5265b810b8" providerId="ADAL" clId="{8604BD65-8997-4357-BA60-019791E2ED85}" dt="2024-06-12T13:24:53.141" v="5830"/>
          <ac:spMkLst>
            <pc:docMk/>
            <pc:sldMk cId="0" sldId="329"/>
            <ac:spMk id="5570" creationId="{4D745BC9-AF38-B9AD-165C-2732B1EBEC25}"/>
          </ac:spMkLst>
        </pc:spChg>
        <pc:spChg chg="mod">
          <ac:chgData name="Robert Lalhlimpuia [Chillibreeze]" userId="8fe5ebfe-980d-441d-bbff-8c5265b810b8" providerId="ADAL" clId="{8604BD65-8997-4357-BA60-019791E2ED85}" dt="2024-06-12T13:24:53.141" v="5830"/>
          <ac:spMkLst>
            <pc:docMk/>
            <pc:sldMk cId="0" sldId="329"/>
            <ac:spMk id="5572" creationId="{F19445B0-E917-D1C9-2744-3F0F8E9DDA09}"/>
          </ac:spMkLst>
        </pc:spChg>
        <pc:spChg chg="mod">
          <ac:chgData name="Robert Lalhlimpuia [Chillibreeze]" userId="8fe5ebfe-980d-441d-bbff-8c5265b810b8" providerId="ADAL" clId="{8604BD65-8997-4357-BA60-019791E2ED85}" dt="2024-06-12T13:24:53.141" v="5830"/>
          <ac:spMkLst>
            <pc:docMk/>
            <pc:sldMk cId="0" sldId="329"/>
            <ac:spMk id="5573" creationId="{F08B42A3-69ED-CEA9-2CBD-4614C9048C52}"/>
          </ac:spMkLst>
        </pc:spChg>
        <pc:spChg chg="mod">
          <ac:chgData name="Robert Lalhlimpuia [Chillibreeze]" userId="8fe5ebfe-980d-441d-bbff-8c5265b810b8" providerId="ADAL" clId="{8604BD65-8997-4357-BA60-019791E2ED85}" dt="2024-06-12T13:24:53.141" v="5830"/>
          <ac:spMkLst>
            <pc:docMk/>
            <pc:sldMk cId="0" sldId="329"/>
            <ac:spMk id="5574" creationId="{A6B7C5B5-DB2B-8BF7-92E9-95D10186F7B0}"/>
          </ac:spMkLst>
        </pc:spChg>
        <pc:spChg chg="mod">
          <ac:chgData name="Robert Lalhlimpuia [Chillibreeze]" userId="8fe5ebfe-980d-441d-bbff-8c5265b810b8" providerId="ADAL" clId="{8604BD65-8997-4357-BA60-019791E2ED85}" dt="2024-06-12T13:24:53.141" v="5830"/>
          <ac:spMkLst>
            <pc:docMk/>
            <pc:sldMk cId="0" sldId="329"/>
            <ac:spMk id="5575" creationId="{11109FB8-4B8D-95E1-FC86-190213CCD99F}"/>
          </ac:spMkLst>
        </pc:spChg>
        <pc:spChg chg="mod">
          <ac:chgData name="Robert Lalhlimpuia [Chillibreeze]" userId="8fe5ebfe-980d-441d-bbff-8c5265b810b8" providerId="ADAL" clId="{8604BD65-8997-4357-BA60-019791E2ED85}" dt="2024-06-12T13:24:53.141" v="5830"/>
          <ac:spMkLst>
            <pc:docMk/>
            <pc:sldMk cId="0" sldId="329"/>
            <ac:spMk id="5576" creationId="{4F48E251-C796-AEBB-9C12-E02DA96D05E9}"/>
          </ac:spMkLst>
        </pc:spChg>
        <pc:spChg chg="mod">
          <ac:chgData name="Robert Lalhlimpuia [Chillibreeze]" userId="8fe5ebfe-980d-441d-bbff-8c5265b810b8" providerId="ADAL" clId="{8604BD65-8997-4357-BA60-019791E2ED85}" dt="2024-06-12T13:24:53.141" v="5830"/>
          <ac:spMkLst>
            <pc:docMk/>
            <pc:sldMk cId="0" sldId="329"/>
            <ac:spMk id="5577" creationId="{0E603719-96EE-FD65-07E8-9C15536F938E}"/>
          </ac:spMkLst>
        </pc:spChg>
        <pc:spChg chg="mod">
          <ac:chgData name="Robert Lalhlimpuia [Chillibreeze]" userId="8fe5ebfe-980d-441d-bbff-8c5265b810b8" providerId="ADAL" clId="{8604BD65-8997-4357-BA60-019791E2ED85}" dt="2024-06-12T13:24:53.141" v="5830"/>
          <ac:spMkLst>
            <pc:docMk/>
            <pc:sldMk cId="0" sldId="329"/>
            <ac:spMk id="5578" creationId="{8E983418-F99F-4F8A-28D7-C0F4650440B3}"/>
          </ac:spMkLst>
        </pc:spChg>
        <pc:spChg chg="mod">
          <ac:chgData name="Robert Lalhlimpuia [Chillibreeze]" userId="8fe5ebfe-980d-441d-bbff-8c5265b810b8" providerId="ADAL" clId="{8604BD65-8997-4357-BA60-019791E2ED85}" dt="2024-06-12T13:24:53.141" v="5830"/>
          <ac:spMkLst>
            <pc:docMk/>
            <pc:sldMk cId="0" sldId="329"/>
            <ac:spMk id="5579" creationId="{69FFFC74-8493-3553-45B7-F3582BA8C288}"/>
          </ac:spMkLst>
        </pc:spChg>
        <pc:spChg chg="mod">
          <ac:chgData name="Robert Lalhlimpuia [Chillibreeze]" userId="8fe5ebfe-980d-441d-bbff-8c5265b810b8" providerId="ADAL" clId="{8604BD65-8997-4357-BA60-019791E2ED85}" dt="2024-06-12T13:24:53.141" v="5830"/>
          <ac:spMkLst>
            <pc:docMk/>
            <pc:sldMk cId="0" sldId="329"/>
            <ac:spMk id="5580" creationId="{64BEEE55-BF54-6CE5-EE41-135585621E88}"/>
          </ac:spMkLst>
        </pc:spChg>
        <pc:spChg chg="mod">
          <ac:chgData name="Robert Lalhlimpuia [Chillibreeze]" userId="8fe5ebfe-980d-441d-bbff-8c5265b810b8" providerId="ADAL" clId="{8604BD65-8997-4357-BA60-019791E2ED85}" dt="2024-06-12T13:24:53.141" v="5830"/>
          <ac:spMkLst>
            <pc:docMk/>
            <pc:sldMk cId="0" sldId="329"/>
            <ac:spMk id="5581" creationId="{FEA2DE09-EF3F-D690-F996-5E61ED8A5055}"/>
          </ac:spMkLst>
        </pc:spChg>
        <pc:spChg chg="mod">
          <ac:chgData name="Robert Lalhlimpuia [Chillibreeze]" userId="8fe5ebfe-980d-441d-bbff-8c5265b810b8" providerId="ADAL" clId="{8604BD65-8997-4357-BA60-019791E2ED85}" dt="2024-06-12T13:24:53.141" v="5830"/>
          <ac:spMkLst>
            <pc:docMk/>
            <pc:sldMk cId="0" sldId="329"/>
            <ac:spMk id="5582" creationId="{5BB1C246-A883-44C2-BE75-1370A5F09475}"/>
          </ac:spMkLst>
        </pc:spChg>
        <pc:spChg chg="mod">
          <ac:chgData name="Robert Lalhlimpuia [Chillibreeze]" userId="8fe5ebfe-980d-441d-bbff-8c5265b810b8" providerId="ADAL" clId="{8604BD65-8997-4357-BA60-019791E2ED85}" dt="2024-06-12T13:24:53.141" v="5830"/>
          <ac:spMkLst>
            <pc:docMk/>
            <pc:sldMk cId="0" sldId="329"/>
            <ac:spMk id="5583" creationId="{AFFDF66F-83BC-7A01-AF79-A72E65462DDC}"/>
          </ac:spMkLst>
        </pc:spChg>
        <pc:spChg chg="mod">
          <ac:chgData name="Robert Lalhlimpuia [Chillibreeze]" userId="8fe5ebfe-980d-441d-bbff-8c5265b810b8" providerId="ADAL" clId="{8604BD65-8997-4357-BA60-019791E2ED85}" dt="2024-06-12T13:24:53.141" v="5830"/>
          <ac:spMkLst>
            <pc:docMk/>
            <pc:sldMk cId="0" sldId="329"/>
            <ac:spMk id="5584" creationId="{72DDC126-0A70-10EA-0EED-53EA910C0757}"/>
          </ac:spMkLst>
        </pc:spChg>
        <pc:spChg chg="mod">
          <ac:chgData name="Robert Lalhlimpuia [Chillibreeze]" userId="8fe5ebfe-980d-441d-bbff-8c5265b810b8" providerId="ADAL" clId="{8604BD65-8997-4357-BA60-019791E2ED85}" dt="2024-06-12T13:24:53.141" v="5830"/>
          <ac:spMkLst>
            <pc:docMk/>
            <pc:sldMk cId="0" sldId="329"/>
            <ac:spMk id="5585" creationId="{7CF0BC3A-9DA9-64D1-8EC2-B225BE95024F}"/>
          </ac:spMkLst>
        </pc:spChg>
        <pc:spChg chg="mod">
          <ac:chgData name="Robert Lalhlimpuia [Chillibreeze]" userId="8fe5ebfe-980d-441d-bbff-8c5265b810b8" providerId="ADAL" clId="{8604BD65-8997-4357-BA60-019791E2ED85}" dt="2024-06-12T13:24:53.141" v="5830"/>
          <ac:spMkLst>
            <pc:docMk/>
            <pc:sldMk cId="0" sldId="329"/>
            <ac:spMk id="5586" creationId="{4084BF79-9821-AE2A-9D8D-6FC2C9035745}"/>
          </ac:spMkLst>
        </pc:spChg>
        <pc:spChg chg="mod">
          <ac:chgData name="Robert Lalhlimpuia [Chillibreeze]" userId="8fe5ebfe-980d-441d-bbff-8c5265b810b8" providerId="ADAL" clId="{8604BD65-8997-4357-BA60-019791E2ED85}" dt="2024-06-12T13:24:53.141" v="5830"/>
          <ac:spMkLst>
            <pc:docMk/>
            <pc:sldMk cId="0" sldId="329"/>
            <ac:spMk id="5587" creationId="{4A0BA0E5-A4B9-C322-DE57-038F32413D56}"/>
          </ac:spMkLst>
        </pc:spChg>
        <pc:spChg chg="mod">
          <ac:chgData name="Robert Lalhlimpuia [Chillibreeze]" userId="8fe5ebfe-980d-441d-bbff-8c5265b810b8" providerId="ADAL" clId="{8604BD65-8997-4357-BA60-019791E2ED85}" dt="2024-06-12T13:24:53.141" v="5830"/>
          <ac:spMkLst>
            <pc:docMk/>
            <pc:sldMk cId="0" sldId="329"/>
            <ac:spMk id="5588" creationId="{C98BE7D4-7FF2-0C84-EA2A-29EB54A44BAA}"/>
          </ac:spMkLst>
        </pc:spChg>
        <pc:spChg chg="mod">
          <ac:chgData name="Robert Lalhlimpuia [Chillibreeze]" userId="8fe5ebfe-980d-441d-bbff-8c5265b810b8" providerId="ADAL" clId="{8604BD65-8997-4357-BA60-019791E2ED85}" dt="2024-06-12T13:24:53.141" v="5830"/>
          <ac:spMkLst>
            <pc:docMk/>
            <pc:sldMk cId="0" sldId="329"/>
            <ac:spMk id="5589" creationId="{3D9A68C5-85A3-BF29-FEF3-0D5FFDF3696D}"/>
          </ac:spMkLst>
        </pc:spChg>
        <pc:spChg chg="add del mod">
          <ac:chgData name="Robert Lalhlimpuia [Chillibreeze]" userId="8fe5ebfe-980d-441d-bbff-8c5265b810b8" providerId="ADAL" clId="{8604BD65-8997-4357-BA60-019791E2ED85}" dt="2024-06-12T13:24:59.767" v="5832" actId="21"/>
          <ac:spMkLst>
            <pc:docMk/>
            <pc:sldMk cId="0" sldId="329"/>
            <ac:spMk id="5590" creationId="{CF2031CC-0FAE-59CD-FE08-507A58CFF632}"/>
          </ac:spMkLst>
        </pc:spChg>
        <pc:spChg chg="add mod">
          <ac:chgData name="Robert Lalhlimpuia [Chillibreeze]" userId="8fe5ebfe-980d-441d-bbff-8c5265b810b8" providerId="ADAL" clId="{8604BD65-8997-4357-BA60-019791E2ED85}" dt="2024-06-12T13:25:56.419" v="5853" actId="571"/>
          <ac:spMkLst>
            <pc:docMk/>
            <pc:sldMk cId="0" sldId="329"/>
            <ac:spMk id="5594" creationId="{2B761B2E-96BE-85A3-8C6C-6CB9ACFA52C0}"/>
          </ac:spMkLst>
        </pc:spChg>
        <pc:spChg chg="mod">
          <ac:chgData name="Robert Lalhlimpuia [Chillibreeze]" userId="8fe5ebfe-980d-441d-bbff-8c5265b810b8" providerId="ADAL" clId="{8604BD65-8997-4357-BA60-019791E2ED85}" dt="2024-06-12T13:25:56.419" v="5853" actId="571"/>
          <ac:spMkLst>
            <pc:docMk/>
            <pc:sldMk cId="0" sldId="329"/>
            <ac:spMk id="5596" creationId="{BB108827-BF9E-CC22-C0B5-5C6589772ABA}"/>
          </ac:spMkLst>
        </pc:spChg>
        <pc:spChg chg="mod">
          <ac:chgData name="Robert Lalhlimpuia [Chillibreeze]" userId="8fe5ebfe-980d-441d-bbff-8c5265b810b8" providerId="ADAL" clId="{8604BD65-8997-4357-BA60-019791E2ED85}" dt="2024-06-12T13:25:56.419" v="5853" actId="571"/>
          <ac:spMkLst>
            <pc:docMk/>
            <pc:sldMk cId="0" sldId="329"/>
            <ac:spMk id="5602" creationId="{059E961A-B007-DA02-4FE8-713F9C2A3792}"/>
          </ac:spMkLst>
        </pc:spChg>
        <pc:spChg chg="mod">
          <ac:chgData name="Robert Lalhlimpuia [Chillibreeze]" userId="8fe5ebfe-980d-441d-bbff-8c5265b810b8" providerId="ADAL" clId="{8604BD65-8997-4357-BA60-019791E2ED85}" dt="2024-06-12T13:25:56.419" v="5853" actId="571"/>
          <ac:spMkLst>
            <pc:docMk/>
            <pc:sldMk cId="0" sldId="329"/>
            <ac:spMk id="5603" creationId="{8F721DA1-15C1-C042-2A45-BB9FAD2D5A61}"/>
          </ac:spMkLst>
        </pc:spChg>
        <pc:spChg chg="mod">
          <ac:chgData name="Robert Lalhlimpuia [Chillibreeze]" userId="8fe5ebfe-980d-441d-bbff-8c5265b810b8" providerId="ADAL" clId="{8604BD65-8997-4357-BA60-019791E2ED85}" dt="2024-06-12T13:25:56.419" v="5853" actId="571"/>
          <ac:spMkLst>
            <pc:docMk/>
            <pc:sldMk cId="0" sldId="329"/>
            <ac:spMk id="5604" creationId="{FD482D01-2DE7-A8EC-3B1E-C40F460D10BE}"/>
          </ac:spMkLst>
        </pc:spChg>
        <pc:spChg chg="mod">
          <ac:chgData name="Robert Lalhlimpuia [Chillibreeze]" userId="8fe5ebfe-980d-441d-bbff-8c5265b810b8" providerId="ADAL" clId="{8604BD65-8997-4357-BA60-019791E2ED85}" dt="2024-06-12T13:25:56.419" v="5853" actId="571"/>
          <ac:spMkLst>
            <pc:docMk/>
            <pc:sldMk cId="0" sldId="329"/>
            <ac:spMk id="5605" creationId="{21C2ECB0-A858-32B6-28AE-48687A7216A8}"/>
          </ac:spMkLst>
        </pc:spChg>
        <pc:spChg chg="mod">
          <ac:chgData name="Robert Lalhlimpuia [Chillibreeze]" userId="8fe5ebfe-980d-441d-bbff-8c5265b810b8" providerId="ADAL" clId="{8604BD65-8997-4357-BA60-019791E2ED85}" dt="2024-06-12T13:25:56.419" v="5853" actId="571"/>
          <ac:spMkLst>
            <pc:docMk/>
            <pc:sldMk cId="0" sldId="329"/>
            <ac:spMk id="5606" creationId="{22E17202-EAC2-7EBA-C9D4-3B47C2A5E717}"/>
          </ac:spMkLst>
        </pc:spChg>
        <pc:spChg chg="mod">
          <ac:chgData name="Robert Lalhlimpuia [Chillibreeze]" userId="8fe5ebfe-980d-441d-bbff-8c5265b810b8" providerId="ADAL" clId="{8604BD65-8997-4357-BA60-019791E2ED85}" dt="2024-06-12T13:25:56.419" v="5853" actId="571"/>
          <ac:spMkLst>
            <pc:docMk/>
            <pc:sldMk cId="0" sldId="329"/>
            <ac:spMk id="5607" creationId="{9A457BEE-1C52-0DF0-A726-6E58937A26E1}"/>
          </ac:spMkLst>
        </pc:spChg>
        <pc:spChg chg="mod">
          <ac:chgData name="Robert Lalhlimpuia [Chillibreeze]" userId="8fe5ebfe-980d-441d-bbff-8c5265b810b8" providerId="ADAL" clId="{8604BD65-8997-4357-BA60-019791E2ED85}" dt="2024-06-12T13:25:56.419" v="5853" actId="571"/>
          <ac:spMkLst>
            <pc:docMk/>
            <pc:sldMk cId="0" sldId="329"/>
            <ac:spMk id="5608" creationId="{BB225E19-27B5-260D-E046-70CF957DD880}"/>
          </ac:spMkLst>
        </pc:spChg>
        <pc:spChg chg="mod">
          <ac:chgData name="Robert Lalhlimpuia [Chillibreeze]" userId="8fe5ebfe-980d-441d-bbff-8c5265b810b8" providerId="ADAL" clId="{8604BD65-8997-4357-BA60-019791E2ED85}" dt="2024-06-12T13:25:56.419" v="5853" actId="571"/>
          <ac:spMkLst>
            <pc:docMk/>
            <pc:sldMk cId="0" sldId="329"/>
            <ac:spMk id="5609" creationId="{781AD166-81D1-0558-6B76-3B559B9E3F36}"/>
          </ac:spMkLst>
        </pc:spChg>
        <pc:spChg chg="mod">
          <ac:chgData name="Robert Lalhlimpuia [Chillibreeze]" userId="8fe5ebfe-980d-441d-bbff-8c5265b810b8" providerId="ADAL" clId="{8604BD65-8997-4357-BA60-019791E2ED85}" dt="2024-06-12T13:25:56.419" v="5853" actId="571"/>
          <ac:spMkLst>
            <pc:docMk/>
            <pc:sldMk cId="0" sldId="329"/>
            <ac:spMk id="5610" creationId="{DE058190-3005-039A-D5F2-D8A639835D19}"/>
          </ac:spMkLst>
        </pc:spChg>
        <pc:spChg chg="mod">
          <ac:chgData name="Robert Lalhlimpuia [Chillibreeze]" userId="8fe5ebfe-980d-441d-bbff-8c5265b810b8" providerId="ADAL" clId="{8604BD65-8997-4357-BA60-019791E2ED85}" dt="2024-06-12T13:25:56.419" v="5853" actId="571"/>
          <ac:spMkLst>
            <pc:docMk/>
            <pc:sldMk cId="0" sldId="329"/>
            <ac:spMk id="5611" creationId="{19840E3A-A8CD-AB98-4170-01EA25E76E93}"/>
          </ac:spMkLst>
        </pc:spChg>
        <pc:spChg chg="mod">
          <ac:chgData name="Robert Lalhlimpuia [Chillibreeze]" userId="8fe5ebfe-980d-441d-bbff-8c5265b810b8" providerId="ADAL" clId="{8604BD65-8997-4357-BA60-019791E2ED85}" dt="2024-06-12T13:25:59.407" v="5854" actId="571"/>
          <ac:spMkLst>
            <pc:docMk/>
            <pc:sldMk cId="0" sldId="329"/>
            <ac:spMk id="5613" creationId="{6890240A-9903-7262-EF24-8C284ECAA577}"/>
          </ac:spMkLst>
        </pc:spChg>
        <pc:spChg chg="mod">
          <ac:chgData name="Robert Lalhlimpuia [Chillibreeze]" userId="8fe5ebfe-980d-441d-bbff-8c5265b810b8" providerId="ADAL" clId="{8604BD65-8997-4357-BA60-019791E2ED85}" dt="2024-06-12T13:25:59.407" v="5854" actId="571"/>
          <ac:spMkLst>
            <pc:docMk/>
            <pc:sldMk cId="0" sldId="329"/>
            <ac:spMk id="5619" creationId="{3D749F92-8AFA-AA09-3044-CD9611697A00}"/>
          </ac:spMkLst>
        </pc:spChg>
        <pc:spChg chg="mod">
          <ac:chgData name="Robert Lalhlimpuia [Chillibreeze]" userId="8fe5ebfe-980d-441d-bbff-8c5265b810b8" providerId="ADAL" clId="{8604BD65-8997-4357-BA60-019791E2ED85}" dt="2024-06-12T13:25:59.407" v="5854" actId="571"/>
          <ac:spMkLst>
            <pc:docMk/>
            <pc:sldMk cId="0" sldId="329"/>
            <ac:spMk id="5620" creationId="{5FF82DF0-DC16-F83A-7627-E174C5EA1CA3}"/>
          </ac:spMkLst>
        </pc:spChg>
        <pc:spChg chg="mod">
          <ac:chgData name="Robert Lalhlimpuia [Chillibreeze]" userId="8fe5ebfe-980d-441d-bbff-8c5265b810b8" providerId="ADAL" clId="{8604BD65-8997-4357-BA60-019791E2ED85}" dt="2024-06-12T13:25:59.407" v="5854" actId="571"/>
          <ac:spMkLst>
            <pc:docMk/>
            <pc:sldMk cId="0" sldId="329"/>
            <ac:spMk id="5621" creationId="{A54530D5-A367-CB4A-6D5B-FC70411DD9A5}"/>
          </ac:spMkLst>
        </pc:spChg>
        <pc:spChg chg="mod">
          <ac:chgData name="Robert Lalhlimpuia [Chillibreeze]" userId="8fe5ebfe-980d-441d-bbff-8c5265b810b8" providerId="ADAL" clId="{8604BD65-8997-4357-BA60-019791E2ED85}" dt="2024-06-12T13:25:59.407" v="5854" actId="571"/>
          <ac:spMkLst>
            <pc:docMk/>
            <pc:sldMk cId="0" sldId="329"/>
            <ac:spMk id="5622" creationId="{3238D0CB-A070-C149-6C8C-333AFA7DDAC3}"/>
          </ac:spMkLst>
        </pc:spChg>
        <pc:spChg chg="mod">
          <ac:chgData name="Robert Lalhlimpuia [Chillibreeze]" userId="8fe5ebfe-980d-441d-bbff-8c5265b810b8" providerId="ADAL" clId="{8604BD65-8997-4357-BA60-019791E2ED85}" dt="2024-06-12T13:25:59.407" v="5854" actId="571"/>
          <ac:spMkLst>
            <pc:docMk/>
            <pc:sldMk cId="0" sldId="329"/>
            <ac:spMk id="5623" creationId="{25B15209-4A31-847B-FE54-FDED667D8639}"/>
          </ac:spMkLst>
        </pc:spChg>
        <pc:spChg chg="mod">
          <ac:chgData name="Robert Lalhlimpuia [Chillibreeze]" userId="8fe5ebfe-980d-441d-bbff-8c5265b810b8" providerId="ADAL" clId="{8604BD65-8997-4357-BA60-019791E2ED85}" dt="2024-06-12T13:25:59.407" v="5854" actId="571"/>
          <ac:spMkLst>
            <pc:docMk/>
            <pc:sldMk cId="0" sldId="329"/>
            <ac:spMk id="5624" creationId="{71E20DA8-D40F-8D83-99DD-140D15FDEBFC}"/>
          </ac:spMkLst>
        </pc:spChg>
        <pc:spChg chg="mod">
          <ac:chgData name="Robert Lalhlimpuia [Chillibreeze]" userId="8fe5ebfe-980d-441d-bbff-8c5265b810b8" providerId="ADAL" clId="{8604BD65-8997-4357-BA60-019791E2ED85}" dt="2024-06-12T13:25:59.407" v="5854" actId="571"/>
          <ac:spMkLst>
            <pc:docMk/>
            <pc:sldMk cId="0" sldId="329"/>
            <ac:spMk id="5625" creationId="{88471674-E8BE-AAAE-D14D-FCA3892CA22D}"/>
          </ac:spMkLst>
        </pc:spChg>
        <pc:spChg chg="mod">
          <ac:chgData name="Robert Lalhlimpuia [Chillibreeze]" userId="8fe5ebfe-980d-441d-bbff-8c5265b810b8" providerId="ADAL" clId="{8604BD65-8997-4357-BA60-019791E2ED85}" dt="2024-06-12T13:25:59.407" v="5854" actId="571"/>
          <ac:spMkLst>
            <pc:docMk/>
            <pc:sldMk cId="0" sldId="329"/>
            <ac:spMk id="5626" creationId="{3CBD1FAF-DD13-9E74-342D-BCE03C1FCFF6}"/>
          </ac:spMkLst>
        </pc:spChg>
        <pc:spChg chg="mod">
          <ac:chgData name="Robert Lalhlimpuia [Chillibreeze]" userId="8fe5ebfe-980d-441d-bbff-8c5265b810b8" providerId="ADAL" clId="{8604BD65-8997-4357-BA60-019791E2ED85}" dt="2024-06-12T13:25:59.407" v="5854" actId="571"/>
          <ac:spMkLst>
            <pc:docMk/>
            <pc:sldMk cId="0" sldId="329"/>
            <ac:spMk id="5627" creationId="{2D3BEC1B-9E60-F058-FCAA-8B94F44F06B1}"/>
          </ac:spMkLst>
        </pc:spChg>
        <pc:spChg chg="mod">
          <ac:chgData name="Robert Lalhlimpuia [Chillibreeze]" userId="8fe5ebfe-980d-441d-bbff-8c5265b810b8" providerId="ADAL" clId="{8604BD65-8997-4357-BA60-019791E2ED85}" dt="2024-06-12T13:25:59.407" v="5854" actId="571"/>
          <ac:spMkLst>
            <pc:docMk/>
            <pc:sldMk cId="0" sldId="329"/>
            <ac:spMk id="5628" creationId="{124C6A17-85E1-56A9-B4F1-5F7698D8FCD4}"/>
          </ac:spMkLst>
        </pc:spChg>
        <pc:spChg chg="mod">
          <ac:chgData name="Robert Lalhlimpuia [Chillibreeze]" userId="8fe5ebfe-980d-441d-bbff-8c5265b810b8" providerId="ADAL" clId="{8604BD65-8997-4357-BA60-019791E2ED85}" dt="2024-06-12T13:26:01.924" v="5855" actId="571"/>
          <ac:spMkLst>
            <pc:docMk/>
            <pc:sldMk cId="0" sldId="329"/>
            <ac:spMk id="5630" creationId="{73610A00-C1B0-C108-DD3D-557BCEF7D835}"/>
          </ac:spMkLst>
        </pc:spChg>
        <pc:spChg chg="mod">
          <ac:chgData name="Robert Lalhlimpuia [Chillibreeze]" userId="8fe5ebfe-980d-441d-bbff-8c5265b810b8" providerId="ADAL" clId="{8604BD65-8997-4357-BA60-019791E2ED85}" dt="2024-06-12T13:26:01.924" v="5855" actId="571"/>
          <ac:spMkLst>
            <pc:docMk/>
            <pc:sldMk cId="0" sldId="329"/>
            <ac:spMk id="5636" creationId="{F3B6CD78-E3C2-836D-5841-185C04503FE9}"/>
          </ac:spMkLst>
        </pc:spChg>
        <pc:spChg chg="mod">
          <ac:chgData name="Robert Lalhlimpuia [Chillibreeze]" userId="8fe5ebfe-980d-441d-bbff-8c5265b810b8" providerId="ADAL" clId="{8604BD65-8997-4357-BA60-019791E2ED85}" dt="2024-06-12T13:26:01.924" v="5855" actId="571"/>
          <ac:spMkLst>
            <pc:docMk/>
            <pc:sldMk cId="0" sldId="329"/>
            <ac:spMk id="5637" creationId="{B9A7C16C-ACAA-5A96-09F1-CD3E974CBB01}"/>
          </ac:spMkLst>
        </pc:spChg>
        <pc:spChg chg="mod">
          <ac:chgData name="Robert Lalhlimpuia [Chillibreeze]" userId="8fe5ebfe-980d-441d-bbff-8c5265b810b8" providerId="ADAL" clId="{8604BD65-8997-4357-BA60-019791E2ED85}" dt="2024-06-12T13:26:01.924" v="5855" actId="571"/>
          <ac:spMkLst>
            <pc:docMk/>
            <pc:sldMk cId="0" sldId="329"/>
            <ac:spMk id="5638" creationId="{9B1E631B-A78D-36B3-F2FD-A5F79C9E0111}"/>
          </ac:spMkLst>
        </pc:spChg>
        <pc:spChg chg="mod">
          <ac:chgData name="Robert Lalhlimpuia [Chillibreeze]" userId="8fe5ebfe-980d-441d-bbff-8c5265b810b8" providerId="ADAL" clId="{8604BD65-8997-4357-BA60-019791E2ED85}" dt="2024-06-12T13:26:01.924" v="5855" actId="571"/>
          <ac:spMkLst>
            <pc:docMk/>
            <pc:sldMk cId="0" sldId="329"/>
            <ac:spMk id="5639" creationId="{FDE456F9-9586-A238-D490-A0A7E5A40DFB}"/>
          </ac:spMkLst>
        </pc:spChg>
        <pc:spChg chg="mod">
          <ac:chgData name="Robert Lalhlimpuia [Chillibreeze]" userId="8fe5ebfe-980d-441d-bbff-8c5265b810b8" providerId="ADAL" clId="{8604BD65-8997-4357-BA60-019791E2ED85}" dt="2024-06-12T13:26:01.924" v="5855" actId="571"/>
          <ac:spMkLst>
            <pc:docMk/>
            <pc:sldMk cId="0" sldId="329"/>
            <ac:spMk id="5640" creationId="{C29C7490-6CE4-8076-3B44-D5081B7E66A0}"/>
          </ac:spMkLst>
        </pc:spChg>
        <pc:spChg chg="mod">
          <ac:chgData name="Robert Lalhlimpuia [Chillibreeze]" userId="8fe5ebfe-980d-441d-bbff-8c5265b810b8" providerId="ADAL" clId="{8604BD65-8997-4357-BA60-019791E2ED85}" dt="2024-06-12T13:26:01.924" v="5855" actId="571"/>
          <ac:spMkLst>
            <pc:docMk/>
            <pc:sldMk cId="0" sldId="329"/>
            <ac:spMk id="5641" creationId="{50118F43-2FD1-8572-A3BC-7C5AB2AB57F6}"/>
          </ac:spMkLst>
        </pc:spChg>
        <pc:spChg chg="mod">
          <ac:chgData name="Robert Lalhlimpuia [Chillibreeze]" userId="8fe5ebfe-980d-441d-bbff-8c5265b810b8" providerId="ADAL" clId="{8604BD65-8997-4357-BA60-019791E2ED85}" dt="2024-06-12T13:26:01.924" v="5855" actId="571"/>
          <ac:spMkLst>
            <pc:docMk/>
            <pc:sldMk cId="0" sldId="329"/>
            <ac:spMk id="5642" creationId="{013E91AC-21BD-810B-88A1-F55DEA74157A}"/>
          </ac:spMkLst>
        </pc:spChg>
        <pc:spChg chg="mod">
          <ac:chgData name="Robert Lalhlimpuia [Chillibreeze]" userId="8fe5ebfe-980d-441d-bbff-8c5265b810b8" providerId="ADAL" clId="{8604BD65-8997-4357-BA60-019791E2ED85}" dt="2024-06-12T13:26:01.924" v="5855" actId="571"/>
          <ac:spMkLst>
            <pc:docMk/>
            <pc:sldMk cId="0" sldId="329"/>
            <ac:spMk id="5643" creationId="{E1B5E20C-0346-EB24-7BF7-72E1610B714B}"/>
          </ac:spMkLst>
        </pc:spChg>
        <pc:spChg chg="mod">
          <ac:chgData name="Robert Lalhlimpuia [Chillibreeze]" userId="8fe5ebfe-980d-441d-bbff-8c5265b810b8" providerId="ADAL" clId="{8604BD65-8997-4357-BA60-019791E2ED85}" dt="2024-06-12T13:26:01.924" v="5855" actId="571"/>
          <ac:spMkLst>
            <pc:docMk/>
            <pc:sldMk cId="0" sldId="329"/>
            <ac:spMk id="5644" creationId="{E097CA8E-0759-C918-F565-A0AF66A59DFE}"/>
          </ac:spMkLst>
        </pc:spChg>
        <pc:spChg chg="mod">
          <ac:chgData name="Robert Lalhlimpuia [Chillibreeze]" userId="8fe5ebfe-980d-441d-bbff-8c5265b810b8" providerId="ADAL" clId="{8604BD65-8997-4357-BA60-019791E2ED85}" dt="2024-06-12T13:26:01.924" v="5855" actId="571"/>
          <ac:spMkLst>
            <pc:docMk/>
            <pc:sldMk cId="0" sldId="329"/>
            <ac:spMk id="5645" creationId="{1DC1F9E9-B06F-50A2-D112-8C0EDD4D7D8D}"/>
          </ac:spMkLst>
        </pc:spChg>
        <pc:spChg chg="add mod">
          <ac:chgData name="Robert Lalhlimpuia [Chillibreeze]" userId="8fe5ebfe-980d-441d-bbff-8c5265b810b8" providerId="ADAL" clId="{8604BD65-8997-4357-BA60-019791E2ED85}" dt="2024-06-12T13:26:04.693" v="5857" actId="571"/>
          <ac:spMkLst>
            <pc:docMk/>
            <pc:sldMk cId="0" sldId="329"/>
            <ac:spMk id="5646" creationId="{E77E1B8D-E0FC-54D3-6491-A89B09613C8A}"/>
          </ac:spMkLst>
        </pc:spChg>
        <pc:spChg chg="mod">
          <ac:chgData name="Robert Lalhlimpuia [Chillibreeze]" userId="8fe5ebfe-980d-441d-bbff-8c5265b810b8" providerId="ADAL" clId="{8604BD65-8997-4357-BA60-019791E2ED85}" dt="2024-06-12T13:26:04.693" v="5857" actId="571"/>
          <ac:spMkLst>
            <pc:docMk/>
            <pc:sldMk cId="0" sldId="329"/>
            <ac:spMk id="5648" creationId="{5248393D-C1D6-48BA-84E1-24169B12DE6F}"/>
          </ac:spMkLst>
        </pc:spChg>
        <pc:spChg chg="mod">
          <ac:chgData name="Robert Lalhlimpuia [Chillibreeze]" userId="8fe5ebfe-980d-441d-bbff-8c5265b810b8" providerId="ADAL" clId="{8604BD65-8997-4357-BA60-019791E2ED85}" dt="2024-06-12T13:26:04.693" v="5857" actId="571"/>
          <ac:spMkLst>
            <pc:docMk/>
            <pc:sldMk cId="0" sldId="329"/>
            <ac:spMk id="5654" creationId="{7164AF1D-012C-0EE3-CD1D-8AEEEF6C9084}"/>
          </ac:spMkLst>
        </pc:spChg>
        <pc:spChg chg="mod">
          <ac:chgData name="Robert Lalhlimpuia [Chillibreeze]" userId="8fe5ebfe-980d-441d-bbff-8c5265b810b8" providerId="ADAL" clId="{8604BD65-8997-4357-BA60-019791E2ED85}" dt="2024-06-12T13:26:04.693" v="5857" actId="571"/>
          <ac:spMkLst>
            <pc:docMk/>
            <pc:sldMk cId="0" sldId="329"/>
            <ac:spMk id="5655" creationId="{767F738C-9251-4D5A-57AD-F85BE9659412}"/>
          </ac:spMkLst>
        </pc:spChg>
        <pc:spChg chg="mod">
          <ac:chgData name="Robert Lalhlimpuia [Chillibreeze]" userId="8fe5ebfe-980d-441d-bbff-8c5265b810b8" providerId="ADAL" clId="{8604BD65-8997-4357-BA60-019791E2ED85}" dt="2024-06-12T13:26:04.693" v="5857" actId="571"/>
          <ac:spMkLst>
            <pc:docMk/>
            <pc:sldMk cId="0" sldId="329"/>
            <ac:spMk id="5656" creationId="{9D0F1E29-5587-EC1F-859D-8EFD39E101AC}"/>
          </ac:spMkLst>
        </pc:spChg>
        <pc:spChg chg="mod">
          <ac:chgData name="Robert Lalhlimpuia [Chillibreeze]" userId="8fe5ebfe-980d-441d-bbff-8c5265b810b8" providerId="ADAL" clId="{8604BD65-8997-4357-BA60-019791E2ED85}" dt="2024-06-12T13:26:04.693" v="5857" actId="571"/>
          <ac:spMkLst>
            <pc:docMk/>
            <pc:sldMk cId="0" sldId="329"/>
            <ac:spMk id="5657" creationId="{FDC663A2-5968-FFD0-10FF-508CAAB0AB3A}"/>
          </ac:spMkLst>
        </pc:spChg>
        <pc:spChg chg="mod">
          <ac:chgData name="Robert Lalhlimpuia [Chillibreeze]" userId="8fe5ebfe-980d-441d-bbff-8c5265b810b8" providerId="ADAL" clId="{8604BD65-8997-4357-BA60-019791E2ED85}" dt="2024-06-12T13:26:04.693" v="5857" actId="571"/>
          <ac:spMkLst>
            <pc:docMk/>
            <pc:sldMk cId="0" sldId="329"/>
            <ac:spMk id="5658" creationId="{5D99B613-5F60-77F6-AB9A-30108ECB6905}"/>
          </ac:spMkLst>
        </pc:spChg>
        <pc:spChg chg="mod">
          <ac:chgData name="Robert Lalhlimpuia [Chillibreeze]" userId="8fe5ebfe-980d-441d-bbff-8c5265b810b8" providerId="ADAL" clId="{8604BD65-8997-4357-BA60-019791E2ED85}" dt="2024-06-12T13:26:04.693" v="5857" actId="571"/>
          <ac:spMkLst>
            <pc:docMk/>
            <pc:sldMk cId="0" sldId="329"/>
            <ac:spMk id="5659" creationId="{3F6D2D51-B051-DB09-46F8-B2F03DE089AF}"/>
          </ac:spMkLst>
        </pc:spChg>
        <pc:spChg chg="mod">
          <ac:chgData name="Robert Lalhlimpuia [Chillibreeze]" userId="8fe5ebfe-980d-441d-bbff-8c5265b810b8" providerId="ADAL" clId="{8604BD65-8997-4357-BA60-019791E2ED85}" dt="2024-06-12T13:26:04.693" v="5857" actId="571"/>
          <ac:spMkLst>
            <pc:docMk/>
            <pc:sldMk cId="0" sldId="329"/>
            <ac:spMk id="5660" creationId="{2B975D34-33F4-36BD-B1C2-55FBC904867A}"/>
          </ac:spMkLst>
        </pc:spChg>
        <pc:spChg chg="mod">
          <ac:chgData name="Robert Lalhlimpuia [Chillibreeze]" userId="8fe5ebfe-980d-441d-bbff-8c5265b810b8" providerId="ADAL" clId="{8604BD65-8997-4357-BA60-019791E2ED85}" dt="2024-06-12T13:26:04.693" v="5857" actId="571"/>
          <ac:spMkLst>
            <pc:docMk/>
            <pc:sldMk cId="0" sldId="329"/>
            <ac:spMk id="5661" creationId="{C74C30CA-7210-53A9-2FB3-DCCD332164EA}"/>
          </ac:spMkLst>
        </pc:spChg>
        <pc:spChg chg="mod">
          <ac:chgData name="Robert Lalhlimpuia [Chillibreeze]" userId="8fe5ebfe-980d-441d-bbff-8c5265b810b8" providerId="ADAL" clId="{8604BD65-8997-4357-BA60-019791E2ED85}" dt="2024-06-12T13:26:04.693" v="5857" actId="571"/>
          <ac:spMkLst>
            <pc:docMk/>
            <pc:sldMk cId="0" sldId="329"/>
            <ac:spMk id="5662" creationId="{55F943C8-EAFC-3B5A-D49A-A3BA78D94FC6}"/>
          </ac:spMkLst>
        </pc:spChg>
        <pc:spChg chg="mod">
          <ac:chgData name="Robert Lalhlimpuia [Chillibreeze]" userId="8fe5ebfe-980d-441d-bbff-8c5265b810b8" providerId="ADAL" clId="{8604BD65-8997-4357-BA60-019791E2ED85}" dt="2024-06-12T13:26:04.693" v="5857" actId="571"/>
          <ac:spMkLst>
            <pc:docMk/>
            <pc:sldMk cId="0" sldId="329"/>
            <ac:spMk id="5663" creationId="{6CBACEB2-E563-37FB-5E05-68C386C295B4}"/>
          </ac:spMkLst>
        </pc:spChg>
        <pc:spChg chg="mod">
          <ac:chgData name="Robert Lalhlimpuia [Chillibreeze]" userId="8fe5ebfe-980d-441d-bbff-8c5265b810b8" providerId="ADAL" clId="{8604BD65-8997-4357-BA60-019791E2ED85}" dt="2024-06-12T13:26:07.336" v="5858" actId="571"/>
          <ac:spMkLst>
            <pc:docMk/>
            <pc:sldMk cId="0" sldId="329"/>
            <ac:spMk id="5665" creationId="{78AEE6FF-86DA-E57E-419C-531EB09BEC75}"/>
          </ac:spMkLst>
        </pc:spChg>
        <pc:spChg chg="mod">
          <ac:chgData name="Robert Lalhlimpuia [Chillibreeze]" userId="8fe5ebfe-980d-441d-bbff-8c5265b810b8" providerId="ADAL" clId="{8604BD65-8997-4357-BA60-019791E2ED85}" dt="2024-06-12T13:26:07.336" v="5858" actId="571"/>
          <ac:spMkLst>
            <pc:docMk/>
            <pc:sldMk cId="0" sldId="329"/>
            <ac:spMk id="5671" creationId="{B89C86AD-796C-31CA-464B-5F8D92CDC1EB}"/>
          </ac:spMkLst>
        </pc:spChg>
        <pc:spChg chg="mod">
          <ac:chgData name="Robert Lalhlimpuia [Chillibreeze]" userId="8fe5ebfe-980d-441d-bbff-8c5265b810b8" providerId="ADAL" clId="{8604BD65-8997-4357-BA60-019791E2ED85}" dt="2024-06-12T13:26:07.336" v="5858" actId="571"/>
          <ac:spMkLst>
            <pc:docMk/>
            <pc:sldMk cId="0" sldId="329"/>
            <ac:spMk id="5672" creationId="{B2F967E9-335C-D45F-66DC-D79A3D56671D}"/>
          </ac:spMkLst>
        </pc:spChg>
        <pc:spChg chg="mod">
          <ac:chgData name="Robert Lalhlimpuia [Chillibreeze]" userId="8fe5ebfe-980d-441d-bbff-8c5265b810b8" providerId="ADAL" clId="{8604BD65-8997-4357-BA60-019791E2ED85}" dt="2024-06-12T13:26:07.336" v="5858" actId="571"/>
          <ac:spMkLst>
            <pc:docMk/>
            <pc:sldMk cId="0" sldId="329"/>
            <ac:spMk id="5673" creationId="{0D249347-CD81-C4E7-73D9-09A4B02DF764}"/>
          </ac:spMkLst>
        </pc:spChg>
        <pc:spChg chg="mod">
          <ac:chgData name="Robert Lalhlimpuia [Chillibreeze]" userId="8fe5ebfe-980d-441d-bbff-8c5265b810b8" providerId="ADAL" clId="{8604BD65-8997-4357-BA60-019791E2ED85}" dt="2024-06-12T13:26:07.336" v="5858" actId="571"/>
          <ac:spMkLst>
            <pc:docMk/>
            <pc:sldMk cId="0" sldId="329"/>
            <ac:spMk id="5674" creationId="{8DDB9A60-9116-AB61-3AA8-722282C301F6}"/>
          </ac:spMkLst>
        </pc:spChg>
        <pc:spChg chg="mod">
          <ac:chgData name="Robert Lalhlimpuia [Chillibreeze]" userId="8fe5ebfe-980d-441d-bbff-8c5265b810b8" providerId="ADAL" clId="{8604BD65-8997-4357-BA60-019791E2ED85}" dt="2024-06-12T13:26:07.336" v="5858" actId="571"/>
          <ac:spMkLst>
            <pc:docMk/>
            <pc:sldMk cId="0" sldId="329"/>
            <ac:spMk id="5675" creationId="{A81A0E63-EC9F-B36A-81F6-508CF06B9D5D}"/>
          </ac:spMkLst>
        </pc:spChg>
        <pc:spChg chg="mod">
          <ac:chgData name="Robert Lalhlimpuia [Chillibreeze]" userId="8fe5ebfe-980d-441d-bbff-8c5265b810b8" providerId="ADAL" clId="{8604BD65-8997-4357-BA60-019791E2ED85}" dt="2024-06-12T13:26:07.336" v="5858" actId="571"/>
          <ac:spMkLst>
            <pc:docMk/>
            <pc:sldMk cId="0" sldId="329"/>
            <ac:spMk id="5676" creationId="{9819EAA9-019B-B102-23B8-D7A604BB7D29}"/>
          </ac:spMkLst>
        </pc:spChg>
        <pc:spChg chg="mod">
          <ac:chgData name="Robert Lalhlimpuia [Chillibreeze]" userId="8fe5ebfe-980d-441d-bbff-8c5265b810b8" providerId="ADAL" clId="{8604BD65-8997-4357-BA60-019791E2ED85}" dt="2024-06-12T13:26:07.336" v="5858" actId="571"/>
          <ac:spMkLst>
            <pc:docMk/>
            <pc:sldMk cId="0" sldId="329"/>
            <ac:spMk id="5677" creationId="{A8773A81-D4F6-E193-925C-A5494855A2BC}"/>
          </ac:spMkLst>
        </pc:spChg>
        <pc:spChg chg="mod">
          <ac:chgData name="Robert Lalhlimpuia [Chillibreeze]" userId="8fe5ebfe-980d-441d-bbff-8c5265b810b8" providerId="ADAL" clId="{8604BD65-8997-4357-BA60-019791E2ED85}" dt="2024-06-12T13:26:07.336" v="5858" actId="571"/>
          <ac:spMkLst>
            <pc:docMk/>
            <pc:sldMk cId="0" sldId="329"/>
            <ac:spMk id="5678" creationId="{7B6D5929-4F79-0252-B5A5-AEF934D46C09}"/>
          </ac:spMkLst>
        </pc:spChg>
        <pc:spChg chg="mod">
          <ac:chgData name="Robert Lalhlimpuia [Chillibreeze]" userId="8fe5ebfe-980d-441d-bbff-8c5265b810b8" providerId="ADAL" clId="{8604BD65-8997-4357-BA60-019791E2ED85}" dt="2024-06-12T13:26:07.336" v="5858" actId="571"/>
          <ac:spMkLst>
            <pc:docMk/>
            <pc:sldMk cId="0" sldId="329"/>
            <ac:spMk id="5679" creationId="{07AF845E-1DC2-089F-F145-740ED9F809FD}"/>
          </ac:spMkLst>
        </pc:spChg>
        <pc:spChg chg="mod">
          <ac:chgData name="Robert Lalhlimpuia [Chillibreeze]" userId="8fe5ebfe-980d-441d-bbff-8c5265b810b8" providerId="ADAL" clId="{8604BD65-8997-4357-BA60-019791E2ED85}" dt="2024-06-12T13:26:07.336" v="5858" actId="571"/>
          <ac:spMkLst>
            <pc:docMk/>
            <pc:sldMk cId="0" sldId="329"/>
            <ac:spMk id="5680" creationId="{89A99921-9E59-8ED3-9563-CFC23298F5B7}"/>
          </ac:spMkLst>
        </pc:spChg>
        <pc:spChg chg="add mod">
          <ac:chgData name="Robert Lalhlimpuia [Chillibreeze]" userId="8fe5ebfe-980d-441d-bbff-8c5265b810b8" providerId="ADAL" clId="{8604BD65-8997-4357-BA60-019791E2ED85}" dt="2024-06-12T13:26:43.145" v="5876" actId="571"/>
          <ac:spMkLst>
            <pc:docMk/>
            <pc:sldMk cId="0" sldId="329"/>
            <ac:spMk id="5681" creationId="{B2823498-E4D2-1740-3169-D0328F337743}"/>
          </ac:spMkLst>
        </pc:spChg>
        <pc:spChg chg="mod">
          <ac:chgData name="Robert Lalhlimpuia [Chillibreeze]" userId="8fe5ebfe-980d-441d-bbff-8c5265b810b8" providerId="ADAL" clId="{8604BD65-8997-4357-BA60-019791E2ED85}" dt="2024-06-12T13:26:43.145" v="5876" actId="571"/>
          <ac:spMkLst>
            <pc:docMk/>
            <pc:sldMk cId="0" sldId="329"/>
            <ac:spMk id="5683" creationId="{14956AEC-C2D9-A65E-9F6F-66A96DEF1F82}"/>
          </ac:spMkLst>
        </pc:spChg>
        <pc:spChg chg="mod">
          <ac:chgData name="Robert Lalhlimpuia [Chillibreeze]" userId="8fe5ebfe-980d-441d-bbff-8c5265b810b8" providerId="ADAL" clId="{8604BD65-8997-4357-BA60-019791E2ED85}" dt="2024-06-12T13:26:43.145" v="5876" actId="571"/>
          <ac:spMkLst>
            <pc:docMk/>
            <pc:sldMk cId="0" sldId="329"/>
            <ac:spMk id="5689" creationId="{90F73693-8E60-ADB4-09DE-5D992958D9CD}"/>
          </ac:spMkLst>
        </pc:spChg>
        <pc:spChg chg="mod">
          <ac:chgData name="Robert Lalhlimpuia [Chillibreeze]" userId="8fe5ebfe-980d-441d-bbff-8c5265b810b8" providerId="ADAL" clId="{8604BD65-8997-4357-BA60-019791E2ED85}" dt="2024-06-12T13:26:43.145" v="5876" actId="571"/>
          <ac:spMkLst>
            <pc:docMk/>
            <pc:sldMk cId="0" sldId="329"/>
            <ac:spMk id="5690" creationId="{4FEA4620-6F7A-56C3-15B4-08827C82F3EE}"/>
          </ac:spMkLst>
        </pc:spChg>
        <pc:spChg chg="mod">
          <ac:chgData name="Robert Lalhlimpuia [Chillibreeze]" userId="8fe5ebfe-980d-441d-bbff-8c5265b810b8" providerId="ADAL" clId="{8604BD65-8997-4357-BA60-019791E2ED85}" dt="2024-06-12T13:26:43.145" v="5876" actId="571"/>
          <ac:spMkLst>
            <pc:docMk/>
            <pc:sldMk cId="0" sldId="329"/>
            <ac:spMk id="5691" creationId="{CA744E70-A583-8CD0-84C0-334CB14546D2}"/>
          </ac:spMkLst>
        </pc:spChg>
        <pc:spChg chg="mod">
          <ac:chgData name="Robert Lalhlimpuia [Chillibreeze]" userId="8fe5ebfe-980d-441d-bbff-8c5265b810b8" providerId="ADAL" clId="{8604BD65-8997-4357-BA60-019791E2ED85}" dt="2024-06-12T13:26:43.145" v="5876" actId="571"/>
          <ac:spMkLst>
            <pc:docMk/>
            <pc:sldMk cId="0" sldId="329"/>
            <ac:spMk id="5692" creationId="{BE801F19-D21A-716B-A50A-9F76D849CB77}"/>
          </ac:spMkLst>
        </pc:spChg>
        <pc:spChg chg="mod">
          <ac:chgData name="Robert Lalhlimpuia [Chillibreeze]" userId="8fe5ebfe-980d-441d-bbff-8c5265b810b8" providerId="ADAL" clId="{8604BD65-8997-4357-BA60-019791E2ED85}" dt="2024-06-12T13:26:43.145" v="5876" actId="571"/>
          <ac:spMkLst>
            <pc:docMk/>
            <pc:sldMk cId="0" sldId="329"/>
            <ac:spMk id="5693" creationId="{376322C1-C0C1-68C7-649B-7FCB6E15B18A}"/>
          </ac:spMkLst>
        </pc:spChg>
        <pc:spChg chg="mod">
          <ac:chgData name="Robert Lalhlimpuia [Chillibreeze]" userId="8fe5ebfe-980d-441d-bbff-8c5265b810b8" providerId="ADAL" clId="{8604BD65-8997-4357-BA60-019791E2ED85}" dt="2024-06-12T13:26:43.145" v="5876" actId="571"/>
          <ac:spMkLst>
            <pc:docMk/>
            <pc:sldMk cId="0" sldId="329"/>
            <ac:spMk id="5694" creationId="{CE2A849D-22B1-8D28-2A2E-B01D2A9629F3}"/>
          </ac:spMkLst>
        </pc:spChg>
        <pc:spChg chg="mod">
          <ac:chgData name="Robert Lalhlimpuia [Chillibreeze]" userId="8fe5ebfe-980d-441d-bbff-8c5265b810b8" providerId="ADAL" clId="{8604BD65-8997-4357-BA60-019791E2ED85}" dt="2024-06-12T13:26:43.145" v="5876" actId="571"/>
          <ac:spMkLst>
            <pc:docMk/>
            <pc:sldMk cId="0" sldId="329"/>
            <ac:spMk id="5695" creationId="{27359D92-ED8D-B171-AED2-15254E82D6F4}"/>
          </ac:spMkLst>
        </pc:spChg>
        <pc:spChg chg="mod">
          <ac:chgData name="Robert Lalhlimpuia [Chillibreeze]" userId="8fe5ebfe-980d-441d-bbff-8c5265b810b8" providerId="ADAL" clId="{8604BD65-8997-4357-BA60-019791E2ED85}" dt="2024-06-12T13:26:43.145" v="5876" actId="571"/>
          <ac:spMkLst>
            <pc:docMk/>
            <pc:sldMk cId="0" sldId="329"/>
            <ac:spMk id="5696" creationId="{D7C514DC-D4B7-E41D-6F66-3882486D0313}"/>
          </ac:spMkLst>
        </pc:spChg>
        <pc:spChg chg="mod">
          <ac:chgData name="Robert Lalhlimpuia [Chillibreeze]" userId="8fe5ebfe-980d-441d-bbff-8c5265b810b8" providerId="ADAL" clId="{8604BD65-8997-4357-BA60-019791E2ED85}" dt="2024-06-12T13:26:43.145" v="5876" actId="571"/>
          <ac:spMkLst>
            <pc:docMk/>
            <pc:sldMk cId="0" sldId="329"/>
            <ac:spMk id="5697" creationId="{70EDD4CF-D435-B89D-DE58-A4A38CBEEE4D}"/>
          </ac:spMkLst>
        </pc:spChg>
        <pc:spChg chg="mod">
          <ac:chgData name="Robert Lalhlimpuia [Chillibreeze]" userId="8fe5ebfe-980d-441d-bbff-8c5265b810b8" providerId="ADAL" clId="{8604BD65-8997-4357-BA60-019791E2ED85}" dt="2024-06-12T13:26:43.145" v="5876" actId="571"/>
          <ac:spMkLst>
            <pc:docMk/>
            <pc:sldMk cId="0" sldId="329"/>
            <ac:spMk id="5698" creationId="{8445D03C-8A96-0100-8B43-28DD67C14074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700" creationId="{53DD0999-7627-76CF-47B6-9A0C1E035BCB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706" creationId="{FF00FF0C-78BF-384D-C787-13B453F81187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707" creationId="{E4F96FFA-12F9-2F5B-CCCF-368486BB23D4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708" creationId="{902C1CB3-47C3-56D9-05CD-418205ED0B48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709" creationId="{D7268801-5516-E24C-FC96-F7E765398A04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710" creationId="{DD2FEF96-25D6-DB38-5C72-78BE44067AD5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711" creationId="{3A63189A-546C-41CF-91A8-9F5722272087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712" creationId="{6DFC584E-FC11-B3C5-A832-0EE6A6DE180A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713" creationId="{92C360F8-2F3C-034B-B04A-BBA3BA3B39BF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714" creationId="{F51D6DE7-1030-5372-8038-284B4AA8E334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715" creationId="{0BD746A8-A98C-63C3-9D38-A737D84A9ED4}"/>
          </ac:spMkLst>
        </pc:spChg>
        <pc:spChg chg="mod">
          <ac:chgData name="Robert Lalhlimpuia [Chillibreeze]" userId="8fe5ebfe-980d-441d-bbff-8c5265b810b8" providerId="ADAL" clId="{8604BD65-8997-4357-BA60-019791E2ED85}" dt="2024-06-12T13:26:54.142" v="5881" actId="571"/>
          <ac:spMkLst>
            <pc:docMk/>
            <pc:sldMk cId="0" sldId="329"/>
            <ac:spMk id="5717" creationId="{126164BD-2357-9096-D5D7-237B8FCF3122}"/>
          </ac:spMkLst>
        </pc:spChg>
        <pc:spChg chg="mod">
          <ac:chgData name="Robert Lalhlimpuia [Chillibreeze]" userId="8fe5ebfe-980d-441d-bbff-8c5265b810b8" providerId="ADAL" clId="{8604BD65-8997-4357-BA60-019791E2ED85}" dt="2024-06-12T13:26:54.142" v="5881" actId="571"/>
          <ac:spMkLst>
            <pc:docMk/>
            <pc:sldMk cId="0" sldId="329"/>
            <ac:spMk id="5723" creationId="{F31D3F49-DD0C-2CDE-65C4-3ACA1B4EBEB8}"/>
          </ac:spMkLst>
        </pc:spChg>
        <pc:spChg chg="mod">
          <ac:chgData name="Robert Lalhlimpuia [Chillibreeze]" userId="8fe5ebfe-980d-441d-bbff-8c5265b810b8" providerId="ADAL" clId="{8604BD65-8997-4357-BA60-019791E2ED85}" dt="2024-06-12T13:26:54.142" v="5881" actId="571"/>
          <ac:spMkLst>
            <pc:docMk/>
            <pc:sldMk cId="0" sldId="329"/>
            <ac:spMk id="5724" creationId="{1A587E9C-DE1B-661C-48E1-D0D5F4D0A2DE}"/>
          </ac:spMkLst>
        </pc:spChg>
        <pc:spChg chg="mod">
          <ac:chgData name="Robert Lalhlimpuia [Chillibreeze]" userId="8fe5ebfe-980d-441d-bbff-8c5265b810b8" providerId="ADAL" clId="{8604BD65-8997-4357-BA60-019791E2ED85}" dt="2024-06-12T13:26:54.142" v="5881" actId="571"/>
          <ac:spMkLst>
            <pc:docMk/>
            <pc:sldMk cId="0" sldId="329"/>
            <ac:spMk id="5725" creationId="{CF5B4BF3-FD91-81B1-F835-165CEB73081C}"/>
          </ac:spMkLst>
        </pc:spChg>
        <pc:spChg chg="mod">
          <ac:chgData name="Robert Lalhlimpuia [Chillibreeze]" userId="8fe5ebfe-980d-441d-bbff-8c5265b810b8" providerId="ADAL" clId="{8604BD65-8997-4357-BA60-019791E2ED85}" dt="2024-06-12T13:26:54.142" v="5881" actId="571"/>
          <ac:spMkLst>
            <pc:docMk/>
            <pc:sldMk cId="0" sldId="329"/>
            <ac:spMk id="5726" creationId="{8ABB1D31-7FDD-18B7-1D43-24DD28AF1DC9}"/>
          </ac:spMkLst>
        </pc:spChg>
        <pc:spChg chg="mod">
          <ac:chgData name="Robert Lalhlimpuia [Chillibreeze]" userId="8fe5ebfe-980d-441d-bbff-8c5265b810b8" providerId="ADAL" clId="{8604BD65-8997-4357-BA60-019791E2ED85}" dt="2024-06-12T13:26:54.142" v="5881" actId="571"/>
          <ac:spMkLst>
            <pc:docMk/>
            <pc:sldMk cId="0" sldId="329"/>
            <ac:spMk id="5727" creationId="{917BED11-6BD1-7DA1-0C48-77FC0AFB1631}"/>
          </ac:spMkLst>
        </pc:spChg>
        <pc:spChg chg="mod">
          <ac:chgData name="Robert Lalhlimpuia [Chillibreeze]" userId="8fe5ebfe-980d-441d-bbff-8c5265b810b8" providerId="ADAL" clId="{8604BD65-8997-4357-BA60-019791E2ED85}" dt="2024-06-12T13:26:54.142" v="5881" actId="571"/>
          <ac:spMkLst>
            <pc:docMk/>
            <pc:sldMk cId="0" sldId="329"/>
            <ac:spMk id="5728" creationId="{6B77732C-30AF-3B8C-B1D9-6419072B5196}"/>
          </ac:spMkLst>
        </pc:spChg>
        <pc:spChg chg="mod">
          <ac:chgData name="Robert Lalhlimpuia [Chillibreeze]" userId="8fe5ebfe-980d-441d-bbff-8c5265b810b8" providerId="ADAL" clId="{8604BD65-8997-4357-BA60-019791E2ED85}" dt="2024-06-12T13:26:54.142" v="5881" actId="571"/>
          <ac:spMkLst>
            <pc:docMk/>
            <pc:sldMk cId="0" sldId="329"/>
            <ac:spMk id="5729" creationId="{ACCE85E4-B640-9B1F-5717-34C45B1F8A95}"/>
          </ac:spMkLst>
        </pc:spChg>
        <pc:spChg chg="mod">
          <ac:chgData name="Robert Lalhlimpuia [Chillibreeze]" userId="8fe5ebfe-980d-441d-bbff-8c5265b810b8" providerId="ADAL" clId="{8604BD65-8997-4357-BA60-019791E2ED85}" dt="2024-06-12T13:26:54.142" v="5881" actId="571"/>
          <ac:spMkLst>
            <pc:docMk/>
            <pc:sldMk cId="0" sldId="329"/>
            <ac:spMk id="5730" creationId="{9A47BC15-3E09-4AB7-E6AB-B3DF5EA8CB16}"/>
          </ac:spMkLst>
        </pc:spChg>
        <pc:spChg chg="mod">
          <ac:chgData name="Robert Lalhlimpuia [Chillibreeze]" userId="8fe5ebfe-980d-441d-bbff-8c5265b810b8" providerId="ADAL" clId="{8604BD65-8997-4357-BA60-019791E2ED85}" dt="2024-06-12T13:26:54.142" v="5881" actId="571"/>
          <ac:spMkLst>
            <pc:docMk/>
            <pc:sldMk cId="0" sldId="329"/>
            <ac:spMk id="5731" creationId="{3653A63C-4F1E-BD9F-F589-0D3F56C4F681}"/>
          </ac:spMkLst>
        </pc:spChg>
        <pc:spChg chg="mod">
          <ac:chgData name="Robert Lalhlimpuia [Chillibreeze]" userId="8fe5ebfe-980d-441d-bbff-8c5265b810b8" providerId="ADAL" clId="{8604BD65-8997-4357-BA60-019791E2ED85}" dt="2024-06-12T13:26:54.142" v="5881" actId="571"/>
          <ac:spMkLst>
            <pc:docMk/>
            <pc:sldMk cId="0" sldId="329"/>
            <ac:spMk id="5732" creationId="{5FC058D9-935C-A32E-69FA-9E12A2FF2639}"/>
          </ac:spMkLst>
        </pc:spChg>
        <pc:spChg chg="add mod">
          <ac:chgData name="Robert Lalhlimpuia [Chillibreeze]" userId="8fe5ebfe-980d-441d-bbff-8c5265b810b8" providerId="ADAL" clId="{8604BD65-8997-4357-BA60-019791E2ED85}" dt="2024-06-12T13:28:04.288" v="5903" actId="571"/>
          <ac:spMkLst>
            <pc:docMk/>
            <pc:sldMk cId="0" sldId="329"/>
            <ac:spMk id="5733" creationId="{3D753B51-340A-DA0A-3258-67C5CD21E52F}"/>
          </ac:spMkLst>
        </pc:spChg>
        <pc:spChg chg="mod">
          <ac:chgData name="Robert Lalhlimpuia [Chillibreeze]" userId="8fe5ebfe-980d-441d-bbff-8c5265b810b8" providerId="ADAL" clId="{8604BD65-8997-4357-BA60-019791E2ED85}" dt="2024-06-12T13:28:04.288" v="5903" actId="571"/>
          <ac:spMkLst>
            <pc:docMk/>
            <pc:sldMk cId="0" sldId="329"/>
            <ac:spMk id="5735" creationId="{E4C18241-893F-49D5-E123-4F9ECFA49F55}"/>
          </ac:spMkLst>
        </pc:spChg>
        <pc:spChg chg="mod">
          <ac:chgData name="Robert Lalhlimpuia [Chillibreeze]" userId="8fe5ebfe-980d-441d-bbff-8c5265b810b8" providerId="ADAL" clId="{8604BD65-8997-4357-BA60-019791E2ED85}" dt="2024-06-12T13:28:04.288" v="5903" actId="571"/>
          <ac:spMkLst>
            <pc:docMk/>
            <pc:sldMk cId="0" sldId="329"/>
            <ac:spMk id="5741" creationId="{859CDC1B-135E-099B-9C8F-DC27B9374086}"/>
          </ac:spMkLst>
        </pc:spChg>
        <pc:spChg chg="mod">
          <ac:chgData name="Robert Lalhlimpuia [Chillibreeze]" userId="8fe5ebfe-980d-441d-bbff-8c5265b810b8" providerId="ADAL" clId="{8604BD65-8997-4357-BA60-019791E2ED85}" dt="2024-06-12T13:28:04.288" v="5903" actId="571"/>
          <ac:spMkLst>
            <pc:docMk/>
            <pc:sldMk cId="0" sldId="329"/>
            <ac:spMk id="5742" creationId="{5147E2CF-0765-4C4F-50A9-FEF6AA43EB72}"/>
          </ac:spMkLst>
        </pc:spChg>
        <pc:spChg chg="mod">
          <ac:chgData name="Robert Lalhlimpuia [Chillibreeze]" userId="8fe5ebfe-980d-441d-bbff-8c5265b810b8" providerId="ADAL" clId="{8604BD65-8997-4357-BA60-019791E2ED85}" dt="2024-06-12T13:28:04.288" v="5903" actId="571"/>
          <ac:spMkLst>
            <pc:docMk/>
            <pc:sldMk cId="0" sldId="329"/>
            <ac:spMk id="5743" creationId="{D0DB853B-4139-8B50-E88A-097997DD8456}"/>
          </ac:spMkLst>
        </pc:spChg>
        <pc:spChg chg="mod">
          <ac:chgData name="Robert Lalhlimpuia [Chillibreeze]" userId="8fe5ebfe-980d-441d-bbff-8c5265b810b8" providerId="ADAL" clId="{8604BD65-8997-4357-BA60-019791E2ED85}" dt="2024-06-12T13:28:04.288" v="5903" actId="571"/>
          <ac:spMkLst>
            <pc:docMk/>
            <pc:sldMk cId="0" sldId="329"/>
            <ac:spMk id="5744" creationId="{63BD12E8-1BFE-9BCD-04C5-1617DE654557}"/>
          </ac:spMkLst>
        </pc:spChg>
        <pc:spChg chg="mod">
          <ac:chgData name="Robert Lalhlimpuia [Chillibreeze]" userId="8fe5ebfe-980d-441d-bbff-8c5265b810b8" providerId="ADAL" clId="{8604BD65-8997-4357-BA60-019791E2ED85}" dt="2024-06-12T13:28:04.288" v="5903" actId="571"/>
          <ac:spMkLst>
            <pc:docMk/>
            <pc:sldMk cId="0" sldId="329"/>
            <ac:spMk id="5745" creationId="{73B9A9F0-2C5F-29BD-9E6F-2522F102A509}"/>
          </ac:spMkLst>
        </pc:spChg>
        <pc:spChg chg="mod">
          <ac:chgData name="Robert Lalhlimpuia [Chillibreeze]" userId="8fe5ebfe-980d-441d-bbff-8c5265b810b8" providerId="ADAL" clId="{8604BD65-8997-4357-BA60-019791E2ED85}" dt="2024-06-12T13:28:04.288" v="5903" actId="571"/>
          <ac:spMkLst>
            <pc:docMk/>
            <pc:sldMk cId="0" sldId="329"/>
            <ac:spMk id="5746" creationId="{DA2B4B04-B600-248A-9F97-57D9E74E7FDF}"/>
          </ac:spMkLst>
        </pc:spChg>
        <pc:spChg chg="mod">
          <ac:chgData name="Robert Lalhlimpuia [Chillibreeze]" userId="8fe5ebfe-980d-441d-bbff-8c5265b810b8" providerId="ADAL" clId="{8604BD65-8997-4357-BA60-019791E2ED85}" dt="2024-06-12T13:28:04.288" v="5903" actId="571"/>
          <ac:spMkLst>
            <pc:docMk/>
            <pc:sldMk cId="0" sldId="329"/>
            <ac:spMk id="5747" creationId="{D4D11F6A-25E0-8D31-AF61-428651729795}"/>
          </ac:spMkLst>
        </pc:spChg>
        <pc:spChg chg="mod">
          <ac:chgData name="Robert Lalhlimpuia [Chillibreeze]" userId="8fe5ebfe-980d-441d-bbff-8c5265b810b8" providerId="ADAL" clId="{8604BD65-8997-4357-BA60-019791E2ED85}" dt="2024-06-12T13:28:04.288" v="5903" actId="571"/>
          <ac:spMkLst>
            <pc:docMk/>
            <pc:sldMk cId="0" sldId="329"/>
            <ac:spMk id="5748" creationId="{9ECA645F-A944-526F-E3A9-595FE237658E}"/>
          </ac:spMkLst>
        </pc:spChg>
        <pc:spChg chg="mod">
          <ac:chgData name="Robert Lalhlimpuia [Chillibreeze]" userId="8fe5ebfe-980d-441d-bbff-8c5265b810b8" providerId="ADAL" clId="{8604BD65-8997-4357-BA60-019791E2ED85}" dt="2024-06-12T13:28:04.288" v="5903" actId="571"/>
          <ac:spMkLst>
            <pc:docMk/>
            <pc:sldMk cId="0" sldId="329"/>
            <ac:spMk id="5749" creationId="{06F6BC3E-ECE4-40B6-1BA7-28E2F9157C36}"/>
          </ac:spMkLst>
        </pc:spChg>
        <pc:spChg chg="mod">
          <ac:chgData name="Robert Lalhlimpuia [Chillibreeze]" userId="8fe5ebfe-980d-441d-bbff-8c5265b810b8" providerId="ADAL" clId="{8604BD65-8997-4357-BA60-019791E2ED85}" dt="2024-06-12T13:28:04.288" v="5903" actId="571"/>
          <ac:spMkLst>
            <pc:docMk/>
            <pc:sldMk cId="0" sldId="329"/>
            <ac:spMk id="5750" creationId="{E874D6C9-CE41-B4A1-B9D5-9378F42C999B}"/>
          </ac:spMkLst>
        </pc:spChg>
        <pc:spChg chg="mod">
          <ac:chgData name="Robert Lalhlimpuia [Chillibreeze]" userId="8fe5ebfe-980d-441d-bbff-8c5265b810b8" providerId="ADAL" clId="{8604BD65-8997-4357-BA60-019791E2ED85}" dt="2024-06-12T13:28:08.379" v="5904" actId="571"/>
          <ac:spMkLst>
            <pc:docMk/>
            <pc:sldMk cId="0" sldId="329"/>
            <ac:spMk id="5752" creationId="{30D68D9B-6A52-2139-7413-96546D4A595F}"/>
          </ac:spMkLst>
        </pc:spChg>
        <pc:spChg chg="mod">
          <ac:chgData name="Robert Lalhlimpuia [Chillibreeze]" userId="8fe5ebfe-980d-441d-bbff-8c5265b810b8" providerId="ADAL" clId="{8604BD65-8997-4357-BA60-019791E2ED85}" dt="2024-06-12T13:28:08.379" v="5904" actId="571"/>
          <ac:spMkLst>
            <pc:docMk/>
            <pc:sldMk cId="0" sldId="329"/>
            <ac:spMk id="5758" creationId="{9F90116B-0BC3-5373-D0BA-0673F7A2B66B}"/>
          </ac:spMkLst>
        </pc:spChg>
        <pc:spChg chg="mod">
          <ac:chgData name="Robert Lalhlimpuia [Chillibreeze]" userId="8fe5ebfe-980d-441d-bbff-8c5265b810b8" providerId="ADAL" clId="{8604BD65-8997-4357-BA60-019791E2ED85}" dt="2024-06-12T13:28:08.379" v="5904" actId="571"/>
          <ac:spMkLst>
            <pc:docMk/>
            <pc:sldMk cId="0" sldId="329"/>
            <ac:spMk id="5759" creationId="{D50672C0-544F-3C1A-E30E-D4BB6340585B}"/>
          </ac:spMkLst>
        </pc:spChg>
        <pc:spChg chg="mod">
          <ac:chgData name="Robert Lalhlimpuia [Chillibreeze]" userId="8fe5ebfe-980d-441d-bbff-8c5265b810b8" providerId="ADAL" clId="{8604BD65-8997-4357-BA60-019791E2ED85}" dt="2024-06-12T13:28:08.379" v="5904" actId="571"/>
          <ac:spMkLst>
            <pc:docMk/>
            <pc:sldMk cId="0" sldId="329"/>
            <ac:spMk id="5760" creationId="{DC70B919-0173-FF4A-E5A8-8F92EAF5F2CD}"/>
          </ac:spMkLst>
        </pc:spChg>
        <pc:spChg chg="mod">
          <ac:chgData name="Robert Lalhlimpuia [Chillibreeze]" userId="8fe5ebfe-980d-441d-bbff-8c5265b810b8" providerId="ADAL" clId="{8604BD65-8997-4357-BA60-019791E2ED85}" dt="2024-06-12T13:28:08.379" v="5904" actId="571"/>
          <ac:spMkLst>
            <pc:docMk/>
            <pc:sldMk cId="0" sldId="329"/>
            <ac:spMk id="5761" creationId="{AA441E51-446A-1362-99B3-6D09CE1DCAF0}"/>
          </ac:spMkLst>
        </pc:spChg>
        <pc:spChg chg="mod">
          <ac:chgData name="Robert Lalhlimpuia [Chillibreeze]" userId="8fe5ebfe-980d-441d-bbff-8c5265b810b8" providerId="ADAL" clId="{8604BD65-8997-4357-BA60-019791E2ED85}" dt="2024-06-12T13:28:08.379" v="5904" actId="571"/>
          <ac:spMkLst>
            <pc:docMk/>
            <pc:sldMk cId="0" sldId="329"/>
            <ac:spMk id="5762" creationId="{E6ECFFA9-CBDF-6489-0DFA-A8E0D7A217D0}"/>
          </ac:spMkLst>
        </pc:spChg>
        <pc:spChg chg="mod">
          <ac:chgData name="Robert Lalhlimpuia [Chillibreeze]" userId="8fe5ebfe-980d-441d-bbff-8c5265b810b8" providerId="ADAL" clId="{8604BD65-8997-4357-BA60-019791E2ED85}" dt="2024-06-12T13:28:08.379" v="5904" actId="571"/>
          <ac:spMkLst>
            <pc:docMk/>
            <pc:sldMk cId="0" sldId="329"/>
            <ac:spMk id="5763" creationId="{0D172F50-45C2-0442-FF0C-42225E79D96A}"/>
          </ac:spMkLst>
        </pc:spChg>
        <pc:spChg chg="mod">
          <ac:chgData name="Robert Lalhlimpuia [Chillibreeze]" userId="8fe5ebfe-980d-441d-bbff-8c5265b810b8" providerId="ADAL" clId="{8604BD65-8997-4357-BA60-019791E2ED85}" dt="2024-06-12T13:28:08.379" v="5904" actId="571"/>
          <ac:spMkLst>
            <pc:docMk/>
            <pc:sldMk cId="0" sldId="329"/>
            <ac:spMk id="5764" creationId="{EE479A6D-2CCB-6010-D13D-61FF1ADCD6EE}"/>
          </ac:spMkLst>
        </pc:spChg>
        <pc:spChg chg="mod">
          <ac:chgData name="Robert Lalhlimpuia [Chillibreeze]" userId="8fe5ebfe-980d-441d-bbff-8c5265b810b8" providerId="ADAL" clId="{8604BD65-8997-4357-BA60-019791E2ED85}" dt="2024-06-12T13:28:08.379" v="5904" actId="571"/>
          <ac:spMkLst>
            <pc:docMk/>
            <pc:sldMk cId="0" sldId="329"/>
            <ac:spMk id="5765" creationId="{12C25850-6D2D-0B22-593A-AC905C1BD591}"/>
          </ac:spMkLst>
        </pc:spChg>
        <pc:spChg chg="mod">
          <ac:chgData name="Robert Lalhlimpuia [Chillibreeze]" userId="8fe5ebfe-980d-441d-bbff-8c5265b810b8" providerId="ADAL" clId="{8604BD65-8997-4357-BA60-019791E2ED85}" dt="2024-06-12T13:28:08.379" v="5904" actId="571"/>
          <ac:spMkLst>
            <pc:docMk/>
            <pc:sldMk cId="0" sldId="329"/>
            <ac:spMk id="5766" creationId="{91D38119-5507-D435-62AB-DF13D28D7509}"/>
          </ac:spMkLst>
        </pc:spChg>
        <pc:spChg chg="mod">
          <ac:chgData name="Robert Lalhlimpuia [Chillibreeze]" userId="8fe5ebfe-980d-441d-bbff-8c5265b810b8" providerId="ADAL" clId="{8604BD65-8997-4357-BA60-019791E2ED85}" dt="2024-06-12T13:28:08.379" v="5904" actId="571"/>
          <ac:spMkLst>
            <pc:docMk/>
            <pc:sldMk cId="0" sldId="329"/>
            <ac:spMk id="5767" creationId="{EFA9E674-6F87-E129-141D-F9DEF27268F1}"/>
          </ac:spMkLst>
        </pc:spChg>
        <pc:spChg chg="mod">
          <ac:chgData name="Robert Lalhlimpuia [Chillibreeze]" userId="8fe5ebfe-980d-441d-bbff-8c5265b810b8" providerId="ADAL" clId="{8604BD65-8997-4357-BA60-019791E2ED85}" dt="2024-06-12T13:28:20.953" v="5909" actId="571"/>
          <ac:spMkLst>
            <pc:docMk/>
            <pc:sldMk cId="0" sldId="329"/>
            <ac:spMk id="5772" creationId="{6A8746DA-8AF9-6FD4-8359-3E754292B4DB}"/>
          </ac:spMkLst>
        </pc:spChg>
        <pc:spChg chg="mod">
          <ac:chgData name="Robert Lalhlimpuia [Chillibreeze]" userId="8fe5ebfe-980d-441d-bbff-8c5265b810b8" providerId="ADAL" clId="{8604BD65-8997-4357-BA60-019791E2ED85}" dt="2024-06-12T13:28:20.953" v="5909" actId="571"/>
          <ac:spMkLst>
            <pc:docMk/>
            <pc:sldMk cId="0" sldId="329"/>
            <ac:spMk id="5778" creationId="{B8E5A5DE-93E5-7658-D98A-340C3AD93E69}"/>
          </ac:spMkLst>
        </pc:spChg>
        <pc:spChg chg="mod">
          <ac:chgData name="Robert Lalhlimpuia [Chillibreeze]" userId="8fe5ebfe-980d-441d-bbff-8c5265b810b8" providerId="ADAL" clId="{8604BD65-8997-4357-BA60-019791E2ED85}" dt="2024-06-12T13:28:20.953" v="5909" actId="571"/>
          <ac:spMkLst>
            <pc:docMk/>
            <pc:sldMk cId="0" sldId="329"/>
            <ac:spMk id="5779" creationId="{52C6042E-02F5-4ED5-A2EA-083489F08EC8}"/>
          </ac:spMkLst>
        </pc:spChg>
        <pc:spChg chg="mod">
          <ac:chgData name="Robert Lalhlimpuia [Chillibreeze]" userId="8fe5ebfe-980d-441d-bbff-8c5265b810b8" providerId="ADAL" clId="{8604BD65-8997-4357-BA60-019791E2ED85}" dt="2024-06-12T13:28:20.953" v="5909" actId="571"/>
          <ac:spMkLst>
            <pc:docMk/>
            <pc:sldMk cId="0" sldId="329"/>
            <ac:spMk id="5780" creationId="{AEA70057-11FD-EF07-BE00-5530BFBBFA8F}"/>
          </ac:spMkLst>
        </pc:spChg>
        <pc:spChg chg="mod">
          <ac:chgData name="Robert Lalhlimpuia [Chillibreeze]" userId="8fe5ebfe-980d-441d-bbff-8c5265b810b8" providerId="ADAL" clId="{8604BD65-8997-4357-BA60-019791E2ED85}" dt="2024-06-12T13:28:20.953" v="5909" actId="571"/>
          <ac:spMkLst>
            <pc:docMk/>
            <pc:sldMk cId="0" sldId="329"/>
            <ac:spMk id="5781" creationId="{9B496A15-DB8F-DBBE-AEBD-C9FD728AD447}"/>
          </ac:spMkLst>
        </pc:spChg>
        <pc:spChg chg="mod">
          <ac:chgData name="Robert Lalhlimpuia [Chillibreeze]" userId="8fe5ebfe-980d-441d-bbff-8c5265b810b8" providerId="ADAL" clId="{8604BD65-8997-4357-BA60-019791E2ED85}" dt="2024-06-12T13:28:20.953" v="5909" actId="571"/>
          <ac:spMkLst>
            <pc:docMk/>
            <pc:sldMk cId="0" sldId="329"/>
            <ac:spMk id="5782" creationId="{F37DE95A-571D-1351-7634-731AFD6EBBFE}"/>
          </ac:spMkLst>
        </pc:spChg>
        <pc:spChg chg="mod">
          <ac:chgData name="Robert Lalhlimpuia [Chillibreeze]" userId="8fe5ebfe-980d-441d-bbff-8c5265b810b8" providerId="ADAL" clId="{8604BD65-8997-4357-BA60-019791E2ED85}" dt="2024-06-12T13:28:20.953" v="5909" actId="571"/>
          <ac:spMkLst>
            <pc:docMk/>
            <pc:sldMk cId="0" sldId="329"/>
            <ac:spMk id="5783" creationId="{EA1A1AE9-ADE9-2DFE-E359-42E82E7F9FF7}"/>
          </ac:spMkLst>
        </pc:spChg>
        <pc:spChg chg="mod">
          <ac:chgData name="Robert Lalhlimpuia [Chillibreeze]" userId="8fe5ebfe-980d-441d-bbff-8c5265b810b8" providerId="ADAL" clId="{8604BD65-8997-4357-BA60-019791E2ED85}" dt="2024-06-12T13:28:20.953" v="5909" actId="571"/>
          <ac:spMkLst>
            <pc:docMk/>
            <pc:sldMk cId="0" sldId="329"/>
            <ac:spMk id="5784" creationId="{C2E3256D-6531-2951-7B44-98B05BB79A85}"/>
          </ac:spMkLst>
        </pc:spChg>
        <pc:spChg chg="mod">
          <ac:chgData name="Robert Lalhlimpuia [Chillibreeze]" userId="8fe5ebfe-980d-441d-bbff-8c5265b810b8" providerId="ADAL" clId="{8604BD65-8997-4357-BA60-019791E2ED85}" dt="2024-06-12T13:28:20.953" v="5909" actId="571"/>
          <ac:spMkLst>
            <pc:docMk/>
            <pc:sldMk cId="0" sldId="329"/>
            <ac:spMk id="5785" creationId="{E101C780-8AEB-3F61-5A43-2A69F4AF0B6A}"/>
          </ac:spMkLst>
        </pc:spChg>
        <pc:spChg chg="mod">
          <ac:chgData name="Robert Lalhlimpuia [Chillibreeze]" userId="8fe5ebfe-980d-441d-bbff-8c5265b810b8" providerId="ADAL" clId="{8604BD65-8997-4357-BA60-019791E2ED85}" dt="2024-06-12T13:28:20.953" v="5909" actId="571"/>
          <ac:spMkLst>
            <pc:docMk/>
            <pc:sldMk cId="0" sldId="329"/>
            <ac:spMk id="5786" creationId="{CEE0DCD5-A51D-EB29-83A1-B34F62325A45}"/>
          </ac:spMkLst>
        </pc:spChg>
        <pc:spChg chg="mod">
          <ac:chgData name="Robert Lalhlimpuia [Chillibreeze]" userId="8fe5ebfe-980d-441d-bbff-8c5265b810b8" providerId="ADAL" clId="{8604BD65-8997-4357-BA60-019791E2ED85}" dt="2024-06-12T13:28:20.953" v="5909" actId="571"/>
          <ac:spMkLst>
            <pc:docMk/>
            <pc:sldMk cId="0" sldId="329"/>
            <ac:spMk id="5787" creationId="{5AB64771-6313-E5D2-18B2-D147F51C0370}"/>
          </ac:spMkLst>
        </pc:spChg>
        <pc:spChg chg="mod">
          <ac:chgData name="Robert Lalhlimpuia [Chillibreeze]" userId="8fe5ebfe-980d-441d-bbff-8c5265b810b8" providerId="ADAL" clId="{8604BD65-8997-4357-BA60-019791E2ED85}" dt="2024-06-12T13:28:20.953" v="5909" actId="571"/>
          <ac:spMkLst>
            <pc:docMk/>
            <pc:sldMk cId="0" sldId="329"/>
            <ac:spMk id="5788" creationId="{BDE85444-BBE7-EADE-ABCF-90640D581F92}"/>
          </ac:spMkLst>
        </pc:spChg>
        <pc:spChg chg="mod">
          <ac:chgData name="Robert Lalhlimpuia [Chillibreeze]" userId="8fe5ebfe-980d-441d-bbff-8c5265b810b8" providerId="ADAL" clId="{8604BD65-8997-4357-BA60-019791E2ED85}" dt="2024-06-12T13:28:20.953" v="5909" actId="571"/>
          <ac:spMkLst>
            <pc:docMk/>
            <pc:sldMk cId="0" sldId="329"/>
            <ac:spMk id="5794" creationId="{48C71B95-6AB7-6499-7E7B-BD79F03350AC}"/>
          </ac:spMkLst>
        </pc:spChg>
        <pc:spChg chg="mod">
          <ac:chgData name="Robert Lalhlimpuia [Chillibreeze]" userId="8fe5ebfe-980d-441d-bbff-8c5265b810b8" providerId="ADAL" clId="{8604BD65-8997-4357-BA60-019791E2ED85}" dt="2024-06-12T13:28:20.953" v="5909" actId="571"/>
          <ac:spMkLst>
            <pc:docMk/>
            <pc:sldMk cId="0" sldId="329"/>
            <ac:spMk id="5795" creationId="{6290FC90-B6EB-2CA2-2267-53E957E88F3A}"/>
          </ac:spMkLst>
        </pc:spChg>
        <pc:spChg chg="mod">
          <ac:chgData name="Robert Lalhlimpuia [Chillibreeze]" userId="8fe5ebfe-980d-441d-bbff-8c5265b810b8" providerId="ADAL" clId="{8604BD65-8997-4357-BA60-019791E2ED85}" dt="2024-06-12T13:28:20.953" v="5909" actId="571"/>
          <ac:spMkLst>
            <pc:docMk/>
            <pc:sldMk cId="0" sldId="329"/>
            <ac:spMk id="5796" creationId="{5E2F7BD2-9BCD-0510-1F75-063F045EE0CF}"/>
          </ac:spMkLst>
        </pc:spChg>
        <pc:spChg chg="mod">
          <ac:chgData name="Robert Lalhlimpuia [Chillibreeze]" userId="8fe5ebfe-980d-441d-bbff-8c5265b810b8" providerId="ADAL" clId="{8604BD65-8997-4357-BA60-019791E2ED85}" dt="2024-06-12T13:28:20.953" v="5909" actId="571"/>
          <ac:spMkLst>
            <pc:docMk/>
            <pc:sldMk cId="0" sldId="329"/>
            <ac:spMk id="5797" creationId="{9AF67BF7-C56B-382F-DC6A-B6E0A2A7365D}"/>
          </ac:spMkLst>
        </pc:spChg>
        <pc:spChg chg="mod">
          <ac:chgData name="Robert Lalhlimpuia [Chillibreeze]" userId="8fe5ebfe-980d-441d-bbff-8c5265b810b8" providerId="ADAL" clId="{8604BD65-8997-4357-BA60-019791E2ED85}" dt="2024-06-12T13:28:20.953" v="5909" actId="571"/>
          <ac:spMkLst>
            <pc:docMk/>
            <pc:sldMk cId="0" sldId="329"/>
            <ac:spMk id="5798" creationId="{7C141C65-627E-9302-2977-06B5E5C67D10}"/>
          </ac:spMkLst>
        </pc:spChg>
        <pc:spChg chg="mod">
          <ac:chgData name="Robert Lalhlimpuia [Chillibreeze]" userId="8fe5ebfe-980d-441d-bbff-8c5265b810b8" providerId="ADAL" clId="{8604BD65-8997-4357-BA60-019791E2ED85}" dt="2024-06-12T13:28:20.953" v="5909" actId="571"/>
          <ac:spMkLst>
            <pc:docMk/>
            <pc:sldMk cId="0" sldId="329"/>
            <ac:spMk id="5799" creationId="{A23D23C7-7A21-CF26-D27A-B214E11CCA59}"/>
          </ac:spMkLst>
        </pc:spChg>
        <pc:spChg chg="mod">
          <ac:chgData name="Robert Lalhlimpuia [Chillibreeze]" userId="8fe5ebfe-980d-441d-bbff-8c5265b810b8" providerId="ADAL" clId="{8604BD65-8997-4357-BA60-019791E2ED85}" dt="2024-06-12T13:28:20.953" v="5909" actId="571"/>
          <ac:spMkLst>
            <pc:docMk/>
            <pc:sldMk cId="0" sldId="329"/>
            <ac:spMk id="5800" creationId="{9BFEEA60-6EC8-1CC0-D191-65206EC62075}"/>
          </ac:spMkLst>
        </pc:spChg>
        <pc:spChg chg="mod">
          <ac:chgData name="Robert Lalhlimpuia [Chillibreeze]" userId="8fe5ebfe-980d-441d-bbff-8c5265b810b8" providerId="ADAL" clId="{8604BD65-8997-4357-BA60-019791E2ED85}" dt="2024-06-12T13:28:20.953" v="5909" actId="571"/>
          <ac:spMkLst>
            <pc:docMk/>
            <pc:sldMk cId="0" sldId="329"/>
            <ac:spMk id="5801" creationId="{FD96BD85-A144-AE7E-79CB-4828454F008B}"/>
          </ac:spMkLst>
        </pc:spChg>
        <pc:spChg chg="mod">
          <ac:chgData name="Robert Lalhlimpuia [Chillibreeze]" userId="8fe5ebfe-980d-441d-bbff-8c5265b810b8" providerId="ADAL" clId="{8604BD65-8997-4357-BA60-019791E2ED85}" dt="2024-06-12T13:28:20.953" v="5909" actId="571"/>
          <ac:spMkLst>
            <pc:docMk/>
            <pc:sldMk cId="0" sldId="329"/>
            <ac:spMk id="5802" creationId="{236092EE-5B4C-6D8A-AD8F-6AC6B12EEE7F}"/>
          </ac:spMkLst>
        </pc:spChg>
        <pc:spChg chg="mod">
          <ac:chgData name="Robert Lalhlimpuia [Chillibreeze]" userId="8fe5ebfe-980d-441d-bbff-8c5265b810b8" providerId="ADAL" clId="{8604BD65-8997-4357-BA60-019791E2ED85}" dt="2024-06-12T13:28:20.953" v="5909" actId="571"/>
          <ac:spMkLst>
            <pc:docMk/>
            <pc:sldMk cId="0" sldId="329"/>
            <ac:spMk id="5803" creationId="{A9689725-F323-BB8A-2A66-882ACB3037C4}"/>
          </ac:spMkLst>
        </pc:spChg>
        <pc:spChg chg="add mod">
          <ac:chgData name="Robert Lalhlimpuia [Chillibreeze]" userId="8fe5ebfe-980d-441d-bbff-8c5265b810b8" providerId="ADAL" clId="{8604BD65-8997-4357-BA60-019791E2ED85}" dt="2024-06-12T13:28:22.593" v="5911" actId="571"/>
          <ac:spMkLst>
            <pc:docMk/>
            <pc:sldMk cId="0" sldId="329"/>
            <ac:spMk id="5804" creationId="{B8271B7E-0B13-BF5E-7ABB-F4BF41CB2504}"/>
          </ac:spMkLst>
        </pc:spChg>
        <pc:spChg chg="mod">
          <ac:chgData name="Robert Lalhlimpuia [Chillibreeze]" userId="8fe5ebfe-980d-441d-bbff-8c5265b810b8" providerId="ADAL" clId="{8604BD65-8997-4357-BA60-019791E2ED85}" dt="2024-06-12T13:28:22.593" v="5911" actId="571"/>
          <ac:spMkLst>
            <pc:docMk/>
            <pc:sldMk cId="0" sldId="329"/>
            <ac:spMk id="5808" creationId="{91CB7460-0DFE-940B-9394-7FFC9F64657F}"/>
          </ac:spMkLst>
        </pc:spChg>
        <pc:spChg chg="mod">
          <ac:chgData name="Robert Lalhlimpuia [Chillibreeze]" userId="8fe5ebfe-980d-441d-bbff-8c5265b810b8" providerId="ADAL" clId="{8604BD65-8997-4357-BA60-019791E2ED85}" dt="2024-06-12T13:28:22.593" v="5911" actId="571"/>
          <ac:spMkLst>
            <pc:docMk/>
            <pc:sldMk cId="0" sldId="329"/>
            <ac:spMk id="5814" creationId="{CD6B775D-4ACE-0809-BC6D-0AA06EF29886}"/>
          </ac:spMkLst>
        </pc:spChg>
        <pc:spChg chg="mod">
          <ac:chgData name="Robert Lalhlimpuia [Chillibreeze]" userId="8fe5ebfe-980d-441d-bbff-8c5265b810b8" providerId="ADAL" clId="{8604BD65-8997-4357-BA60-019791E2ED85}" dt="2024-06-12T13:28:22.593" v="5911" actId="571"/>
          <ac:spMkLst>
            <pc:docMk/>
            <pc:sldMk cId="0" sldId="329"/>
            <ac:spMk id="5815" creationId="{86F48C7D-481F-0673-31E3-063A9B4D9B0E}"/>
          </ac:spMkLst>
        </pc:spChg>
        <pc:spChg chg="mod">
          <ac:chgData name="Robert Lalhlimpuia [Chillibreeze]" userId="8fe5ebfe-980d-441d-bbff-8c5265b810b8" providerId="ADAL" clId="{8604BD65-8997-4357-BA60-019791E2ED85}" dt="2024-06-12T13:28:22.593" v="5911" actId="571"/>
          <ac:spMkLst>
            <pc:docMk/>
            <pc:sldMk cId="0" sldId="329"/>
            <ac:spMk id="5816" creationId="{F748689B-7FDF-F664-8208-C280D47CA7CC}"/>
          </ac:spMkLst>
        </pc:spChg>
        <pc:spChg chg="mod">
          <ac:chgData name="Robert Lalhlimpuia [Chillibreeze]" userId="8fe5ebfe-980d-441d-bbff-8c5265b810b8" providerId="ADAL" clId="{8604BD65-8997-4357-BA60-019791E2ED85}" dt="2024-06-12T13:28:22.593" v="5911" actId="571"/>
          <ac:spMkLst>
            <pc:docMk/>
            <pc:sldMk cId="0" sldId="329"/>
            <ac:spMk id="5817" creationId="{82CB3AAF-EC62-8ABE-E85E-8A1A91FB6C6B}"/>
          </ac:spMkLst>
        </pc:spChg>
        <pc:spChg chg="mod">
          <ac:chgData name="Robert Lalhlimpuia [Chillibreeze]" userId="8fe5ebfe-980d-441d-bbff-8c5265b810b8" providerId="ADAL" clId="{8604BD65-8997-4357-BA60-019791E2ED85}" dt="2024-06-12T13:28:22.593" v="5911" actId="571"/>
          <ac:spMkLst>
            <pc:docMk/>
            <pc:sldMk cId="0" sldId="329"/>
            <ac:spMk id="5818" creationId="{C30F6DC2-5301-C23C-4E2B-2BB429BED1AA}"/>
          </ac:spMkLst>
        </pc:spChg>
        <pc:spChg chg="mod">
          <ac:chgData name="Robert Lalhlimpuia [Chillibreeze]" userId="8fe5ebfe-980d-441d-bbff-8c5265b810b8" providerId="ADAL" clId="{8604BD65-8997-4357-BA60-019791E2ED85}" dt="2024-06-12T13:28:22.593" v="5911" actId="571"/>
          <ac:spMkLst>
            <pc:docMk/>
            <pc:sldMk cId="0" sldId="329"/>
            <ac:spMk id="5819" creationId="{C63F434E-438C-B512-C542-11FBA3A9ADFC}"/>
          </ac:spMkLst>
        </pc:spChg>
        <pc:spChg chg="mod">
          <ac:chgData name="Robert Lalhlimpuia [Chillibreeze]" userId="8fe5ebfe-980d-441d-bbff-8c5265b810b8" providerId="ADAL" clId="{8604BD65-8997-4357-BA60-019791E2ED85}" dt="2024-06-12T13:28:22.593" v="5911" actId="571"/>
          <ac:spMkLst>
            <pc:docMk/>
            <pc:sldMk cId="0" sldId="329"/>
            <ac:spMk id="5820" creationId="{112B3B5B-D3E0-23E4-86DD-CEBFA3BDB43E}"/>
          </ac:spMkLst>
        </pc:spChg>
        <pc:spChg chg="mod">
          <ac:chgData name="Robert Lalhlimpuia [Chillibreeze]" userId="8fe5ebfe-980d-441d-bbff-8c5265b810b8" providerId="ADAL" clId="{8604BD65-8997-4357-BA60-019791E2ED85}" dt="2024-06-12T13:28:22.593" v="5911" actId="571"/>
          <ac:spMkLst>
            <pc:docMk/>
            <pc:sldMk cId="0" sldId="329"/>
            <ac:spMk id="5821" creationId="{F187289D-CA21-4F5B-1F7F-CCEF9848D25A}"/>
          </ac:spMkLst>
        </pc:spChg>
        <pc:spChg chg="mod">
          <ac:chgData name="Robert Lalhlimpuia [Chillibreeze]" userId="8fe5ebfe-980d-441d-bbff-8c5265b810b8" providerId="ADAL" clId="{8604BD65-8997-4357-BA60-019791E2ED85}" dt="2024-06-12T13:28:22.593" v="5911" actId="571"/>
          <ac:spMkLst>
            <pc:docMk/>
            <pc:sldMk cId="0" sldId="329"/>
            <ac:spMk id="5822" creationId="{11652E08-2500-E321-7B0F-0E288559AF62}"/>
          </ac:spMkLst>
        </pc:spChg>
        <pc:spChg chg="mod">
          <ac:chgData name="Robert Lalhlimpuia [Chillibreeze]" userId="8fe5ebfe-980d-441d-bbff-8c5265b810b8" providerId="ADAL" clId="{8604BD65-8997-4357-BA60-019791E2ED85}" dt="2024-06-12T13:28:22.593" v="5911" actId="571"/>
          <ac:spMkLst>
            <pc:docMk/>
            <pc:sldMk cId="0" sldId="329"/>
            <ac:spMk id="5823" creationId="{5F4B4F8E-572D-0362-7E6E-55253628C612}"/>
          </ac:spMkLst>
        </pc:spChg>
        <pc:spChg chg="mod">
          <ac:chgData name="Robert Lalhlimpuia [Chillibreeze]" userId="8fe5ebfe-980d-441d-bbff-8c5265b810b8" providerId="ADAL" clId="{8604BD65-8997-4357-BA60-019791E2ED85}" dt="2024-06-12T13:28:22.593" v="5911" actId="571"/>
          <ac:spMkLst>
            <pc:docMk/>
            <pc:sldMk cId="0" sldId="329"/>
            <ac:spMk id="5824" creationId="{23BC3B9B-C7B0-EA16-30FD-FA6ECA98D5C0}"/>
          </ac:spMkLst>
        </pc:spChg>
        <pc:spChg chg="mod">
          <ac:chgData name="Robert Lalhlimpuia [Chillibreeze]" userId="8fe5ebfe-980d-441d-bbff-8c5265b810b8" providerId="ADAL" clId="{8604BD65-8997-4357-BA60-019791E2ED85}" dt="2024-06-13T06:03:57.894" v="6697" actId="571"/>
          <ac:spMkLst>
            <pc:docMk/>
            <pc:sldMk cId="0" sldId="329"/>
            <ac:spMk id="5824" creationId="{5AAE2E6B-0729-B197-09AA-D52C019571DF}"/>
          </ac:spMkLst>
        </pc:spChg>
        <pc:spChg chg="mod">
          <ac:chgData name="Robert Lalhlimpuia [Chillibreeze]" userId="8fe5ebfe-980d-441d-bbff-8c5265b810b8" providerId="ADAL" clId="{8604BD65-8997-4357-BA60-019791E2ED85}" dt="2024-06-13T06:03:57.894" v="6697" actId="571"/>
          <ac:spMkLst>
            <pc:docMk/>
            <pc:sldMk cId="0" sldId="329"/>
            <ac:spMk id="5825" creationId="{EEFC2CA7-E4A6-F5CE-2D12-EC9CB5FFB053}"/>
          </ac:spMkLst>
        </pc:spChg>
        <pc:spChg chg="mod">
          <ac:chgData name="Robert Lalhlimpuia [Chillibreeze]" userId="8fe5ebfe-980d-441d-bbff-8c5265b810b8" providerId="ADAL" clId="{8604BD65-8997-4357-BA60-019791E2ED85}" dt="2024-06-13T06:03:57.894" v="6697" actId="571"/>
          <ac:spMkLst>
            <pc:docMk/>
            <pc:sldMk cId="0" sldId="329"/>
            <ac:spMk id="5826" creationId="{6D51A290-FD86-FADA-6997-37085792FD04}"/>
          </ac:spMkLst>
        </pc:spChg>
        <pc:spChg chg="mod">
          <ac:chgData name="Robert Lalhlimpuia [Chillibreeze]" userId="8fe5ebfe-980d-441d-bbff-8c5265b810b8" providerId="ADAL" clId="{8604BD65-8997-4357-BA60-019791E2ED85}" dt="2024-06-13T06:03:59.490" v="6698" actId="571"/>
          <ac:spMkLst>
            <pc:docMk/>
            <pc:sldMk cId="0" sldId="329"/>
            <ac:spMk id="5830" creationId="{112CFF48-A2B4-4BC5-204D-3E75A9D2672A}"/>
          </ac:spMkLst>
        </pc:spChg>
        <pc:spChg chg="mod">
          <ac:chgData name="Robert Lalhlimpuia [Chillibreeze]" userId="8fe5ebfe-980d-441d-bbff-8c5265b810b8" providerId="ADAL" clId="{8604BD65-8997-4357-BA60-019791E2ED85}" dt="2024-06-12T13:28:22.593" v="5911" actId="571"/>
          <ac:spMkLst>
            <pc:docMk/>
            <pc:sldMk cId="0" sldId="329"/>
            <ac:spMk id="5830" creationId="{F2A56841-1DE6-4753-7727-E3DF5F9FA2D7}"/>
          </ac:spMkLst>
        </pc:spChg>
        <pc:spChg chg="mod">
          <ac:chgData name="Robert Lalhlimpuia [Chillibreeze]" userId="8fe5ebfe-980d-441d-bbff-8c5265b810b8" providerId="ADAL" clId="{8604BD65-8997-4357-BA60-019791E2ED85}" dt="2024-06-12T13:28:22.593" v="5911" actId="571"/>
          <ac:spMkLst>
            <pc:docMk/>
            <pc:sldMk cId="0" sldId="329"/>
            <ac:spMk id="5831" creationId="{4DABBBE0-6114-70E5-D980-E9E6E91A2915}"/>
          </ac:spMkLst>
        </pc:spChg>
        <pc:spChg chg="mod">
          <ac:chgData name="Robert Lalhlimpuia [Chillibreeze]" userId="8fe5ebfe-980d-441d-bbff-8c5265b810b8" providerId="ADAL" clId="{8604BD65-8997-4357-BA60-019791E2ED85}" dt="2024-06-13T06:03:59.490" v="6698" actId="571"/>
          <ac:spMkLst>
            <pc:docMk/>
            <pc:sldMk cId="0" sldId="329"/>
            <ac:spMk id="5831" creationId="{C9C3076B-D5B3-6172-78D1-8225C7FA411A}"/>
          </ac:spMkLst>
        </pc:spChg>
        <pc:spChg chg="mod">
          <ac:chgData name="Robert Lalhlimpuia [Chillibreeze]" userId="8fe5ebfe-980d-441d-bbff-8c5265b810b8" providerId="ADAL" clId="{8604BD65-8997-4357-BA60-019791E2ED85}" dt="2024-06-13T06:03:59.490" v="6698" actId="571"/>
          <ac:spMkLst>
            <pc:docMk/>
            <pc:sldMk cId="0" sldId="329"/>
            <ac:spMk id="5832" creationId="{47E30EAF-A3E0-0E95-44D4-9D6782B2929F}"/>
          </ac:spMkLst>
        </pc:spChg>
        <pc:spChg chg="mod">
          <ac:chgData name="Robert Lalhlimpuia [Chillibreeze]" userId="8fe5ebfe-980d-441d-bbff-8c5265b810b8" providerId="ADAL" clId="{8604BD65-8997-4357-BA60-019791E2ED85}" dt="2024-06-12T13:28:22.593" v="5911" actId="571"/>
          <ac:spMkLst>
            <pc:docMk/>
            <pc:sldMk cId="0" sldId="329"/>
            <ac:spMk id="5832" creationId="{F0C3C987-68FF-046E-5616-D9489F3A9263}"/>
          </ac:spMkLst>
        </pc:spChg>
        <pc:spChg chg="mod">
          <ac:chgData name="Robert Lalhlimpuia [Chillibreeze]" userId="8fe5ebfe-980d-441d-bbff-8c5265b810b8" providerId="ADAL" clId="{8604BD65-8997-4357-BA60-019791E2ED85}" dt="2024-06-12T13:28:22.593" v="5911" actId="571"/>
          <ac:spMkLst>
            <pc:docMk/>
            <pc:sldMk cId="0" sldId="329"/>
            <ac:spMk id="5833" creationId="{C732A2AA-C670-6C00-9CB1-66276B9965F9}"/>
          </ac:spMkLst>
        </pc:spChg>
        <pc:spChg chg="mod">
          <ac:chgData name="Robert Lalhlimpuia [Chillibreeze]" userId="8fe5ebfe-980d-441d-bbff-8c5265b810b8" providerId="ADAL" clId="{8604BD65-8997-4357-BA60-019791E2ED85}" dt="2024-06-13T06:03:59.490" v="6698" actId="571"/>
          <ac:spMkLst>
            <pc:docMk/>
            <pc:sldMk cId="0" sldId="329"/>
            <ac:spMk id="5833" creationId="{E10D2580-2385-A879-8E3F-8779345EC1C4}"/>
          </ac:spMkLst>
        </pc:spChg>
        <pc:spChg chg="mod">
          <ac:chgData name="Robert Lalhlimpuia [Chillibreeze]" userId="8fe5ebfe-980d-441d-bbff-8c5265b810b8" providerId="ADAL" clId="{8604BD65-8997-4357-BA60-019791E2ED85}" dt="2024-06-12T13:28:22.593" v="5911" actId="571"/>
          <ac:spMkLst>
            <pc:docMk/>
            <pc:sldMk cId="0" sldId="329"/>
            <ac:spMk id="5834" creationId="{9238FC23-0575-7754-2D40-DEE8C7796EF6}"/>
          </ac:spMkLst>
        </pc:spChg>
        <pc:spChg chg="mod">
          <ac:chgData name="Robert Lalhlimpuia [Chillibreeze]" userId="8fe5ebfe-980d-441d-bbff-8c5265b810b8" providerId="ADAL" clId="{8604BD65-8997-4357-BA60-019791E2ED85}" dt="2024-06-13T06:03:59.490" v="6698" actId="571"/>
          <ac:spMkLst>
            <pc:docMk/>
            <pc:sldMk cId="0" sldId="329"/>
            <ac:spMk id="5834" creationId="{9526FB4F-9FA0-9B12-E9FA-F524F9087087}"/>
          </ac:spMkLst>
        </pc:spChg>
        <pc:spChg chg="mod">
          <ac:chgData name="Robert Lalhlimpuia [Chillibreeze]" userId="8fe5ebfe-980d-441d-bbff-8c5265b810b8" providerId="ADAL" clId="{8604BD65-8997-4357-BA60-019791E2ED85}" dt="2024-06-13T06:03:59.490" v="6698" actId="571"/>
          <ac:spMkLst>
            <pc:docMk/>
            <pc:sldMk cId="0" sldId="329"/>
            <ac:spMk id="5835" creationId="{1150F76B-2F40-7D63-4EA1-F624376C05E8}"/>
          </ac:spMkLst>
        </pc:spChg>
        <pc:spChg chg="mod">
          <ac:chgData name="Robert Lalhlimpuia [Chillibreeze]" userId="8fe5ebfe-980d-441d-bbff-8c5265b810b8" providerId="ADAL" clId="{8604BD65-8997-4357-BA60-019791E2ED85}" dt="2024-06-12T13:28:22.593" v="5911" actId="571"/>
          <ac:spMkLst>
            <pc:docMk/>
            <pc:sldMk cId="0" sldId="329"/>
            <ac:spMk id="5835" creationId="{912DC7CC-C442-26BA-1A50-E6BBEE41B772}"/>
          </ac:spMkLst>
        </pc:spChg>
        <pc:spChg chg="mod">
          <ac:chgData name="Robert Lalhlimpuia [Chillibreeze]" userId="8fe5ebfe-980d-441d-bbff-8c5265b810b8" providerId="ADAL" clId="{8604BD65-8997-4357-BA60-019791E2ED85}" dt="2024-06-12T13:28:22.593" v="5911" actId="571"/>
          <ac:spMkLst>
            <pc:docMk/>
            <pc:sldMk cId="0" sldId="329"/>
            <ac:spMk id="5836" creationId="{9C504283-D7BF-10CD-4068-63EBE1066CF2}"/>
          </ac:spMkLst>
        </pc:spChg>
        <pc:spChg chg="mod">
          <ac:chgData name="Robert Lalhlimpuia [Chillibreeze]" userId="8fe5ebfe-980d-441d-bbff-8c5265b810b8" providerId="ADAL" clId="{8604BD65-8997-4357-BA60-019791E2ED85}" dt="2024-06-13T06:03:59.490" v="6698" actId="571"/>
          <ac:spMkLst>
            <pc:docMk/>
            <pc:sldMk cId="0" sldId="329"/>
            <ac:spMk id="5836" creationId="{B82582B1-75DD-5386-8D7F-801743CF7EA3}"/>
          </ac:spMkLst>
        </pc:spChg>
        <pc:spChg chg="mod">
          <ac:chgData name="Robert Lalhlimpuia [Chillibreeze]" userId="8fe5ebfe-980d-441d-bbff-8c5265b810b8" providerId="ADAL" clId="{8604BD65-8997-4357-BA60-019791E2ED85}" dt="2024-06-12T13:28:22.593" v="5911" actId="571"/>
          <ac:spMkLst>
            <pc:docMk/>
            <pc:sldMk cId="0" sldId="329"/>
            <ac:spMk id="5837" creationId="{327CD6C0-4720-64C3-7121-ABD158E1ED65}"/>
          </ac:spMkLst>
        </pc:spChg>
        <pc:spChg chg="mod">
          <ac:chgData name="Robert Lalhlimpuia [Chillibreeze]" userId="8fe5ebfe-980d-441d-bbff-8c5265b810b8" providerId="ADAL" clId="{8604BD65-8997-4357-BA60-019791E2ED85}" dt="2024-06-13T06:03:59.490" v="6698" actId="571"/>
          <ac:spMkLst>
            <pc:docMk/>
            <pc:sldMk cId="0" sldId="329"/>
            <ac:spMk id="5837" creationId="{82147B7F-4644-3E10-DB3E-668CE8011E42}"/>
          </ac:spMkLst>
        </pc:spChg>
        <pc:spChg chg="mod">
          <ac:chgData name="Robert Lalhlimpuia [Chillibreeze]" userId="8fe5ebfe-980d-441d-bbff-8c5265b810b8" providerId="ADAL" clId="{8604BD65-8997-4357-BA60-019791E2ED85}" dt="2024-06-12T13:28:22.593" v="5911" actId="571"/>
          <ac:spMkLst>
            <pc:docMk/>
            <pc:sldMk cId="0" sldId="329"/>
            <ac:spMk id="5838" creationId="{E92B2B0F-08BF-89FD-5277-1BC88C9DBAF3}"/>
          </ac:spMkLst>
        </pc:spChg>
        <pc:spChg chg="mod">
          <ac:chgData name="Robert Lalhlimpuia [Chillibreeze]" userId="8fe5ebfe-980d-441d-bbff-8c5265b810b8" providerId="ADAL" clId="{8604BD65-8997-4357-BA60-019791E2ED85}" dt="2024-06-13T06:03:59.490" v="6698" actId="571"/>
          <ac:spMkLst>
            <pc:docMk/>
            <pc:sldMk cId="0" sldId="329"/>
            <ac:spMk id="5838" creationId="{F642DD0B-D746-5D17-C84C-2982794E2F50}"/>
          </ac:spMkLst>
        </pc:spChg>
        <pc:spChg chg="mod">
          <ac:chgData name="Robert Lalhlimpuia [Chillibreeze]" userId="8fe5ebfe-980d-441d-bbff-8c5265b810b8" providerId="ADAL" clId="{8604BD65-8997-4357-BA60-019791E2ED85}" dt="2024-06-13T06:03:59.490" v="6698" actId="571"/>
          <ac:spMkLst>
            <pc:docMk/>
            <pc:sldMk cId="0" sldId="329"/>
            <ac:spMk id="5839" creationId="{2E9803EB-5107-DA39-EC18-44532D93FF05}"/>
          </ac:spMkLst>
        </pc:spChg>
        <pc:spChg chg="mod">
          <ac:chgData name="Robert Lalhlimpuia [Chillibreeze]" userId="8fe5ebfe-980d-441d-bbff-8c5265b810b8" providerId="ADAL" clId="{8604BD65-8997-4357-BA60-019791E2ED85}" dt="2024-06-12T13:28:22.593" v="5911" actId="571"/>
          <ac:spMkLst>
            <pc:docMk/>
            <pc:sldMk cId="0" sldId="329"/>
            <ac:spMk id="5839" creationId="{D25CA55A-4A66-2E55-3BF9-38E463008C3E}"/>
          </ac:spMkLst>
        </pc:spChg>
        <pc:spChg chg="mod">
          <ac:chgData name="Robert Lalhlimpuia [Chillibreeze]" userId="8fe5ebfe-980d-441d-bbff-8c5265b810b8" providerId="ADAL" clId="{8604BD65-8997-4357-BA60-019791E2ED85}" dt="2024-06-12T13:28:26.496" v="5913" actId="571"/>
          <ac:spMkLst>
            <pc:docMk/>
            <pc:sldMk cId="0" sldId="329"/>
            <ac:spMk id="5843" creationId="{86C02A92-B14A-9F83-CA82-C628FA1C6837}"/>
          </ac:spMkLst>
        </pc:spChg>
        <pc:spChg chg="mod">
          <ac:chgData name="Robert Lalhlimpuia [Chillibreeze]" userId="8fe5ebfe-980d-441d-bbff-8c5265b810b8" providerId="ADAL" clId="{8604BD65-8997-4357-BA60-019791E2ED85}" dt="2024-06-12T13:28:26.496" v="5913" actId="571"/>
          <ac:spMkLst>
            <pc:docMk/>
            <pc:sldMk cId="0" sldId="329"/>
            <ac:spMk id="5849" creationId="{1B35BF69-8962-B54E-967D-3518B95A90F1}"/>
          </ac:spMkLst>
        </pc:spChg>
        <pc:spChg chg="mod">
          <ac:chgData name="Robert Lalhlimpuia [Chillibreeze]" userId="8fe5ebfe-980d-441d-bbff-8c5265b810b8" providerId="ADAL" clId="{8604BD65-8997-4357-BA60-019791E2ED85}" dt="2024-06-12T13:28:26.496" v="5913" actId="571"/>
          <ac:spMkLst>
            <pc:docMk/>
            <pc:sldMk cId="0" sldId="329"/>
            <ac:spMk id="5850" creationId="{B45C1BFB-A07F-361F-E136-972EA052D81D}"/>
          </ac:spMkLst>
        </pc:spChg>
        <pc:spChg chg="mod">
          <ac:chgData name="Robert Lalhlimpuia [Chillibreeze]" userId="8fe5ebfe-980d-441d-bbff-8c5265b810b8" providerId="ADAL" clId="{8604BD65-8997-4357-BA60-019791E2ED85}" dt="2024-06-12T13:28:26.496" v="5913" actId="571"/>
          <ac:spMkLst>
            <pc:docMk/>
            <pc:sldMk cId="0" sldId="329"/>
            <ac:spMk id="5851" creationId="{6143A223-32F6-9ACA-CA1E-5BD57AB110C6}"/>
          </ac:spMkLst>
        </pc:spChg>
        <pc:spChg chg="mod">
          <ac:chgData name="Robert Lalhlimpuia [Chillibreeze]" userId="8fe5ebfe-980d-441d-bbff-8c5265b810b8" providerId="ADAL" clId="{8604BD65-8997-4357-BA60-019791E2ED85}" dt="2024-06-12T13:28:26.496" v="5913" actId="571"/>
          <ac:spMkLst>
            <pc:docMk/>
            <pc:sldMk cId="0" sldId="329"/>
            <ac:spMk id="5852" creationId="{AD1D44ED-B821-5A7F-B7DE-32E3A866DB22}"/>
          </ac:spMkLst>
        </pc:spChg>
        <pc:spChg chg="mod">
          <ac:chgData name="Robert Lalhlimpuia [Chillibreeze]" userId="8fe5ebfe-980d-441d-bbff-8c5265b810b8" providerId="ADAL" clId="{8604BD65-8997-4357-BA60-019791E2ED85}" dt="2024-06-12T13:28:26.496" v="5913" actId="571"/>
          <ac:spMkLst>
            <pc:docMk/>
            <pc:sldMk cId="0" sldId="329"/>
            <ac:spMk id="5853" creationId="{753584EC-9F51-2F68-19C6-23D4CB89AF4B}"/>
          </ac:spMkLst>
        </pc:spChg>
        <pc:spChg chg="mod">
          <ac:chgData name="Robert Lalhlimpuia [Chillibreeze]" userId="8fe5ebfe-980d-441d-bbff-8c5265b810b8" providerId="ADAL" clId="{8604BD65-8997-4357-BA60-019791E2ED85}" dt="2024-06-12T13:28:26.496" v="5913" actId="571"/>
          <ac:spMkLst>
            <pc:docMk/>
            <pc:sldMk cId="0" sldId="329"/>
            <ac:spMk id="5854" creationId="{2E16A4F3-D76D-2828-0E16-A661DC481663}"/>
          </ac:spMkLst>
        </pc:spChg>
        <pc:spChg chg="mod">
          <ac:chgData name="Robert Lalhlimpuia [Chillibreeze]" userId="8fe5ebfe-980d-441d-bbff-8c5265b810b8" providerId="ADAL" clId="{8604BD65-8997-4357-BA60-019791E2ED85}" dt="2024-06-12T13:28:26.496" v="5913" actId="571"/>
          <ac:spMkLst>
            <pc:docMk/>
            <pc:sldMk cId="0" sldId="329"/>
            <ac:spMk id="5855" creationId="{A7C56064-4D5D-79CD-A111-45E0BC8FFCF9}"/>
          </ac:spMkLst>
        </pc:spChg>
        <pc:spChg chg="mod">
          <ac:chgData name="Robert Lalhlimpuia [Chillibreeze]" userId="8fe5ebfe-980d-441d-bbff-8c5265b810b8" providerId="ADAL" clId="{8604BD65-8997-4357-BA60-019791E2ED85}" dt="2024-06-12T13:28:26.496" v="5913" actId="571"/>
          <ac:spMkLst>
            <pc:docMk/>
            <pc:sldMk cId="0" sldId="329"/>
            <ac:spMk id="5856" creationId="{46D3C526-28AE-AFA9-E8CE-4E059857A847}"/>
          </ac:spMkLst>
        </pc:spChg>
        <pc:spChg chg="mod">
          <ac:chgData name="Robert Lalhlimpuia [Chillibreeze]" userId="8fe5ebfe-980d-441d-bbff-8c5265b810b8" providerId="ADAL" clId="{8604BD65-8997-4357-BA60-019791E2ED85}" dt="2024-06-12T13:28:26.496" v="5913" actId="571"/>
          <ac:spMkLst>
            <pc:docMk/>
            <pc:sldMk cId="0" sldId="329"/>
            <ac:spMk id="5857" creationId="{E1A998BB-81A0-71AB-0689-3CCA4264F16E}"/>
          </ac:spMkLst>
        </pc:spChg>
        <pc:spChg chg="mod">
          <ac:chgData name="Robert Lalhlimpuia [Chillibreeze]" userId="8fe5ebfe-980d-441d-bbff-8c5265b810b8" providerId="ADAL" clId="{8604BD65-8997-4357-BA60-019791E2ED85}" dt="2024-06-12T13:28:26.496" v="5913" actId="571"/>
          <ac:spMkLst>
            <pc:docMk/>
            <pc:sldMk cId="0" sldId="329"/>
            <ac:spMk id="5858" creationId="{901D9DDD-EFD8-CCD5-57C5-2B05C95A0101}"/>
          </ac:spMkLst>
        </pc:spChg>
        <pc:spChg chg="mod">
          <ac:chgData name="Robert Lalhlimpuia [Chillibreeze]" userId="8fe5ebfe-980d-441d-bbff-8c5265b810b8" providerId="ADAL" clId="{8604BD65-8997-4357-BA60-019791E2ED85}" dt="2024-06-12T13:28:26.496" v="5913" actId="571"/>
          <ac:spMkLst>
            <pc:docMk/>
            <pc:sldMk cId="0" sldId="329"/>
            <ac:spMk id="5859" creationId="{57D810FC-53D0-EA81-BE09-E6E488E533A6}"/>
          </ac:spMkLst>
        </pc:spChg>
        <pc:spChg chg="mod">
          <ac:chgData name="Robert Lalhlimpuia [Chillibreeze]" userId="8fe5ebfe-980d-441d-bbff-8c5265b810b8" providerId="ADAL" clId="{8604BD65-8997-4357-BA60-019791E2ED85}" dt="2024-06-12T13:28:26.496" v="5913" actId="571"/>
          <ac:spMkLst>
            <pc:docMk/>
            <pc:sldMk cId="0" sldId="329"/>
            <ac:spMk id="5865" creationId="{DE446791-F53D-816D-CE73-0864FF57142D}"/>
          </ac:spMkLst>
        </pc:spChg>
        <pc:spChg chg="mod">
          <ac:chgData name="Robert Lalhlimpuia [Chillibreeze]" userId="8fe5ebfe-980d-441d-bbff-8c5265b810b8" providerId="ADAL" clId="{8604BD65-8997-4357-BA60-019791E2ED85}" dt="2024-06-12T13:28:26.496" v="5913" actId="571"/>
          <ac:spMkLst>
            <pc:docMk/>
            <pc:sldMk cId="0" sldId="329"/>
            <ac:spMk id="5866" creationId="{D0497FA0-D87D-2C5E-BDAC-94C81E584F8A}"/>
          </ac:spMkLst>
        </pc:spChg>
        <pc:spChg chg="mod">
          <ac:chgData name="Robert Lalhlimpuia [Chillibreeze]" userId="8fe5ebfe-980d-441d-bbff-8c5265b810b8" providerId="ADAL" clId="{8604BD65-8997-4357-BA60-019791E2ED85}" dt="2024-06-12T13:28:26.496" v="5913" actId="571"/>
          <ac:spMkLst>
            <pc:docMk/>
            <pc:sldMk cId="0" sldId="329"/>
            <ac:spMk id="5867" creationId="{22A96B97-D525-5133-552A-6DD139EB3DA4}"/>
          </ac:spMkLst>
        </pc:spChg>
        <pc:spChg chg="mod">
          <ac:chgData name="Robert Lalhlimpuia [Chillibreeze]" userId="8fe5ebfe-980d-441d-bbff-8c5265b810b8" providerId="ADAL" clId="{8604BD65-8997-4357-BA60-019791E2ED85}" dt="2024-06-12T13:28:26.496" v="5913" actId="571"/>
          <ac:spMkLst>
            <pc:docMk/>
            <pc:sldMk cId="0" sldId="329"/>
            <ac:spMk id="5868" creationId="{55D346E4-99E6-1ECF-2C79-A7E0AB990F74}"/>
          </ac:spMkLst>
        </pc:spChg>
        <pc:spChg chg="mod">
          <ac:chgData name="Robert Lalhlimpuia [Chillibreeze]" userId="8fe5ebfe-980d-441d-bbff-8c5265b810b8" providerId="ADAL" clId="{8604BD65-8997-4357-BA60-019791E2ED85}" dt="2024-06-12T13:28:26.496" v="5913" actId="571"/>
          <ac:spMkLst>
            <pc:docMk/>
            <pc:sldMk cId="0" sldId="329"/>
            <ac:spMk id="5869" creationId="{53A4E346-B8F1-07E5-8B0A-76031726F6B6}"/>
          </ac:spMkLst>
        </pc:spChg>
        <pc:spChg chg="mod">
          <ac:chgData name="Robert Lalhlimpuia [Chillibreeze]" userId="8fe5ebfe-980d-441d-bbff-8c5265b810b8" providerId="ADAL" clId="{8604BD65-8997-4357-BA60-019791E2ED85}" dt="2024-06-12T13:28:26.496" v="5913" actId="571"/>
          <ac:spMkLst>
            <pc:docMk/>
            <pc:sldMk cId="0" sldId="329"/>
            <ac:spMk id="5870" creationId="{DA9759DA-2F97-4269-3443-2997E84703F9}"/>
          </ac:spMkLst>
        </pc:spChg>
        <pc:spChg chg="mod">
          <ac:chgData name="Robert Lalhlimpuia [Chillibreeze]" userId="8fe5ebfe-980d-441d-bbff-8c5265b810b8" providerId="ADAL" clId="{8604BD65-8997-4357-BA60-019791E2ED85}" dt="2024-06-12T13:28:26.496" v="5913" actId="571"/>
          <ac:spMkLst>
            <pc:docMk/>
            <pc:sldMk cId="0" sldId="329"/>
            <ac:spMk id="5871" creationId="{ED1C0C39-3F0D-7D90-D994-4FCE86A8187D}"/>
          </ac:spMkLst>
        </pc:spChg>
        <pc:spChg chg="mod">
          <ac:chgData name="Robert Lalhlimpuia [Chillibreeze]" userId="8fe5ebfe-980d-441d-bbff-8c5265b810b8" providerId="ADAL" clId="{8604BD65-8997-4357-BA60-019791E2ED85}" dt="2024-06-12T13:28:26.496" v="5913" actId="571"/>
          <ac:spMkLst>
            <pc:docMk/>
            <pc:sldMk cId="0" sldId="329"/>
            <ac:spMk id="5872" creationId="{9AC5B384-F8A2-9B5F-2B02-88350587BD6C}"/>
          </ac:spMkLst>
        </pc:spChg>
        <pc:spChg chg="mod">
          <ac:chgData name="Robert Lalhlimpuia [Chillibreeze]" userId="8fe5ebfe-980d-441d-bbff-8c5265b810b8" providerId="ADAL" clId="{8604BD65-8997-4357-BA60-019791E2ED85}" dt="2024-06-12T13:28:26.496" v="5913" actId="571"/>
          <ac:spMkLst>
            <pc:docMk/>
            <pc:sldMk cId="0" sldId="329"/>
            <ac:spMk id="5873" creationId="{B7CC99D3-C1AA-C004-660D-721E106BAEB3}"/>
          </ac:spMkLst>
        </pc:spChg>
        <pc:spChg chg="mod">
          <ac:chgData name="Robert Lalhlimpuia [Chillibreeze]" userId="8fe5ebfe-980d-441d-bbff-8c5265b810b8" providerId="ADAL" clId="{8604BD65-8997-4357-BA60-019791E2ED85}" dt="2024-06-12T13:28:26.496" v="5913" actId="571"/>
          <ac:spMkLst>
            <pc:docMk/>
            <pc:sldMk cId="0" sldId="329"/>
            <ac:spMk id="5874" creationId="{EABDF6E9-5856-24CB-17BA-1D3179933F96}"/>
          </ac:spMkLst>
        </pc:spChg>
        <pc:spChg chg="add mod">
          <ac:chgData name="Robert Lalhlimpuia [Chillibreeze]" userId="8fe5ebfe-980d-441d-bbff-8c5265b810b8" providerId="ADAL" clId="{8604BD65-8997-4357-BA60-019791E2ED85}" dt="2024-06-12T13:28:40.866" v="5920" actId="571"/>
          <ac:spMkLst>
            <pc:docMk/>
            <pc:sldMk cId="0" sldId="329"/>
            <ac:spMk id="5875" creationId="{E14621C5-B131-834C-9D79-9993F60786F1}"/>
          </ac:spMkLst>
        </pc:spChg>
        <pc:spChg chg="mod">
          <ac:chgData name="Robert Lalhlimpuia [Chillibreeze]" userId="8fe5ebfe-980d-441d-bbff-8c5265b810b8" providerId="ADAL" clId="{8604BD65-8997-4357-BA60-019791E2ED85}" dt="2024-06-12T13:28:40.866" v="5920" actId="571"/>
          <ac:spMkLst>
            <pc:docMk/>
            <pc:sldMk cId="0" sldId="329"/>
            <ac:spMk id="5877" creationId="{449EE61F-DF43-301E-DDFC-4E7BD33279B5}"/>
          </ac:spMkLst>
        </pc:spChg>
        <pc:spChg chg="mod">
          <ac:chgData name="Robert Lalhlimpuia [Chillibreeze]" userId="8fe5ebfe-980d-441d-bbff-8c5265b810b8" providerId="ADAL" clId="{8604BD65-8997-4357-BA60-019791E2ED85}" dt="2024-06-13T06:05:56.676" v="6720"/>
          <ac:spMkLst>
            <pc:docMk/>
            <pc:sldMk cId="0" sldId="329"/>
            <ac:spMk id="5878" creationId="{72CE6B13-B0AF-5AE8-4FE4-EA97692A3E4B}"/>
          </ac:spMkLst>
        </pc:spChg>
        <pc:spChg chg="mod">
          <ac:chgData name="Robert Lalhlimpuia [Chillibreeze]" userId="8fe5ebfe-980d-441d-bbff-8c5265b810b8" providerId="ADAL" clId="{8604BD65-8997-4357-BA60-019791E2ED85}" dt="2024-06-13T06:05:56.676" v="6720"/>
          <ac:spMkLst>
            <pc:docMk/>
            <pc:sldMk cId="0" sldId="329"/>
            <ac:spMk id="5879" creationId="{B2E7110A-2C2F-6670-544D-FBB054882A4E}"/>
          </ac:spMkLst>
        </pc:spChg>
        <pc:spChg chg="mod">
          <ac:chgData name="Robert Lalhlimpuia [Chillibreeze]" userId="8fe5ebfe-980d-441d-bbff-8c5265b810b8" providerId="ADAL" clId="{8604BD65-8997-4357-BA60-019791E2ED85}" dt="2024-06-13T06:05:56.676" v="6720"/>
          <ac:spMkLst>
            <pc:docMk/>
            <pc:sldMk cId="0" sldId="329"/>
            <ac:spMk id="5880" creationId="{C1B17CAE-265A-99AE-6CE2-90D63D98FE5E}"/>
          </ac:spMkLst>
        </pc:spChg>
        <pc:spChg chg="mod">
          <ac:chgData name="Robert Lalhlimpuia [Chillibreeze]" userId="8fe5ebfe-980d-441d-bbff-8c5265b810b8" providerId="ADAL" clId="{8604BD65-8997-4357-BA60-019791E2ED85}" dt="2024-06-13T06:05:56.676" v="6720"/>
          <ac:spMkLst>
            <pc:docMk/>
            <pc:sldMk cId="0" sldId="329"/>
            <ac:spMk id="5881" creationId="{219E67B5-F68E-78AC-F8BE-76D6EF4F3870}"/>
          </ac:spMkLst>
        </pc:spChg>
        <pc:spChg chg="mod">
          <ac:chgData name="Robert Lalhlimpuia [Chillibreeze]" userId="8fe5ebfe-980d-441d-bbff-8c5265b810b8" providerId="ADAL" clId="{8604BD65-8997-4357-BA60-019791E2ED85}" dt="2024-06-13T06:05:56.676" v="6720"/>
          <ac:spMkLst>
            <pc:docMk/>
            <pc:sldMk cId="0" sldId="329"/>
            <ac:spMk id="5882" creationId="{0F966C4F-89FC-EA9F-CB60-D5B620B063E8}"/>
          </ac:spMkLst>
        </pc:spChg>
        <pc:spChg chg="mod">
          <ac:chgData name="Robert Lalhlimpuia [Chillibreeze]" userId="8fe5ebfe-980d-441d-bbff-8c5265b810b8" providerId="ADAL" clId="{8604BD65-8997-4357-BA60-019791E2ED85}" dt="2024-06-13T06:05:56.676" v="6720"/>
          <ac:spMkLst>
            <pc:docMk/>
            <pc:sldMk cId="0" sldId="329"/>
            <ac:spMk id="5883" creationId="{A4303512-2609-5C6E-99C8-261531E760CB}"/>
          </ac:spMkLst>
        </pc:spChg>
        <pc:spChg chg="mod">
          <ac:chgData name="Robert Lalhlimpuia [Chillibreeze]" userId="8fe5ebfe-980d-441d-bbff-8c5265b810b8" providerId="ADAL" clId="{8604BD65-8997-4357-BA60-019791E2ED85}" dt="2024-06-12T13:28:40.866" v="5920" actId="571"/>
          <ac:spMkLst>
            <pc:docMk/>
            <pc:sldMk cId="0" sldId="329"/>
            <ac:spMk id="5883" creationId="{B3909557-F60F-B75B-4411-C4708D396FDB}"/>
          </ac:spMkLst>
        </pc:spChg>
        <pc:spChg chg="mod">
          <ac:chgData name="Robert Lalhlimpuia [Chillibreeze]" userId="8fe5ebfe-980d-441d-bbff-8c5265b810b8" providerId="ADAL" clId="{8604BD65-8997-4357-BA60-019791E2ED85}" dt="2024-06-12T13:28:40.866" v="5920" actId="571"/>
          <ac:spMkLst>
            <pc:docMk/>
            <pc:sldMk cId="0" sldId="329"/>
            <ac:spMk id="5884" creationId="{0204D14A-D6D3-2C5E-FFEA-59D626D8E643}"/>
          </ac:spMkLst>
        </pc:spChg>
        <pc:spChg chg="mod">
          <ac:chgData name="Robert Lalhlimpuia [Chillibreeze]" userId="8fe5ebfe-980d-441d-bbff-8c5265b810b8" providerId="ADAL" clId="{8604BD65-8997-4357-BA60-019791E2ED85}" dt="2024-06-13T06:05:56.676" v="6720"/>
          <ac:spMkLst>
            <pc:docMk/>
            <pc:sldMk cId="0" sldId="329"/>
            <ac:spMk id="5884" creationId="{133F5444-3F52-9C96-A6B8-3E4566813651}"/>
          </ac:spMkLst>
        </pc:spChg>
        <pc:spChg chg="mod">
          <ac:chgData name="Robert Lalhlimpuia [Chillibreeze]" userId="8fe5ebfe-980d-441d-bbff-8c5265b810b8" providerId="ADAL" clId="{8604BD65-8997-4357-BA60-019791E2ED85}" dt="2024-06-13T06:05:56.676" v="6720"/>
          <ac:spMkLst>
            <pc:docMk/>
            <pc:sldMk cId="0" sldId="329"/>
            <ac:spMk id="5885" creationId="{8930B907-385A-D75B-DB23-25B283B32E13}"/>
          </ac:spMkLst>
        </pc:spChg>
        <pc:spChg chg="mod">
          <ac:chgData name="Robert Lalhlimpuia [Chillibreeze]" userId="8fe5ebfe-980d-441d-bbff-8c5265b810b8" providerId="ADAL" clId="{8604BD65-8997-4357-BA60-019791E2ED85}" dt="2024-06-12T13:28:40.866" v="5920" actId="571"/>
          <ac:spMkLst>
            <pc:docMk/>
            <pc:sldMk cId="0" sldId="329"/>
            <ac:spMk id="5885" creationId="{9FAF7EF6-CFCB-EC37-A7AA-4E560A9653AA}"/>
          </ac:spMkLst>
        </pc:spChg>
        <pc:spChg chg="mod">
          <ac:chgData name="Robert Lalhlimpuia [Chillibreeze]" userId="8fe5ebfe-980d-441d-bbff-8c5265b810b8" providerId="ADAL" clId="{8604BD65-8997-4357-BA60-019791E2ED85}" dt="2024-06-12T13:28:40.866" v="5920" actId="571"/>
          <ac:spMkLst>
            <pc:docMk/>
            <pc:sldMk cId="0" sldId="329"/>
            <ac:spMk id="5886" creationId="{CBFC86A7-017D-CDAD-9CFD-C883BB6FF49B}"/>
          </ac:spMkLst>
        </pc:spChg>
        <pc:spChg chg="mod">
          <ac:chgData name="Robert Lalhlimpuia [Chillibreeze]" userId="8fe5ebfe-980d-441d-bbff-8c5265b810b8" providerId="ADAL" clId="{8604BD65-8997-4357-BA60-019791E2ED85}" dt="2024-06-13T06:05:56.676" v="6720"/>
          <ac:spMkLst>
            <pc:docMk/>
            <pc:sldMk cId="0" sldId="329"/>
            <ac:spMk id="5886" creationId="{F31FAEBF-FCC5-30D1-804B-38BB7919EB45}"/>
          </ac:spMkLst>
        </pc:spChg>
        <pc:spChg chg="mod">
          <ac:chgData name="Robert Lalhlimpuia [Chillibreeze]" userId="8fe5ebfe-980d-441d-bbff-8c5265b810b8" providerId="ADAL" clId="{8604BD65-8997-4357-BA60-019791E2ED85}" dt="2024-06-12T13:28:40.866" v="5920" actId="571"/>
          <ac:spMkLst>
            <pc:docMk/>
            <pc:sldMk cId="0" sldId="329"/>
            <ac:spMk id="5887" creationId="{7C3B2AA9-0CEB-2435-7AD6-531A361B5C27}"/>
          </ac:spMkLst>
        </pc:spChg>
        <pc:spChg chg="mod">
          <ac:chgData name="Robert Lalhlimpuia [Chillibreeze]" userId="8fe5ebfe-980d-441d-bbff-8c5265b810b8" providerId="ADAL" clId="{8604BD65-8997-4357-BA60-019791E2ED85}" dt="2024-06-13T06:05:56.676" v="6720"/>
          <ac:spMkLst>
            <pc:docMk/>
            <pc:sldMk cId="0" sldId="329"/>
            <ac:spMk id="5887" creationId="{E84F9940-C72A-0712-F575-1662B6D11AF6}"/>
          </ac:spMkLst>
        </pc:spChg>
        <pc:spChg chg="mod">
          <ac:chgData name="Robert Lalhlimpuia [Chillibreeze]" userId="8fe5ebfe-980d-441d-bbff-8c5265b810b8" providerId="ADAL" clId="{8604BD65-8997-4357-BA60-019791E2ED85}" dt="2024-06-12T13:28:40.866" v="5920" actId="571"/>
          <ac:spMkLst>
            <pc:docMk/>
            <pc:sldMk cId="0" sldId="329"/>
            <ac:spMk id="5888" creationId="{09F1130D-5FC2-D8A8-B009-9340ED61B35D}"/>
          </ac:spMkLst>
        </pc:spChg>
        <pc:spChg chg="mod">
          <ac:chgData name="Robert Lalhlimpuia [Chillibreeze]" userId="8fe5ebfe-980d-441d-bbff-8c5265b810b8" providerId="ADAL" clId="{8604BD65-8997-4357-BA60-019791E2ED85}" dt="2024-06-13T06:06:02.442" v="6724" actId="165"/>
          <ac:spMkLst>
            <pc:docMk/>
            <pc:sldMk cId="0" sldId="329"/>
            <ac:spMk id="5888" creationId="{9979ED80-9D6F-660D-904C-94B3D3AFEFDD}"/>
          </ac:spMkLst>
        </pc:spChg>
        <pc:spChg chg="mod">
          <ac:chgData name="Robert Lalhlimpuia [Chillibreeze]" userId="8fe5ebfe-980d-441d-bbff-8c5265b810b8" providerId="ADAL" clId="{8604BD65-8997-4357-BA60-019791E2ED85}" dt="2024-06-12T13:28:40.866" v="5920" actId="571"/>
          <ac:spMkLst>
            <pc:docMk/>
            <pc:sldMk cId="0" sldId="329"/>
            <ac:spMk id="5889" creationId="{060586E9-6143-7D10-701D-381A297F91D6}"/>
          </ac:spMkLst>
        </pc:spChg>
        <pc:spChg chg="mod">
          <ac:chgData name="Robert Lalhlimpuia [Chillibreeze]" userId="8fe5ebfe-980d-441d-bbff-8c5265b810b8" providerId="ADAL" clId="{8604BD65-8997-4357-BA60-019791E2ED85}" dt="2024-06-13T06:06:02.442" v="6724" actId="165"/>
          <ac:spMkLst>
            <pc:docMk/>
            <pc:sldMk cId="0" sldId="329"/>
            <ac:spMk id="5889" creationId="{3D21E5F3-B52D-DBF3-5B70-C0989E42EC3C}"/>
          </ac:spMkLst>
        </pc:spChg>
        <pc:spChg chg="mod">
          <ac:chgData name="Robert Lalhlimpuia [Chillibreeze]" userId="8fe5ebfe-980d-441d-bbff-8c5265b810b8" providerId="ADAL" clId="{8604BD65-8997-4357-BA60-019791E2ED85}" dt="2024-06-12T13:28:40.866" v="5920" actId="571"/>
          <ac:spMkLst>
            <pc:docMk/>
            <pc:sldMk cId="0" sldId="329"/>
            <ac:spMk id="5890" creationId="{7C1F93BE-52A7-B5D0-6333-DE8E5BF1A5DE}"/>
          </ac:spMkLst>
        </pc:spChg>
        <pc:spChg chg="mod">
          <ac:chgData name="Robert Lalhlimpuia [Chillibreeze]" userId="8fe5ebfe-980d-441d-bbff-8c5265b810b8" providerId="ADAL" clId="{8604BD65-8997-4357-BA60-019791E2ED85}" dt="2024-06-13T06:06:02.442" v="6724" actId="165"/>
          <ac:spMkLst>
            <pc:docMk/>
            <pc:sldMk cId="0" sldId="329"/>
            <ac:spMk id="5890" creationId="{E6BE6D78-30E5-162C-425F-64E6C28DA263}"/>
          </ac:spMkLst>
        </pc:spChg>
        <pc:spChg chg="mod">
          <ac:chgData name="Robert Lalhlimpuia [Chillibreeze]" userId="8fe5ebfe-980d-441d-bbff-8c5265b810b8" providerId="ADAL" clId="{8604BD65-8997-4357-BA60-019791E2ED85}" dt="2024-06-13T06:06:02.442" v="6724" actId="165"/>
          <ac:spMkLst>
            <pc:docMk/>
            <pc:sldMk cId="0" sldId="329"/>
            <ac:spMk id="5891" creationId="{9D95AD05-82EB-20C4-482C-033482206681}"/>
          </ac:spMkLst>
        </pc:spChg>
        <pc:spChg chg="mod">
          <ac:chgData name="Robert Lalhlimpuia [Chillibreeze]" userId="8fe5ebfe-980d-441d-bbff-8c5265b810b8" providerId="ADAL" clId="{8604BD65-8997-4357-BA60-019791E2ED85}" dt="2024-06-12T13:28:40.866" v="5920" actId="571"/>
          <ac:spMkLst>
            <pc:docMk/>
            <pc:sldMk cId="0" sldId="329"/>
            <ac:spMk id="5891" creationId="{BBDDA7E0-8361-47D7-9ECA-6234F3E9E406}"/>
          </ac:spMkLst>
        </pc:spChg>
        <pc:spChg chg="mod">
          <ac:chgData name="Robert Lalhlimpuia [Chillibreeze]" userId="8fe5ebfe-980d-441d-bbff-8c5265b810b8" providerId="ADAL" clId="{8604BD65-8997-4357-BA60-019791E2ED85}" dt="2024-06-12T13:28:40.866" v="5920" actId="571"/>
          <ac:spMkLst>
            <pc:docMk/>
            <pc:sldMk cId="0" sldId="329"/>
            <ac:spMk id="5892" creationId="{BF53A5C0-2319-0AD7-D36C-74214BCB7689}"/>
          </ac:spMkLst>
        </pc:spChg>
        <pc:spChg chg="mod">
          <ac:chgData name="Robert Lalhlimpuia [Chillibreeze]" userId="8fe5ebfe-980d-441d-bbff-8c5265b810b8" providerId="ADAL" clId="{8604BD65-8997-4357-BA60-019791E2ED85}" dt="2024-06-13T06:06:02.442" v="6724" actId="165"/>
          <ac:spMkLst>
            <pc:docMk/>
            <pc:sldMk cId="0" sldId="329"/>
            <ac:spMk id="5892" creationId="{C1DBE714-9278-2318-038F-F77B720CF763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894" creationId="{82705CF7-E17B-D078-622C-93802F4DEBFD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900" creationId="{A650A4BB-ED0E-29D9-32BB-5511614FC72D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901" creationId="{36B7F7CA-0188-4ADA-222D-DA99C2325582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902" creationId="{17018011-5D89-1E1C-C54F-E62D5047D96A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903" creationId="{9326F5DF-CB9E-0889-0098-9D2319B91735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904" creationId="{1847EB52-DA7B-EFFC-3A34-7E9FB53A7838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905" creationId="{D567EF0A-A5E5-E34E-94A4-8337F0B0973F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906" creationId="{3D104214-BF4A-4AC3-9F6F-27317C5D603C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907" creationId="{3BEA954B-4FB3-A1EB-2DC0-79BBEB4DE309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908" creationId="{E4D50243-3F35-1498-2C8C-86E901D843B1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909" creationId="{99AE593A-3E2E-2D3E-5151-AB180E144694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911" creationId="{038206C0-EE01-1530-A5C3-197B23D8C0FD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917" creationId="{A90065C5-2E29-984B-2B7D-C6B0A634A72E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918" creationId="{4C602DB8-DEE2-5A7A-2D02-70E10929638E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919" creationId="{EF9EDF28-ECC6-77E7-E793-C4C878E206B7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920" creationId="{AD0804B6-DFCF-CB3C-8C06-59817665ECDF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921" creationId="{EE4CD180-09E8-6668-5FEF-C2AE46057AA3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922" creationId="{80EC383C-FF08-CA2B-61C9-E91A866EAEC4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923" creationId="{A11FFDAC-5E3C-B5B7-3106-687685F36A3B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924" creationId="{BFFB5A56-3DC8-AAAD-AC0E-50253F650C67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925" creationId="{2A7671A4-97D4-A949-CBC0-CFEF9B565E52}"/>
          </ac:spMkLst>
        </pc:spChg>
        <pc:spChg chg="mod">
          <ac:chgData name="Robert Lalhlimpuia [Chillibreeze]" userId="8fe5ebfe-980d-441d-bbff-8c5265b810b8" providerId="ADAL" clId="{8604BD65-8997-4357-BA60-019791E2ED85}" dt="2024-06-12T13:28:52.925" v="5930"/>
          <ac:spMkLst>
            <pc:docMk/>
            <pc:sldMk cId="0" sldId="329"/>
            <ac:spMk id="5926" creationId="{54E63E3B-2617-0A0B-0366-8F802D494346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32" creationId="{D0A58926-9E11-EE41-8AAE-3C46520811A3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38" creationId="{C8F4C13C-B673-E6CD-256A-D4E10FBCC34D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39" creationId="{3DF42B1F-4675-135A-546A-CBC2780BE7CE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40" creationId="{56B5207F-0A0C-5FCA-0C37-228679FE4641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41" creationId="{FC264835-20F5-FE9F-C14D-F8EAB055C552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42" creationId="{FBFF456A-1D00-6B28-AE4B-AEF5C4D38774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43" creationId="{C25EEA25-FD33-1138-E1F5-2962D631F2C9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44" creationId="{B9F0B945-E8F2-ED7C-8BEE-DDD620371F38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45" creationId="{6F2A3514-E1AB-9DE8-D89B-CD1151E0F015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46" creationId="{3191AD37-0B78-3042-E55D-7B29FA8EAB18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47" creationId="{64EC2C16-53A7-2635-BF19-B90CB77C822A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48" creationId="{D0838FC0-CA5D-0A72-B563-FC6372E11DF7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54" creationId="{F050B9DB-CF08-490D-A5C2-14840729F212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55" creationId="{0EDF22E5-24EE-DA88-156D-5EFA1F3A7E23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56" creationId="{99F33879-E5A2-5954-E5E0-BCD0735928DD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57" creationId="{F8DBEBE4-C3F8-20E6-B290-90613699E67E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58" creationId="{D509C8FB-B7B9-25CD-8630-0527B9444677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59" creationId="{6AC513B6-D548-442B-5425-7B2E19A8ADFE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60" creationId="{EDD4DE04-6B24-4453-96D6-47A88E2072D5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61" creationId="{896D8EFC-D3D5-1116-28EB-786C8668E94E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62" creationId="{4C4B7129-A61A-616F-BA33-64CAF3FE9AC1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63" creationId="{F990017F-03FD-C200-2C1F-C6DD9C2E5C47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64" creationId="{6FFB3171-66BE-6179-9C03-5916DCCD453D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70" creationId="{27531FCB-F797-A49D-B368-48ABCC05D57D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71" creationId="{A22B1FDE-1F8B-BC17-8932-1F627E116C5F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72" creationId="{E878CBAC-C949-21AB-F304-74594C0A0EED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73" creationId="{6DAAC397-09D2-BE1D-F254-10BE635A6667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74" creationId="{70E325C8-15FC-83F2-4D12-AD1ED478F3DF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75" creationId="{8AD4833D-C216-B03B-64FA-7C92D6E483A5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76" creationId="{134A9775-FA80-1933-E76F-3DB881ED98EB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77" creationId="{4E6217ED-8333-AFC1-2F98-CD533223E712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78" creationId="{59117055-B126-93B2-0316-9AA417E25238}"/>
          </ac:spMkLst>
        </pc:spChg>
        <pc:spChg chg="mod">
          <ac:chgData name="Robert Lalhlimpuia [Chillibreeze]" userId="8fe5ebfe-980d-441d-bbff-8c5265b810b8" providerId="ADAL" clId="{8604BD65-8997-4357-BA60-019791E2ED85}" dt="2024-06-12T13:28:56.238" v="5933"/>
          <ac:spMkLst>
            <pc:docMk/>
            <pc:sldMk cId="0" sldId="329"/>
            <ac:spMk id="5979" creationId="{CC59F209-E7F1-E6DD-9C4D-50B01225E082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5984" creationId="{4C4B117D-EFB1-1253-E969-D81E6AD6B941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5990" creationId="{16422B4D-F000-1B1B-0A61-F372ACA79DF1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5991" creationId="{B3B01D71-1F8D-10CD-99AF-B460C1D136F0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5992" creationId="{B459F1BD-AD82-B7D1-5AE8-0AE1118D2BA7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5993" creationId="{F1B8A42F-5941-A6F2-3DB3-4F6182EF9870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5994" creationId="{D7BFD59F-B71D-4510-F2A5-30B4D01C11BB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5995" creationId="{514BF2F7-7C57-1F01-83D6-B9522CD8C036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5996" creationId="{C009FB3D-714D-1F29-479C-DF8F48DFD08A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5997" creationId="{D29FC258-013F-234D-3B8C-B92A25ADD539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5998" creationId="{F293CD52-11B0-A86C-74DE-AFC8B6E08E25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5999" creationId="{B92C9571-8BFD-EE47-8F9E-39040889A966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6000" creationId="{D89727D1-37A0-0600-39B3-9410BC607CBB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6006" creationId="{5C53CA2F-0416-09DD-08FF-49E72A2EBF99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6007" creationId="{3FD04FC0-D3EF-3CEE-159C-8DD546FE439C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6008" creationId="{13ABBB37-DF57-53F9-7FC6-E84389B81AC2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6009" creationId="{8DD3032A-9C74-8FAC-8BAC-426D513206D0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6010" creationId="{92C4EDF7-4657-08FA-E36E-63C950704826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6011" creationId="{6DFBA805-8C35-B4F0-7024-0F83131D1996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6012" creationId="{092C2315-7E7C-BDE6-F4B7-45B1DFD1DFD9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6013" creationId="{E3C69B29-87C2-652D-18A8-EE917263FE9A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6014" creationId="{C89F8758-108E-654C-88CA-8CFB3B778D39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6015" creationId="{9171BE27-9B5B-10E6-34C6-EEF3C8BD87AD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6016" creationId="{3358BC6A-29FA-7B69-C9E4-2195E97BDF5E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6022" creationId="{3308D175-1FF4-0D77-7B0E-2FE6D789C728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6023" creationId="{BE2BD82C-DCF6-A999-9D2F-EAA71C8C8669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6024" creationId="{5FFC450B-67CC-956F-B10B-8D762CD41A79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6025" creationId="{B28597CB-6AF2-7CC4-3B54-BFBD6E7F3B4E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6026" creationId="{D32F7512-7EBD-5757-3496-91CE75068876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6027" creationId="{18A969FE-59D6-DD58-72ED-241B6277C799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6028" creationId="{4AEF036A-F052-087E-251F-41BFE36545F6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6029" creationId="{35CF3864-FBE9-27BE-CA96-7F58346503A7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6030" creationId="{F44AE96A-DC37-5332-51EA-6C939D9FABF3}"/>
          </ac:spMkLst>
        </pc:spChg>
        <pc:spChg chg="mod">
          <ac:chgData name="Robert Lalhlimpuia [Chillibreeze]" userId="8fe5ebfe-980d-441d-bbff-8c5265b810b8" providerId="ADAL" clId="{8604BD65-8997-4357-BA60-019791E2ED85}" dt="2024-06-12T13:29:05.655" v="5936"/>
          <ac:spMkLst>
            <pc:docMk/>
            <pc:sldMk cId="0" sldId="329"/>
            <ac:spMk id="6031" creationId="{B39F0E83-D29A-4842-806E-747E4BAA5880}"/>
          </ac:spMkLst>
        </pc:spChg>
        <pc:spChg chg="mod">
          <ac:chgData name="Robert Lalhlimpuia [Chillibreeze]" userId="8fe5ebfe-980d-441d-bbff-8c5265b810b8" providerId="ADAL" clId="{8604BD65-8997-4357-BA60-019791E2ED85}" dt="2024-06-12T13:29:44.361" v="5975" actId="571"/>
          <ac:spMkLst>
            <pc:docMk/>
            <pc:sldMk cId="0" sldId="329"/>
            <ac:spMk id="6033" creationId="{7912F235-52D6-A5E6-D130-A18A7A61059F}"/>
          </ac:spMkLst>
        </pc:spChg>
        <pc:spChg chg="mod">
          <ac:chgData name="Robert Lalhlimpuia [Chillibreeze]" userId="8fe5ebfe-980d-441d-bbff-8c5265b810b8" providerId="ADAL" clId="{8604BD65-8997-4357-BA60-019791E2ED85}" dt="2024-06-12T13:29:44.361" v="5975" actId="571"/>
          <ac:spMkLst>
            <pc:docMk/>
            <pc:sldMk cId="0" sldId="329"/>
            <ac:spMk id="6039" creationId="{55945067-4D7A-023C-23D2-3066522E7ECE}"/>
          </ac:spMkLst>
        </pc:spChg>
        <pc:spChg chg="mod">
          <ac:chgData name="Robert Lalhlimpuia [Chillibreeze]" userId="8fe5ebfe-980d-441d-bbff-8c5265b810b8" providerId="ADAL" clId="{8604BD65-8997-4357-BA60-019791E2ED85}" dt="2024-06-12T13:29:44.361" v="5975" actId="571"/>
          <ac:spMkLst>
            <pc:docMk/>
            <pc:sldMk cId="0" sldId="329"/>
            <ac:spMk id="6040" creationId="{58E979D1-5CEE-95C4-B020-7D55700FEB85}"/>
          </ac:spMkLst>
        </pc:spChg>
        <pc:spChg chg="mod">
          <ac:chgData name="Robert Lalhlimpuia [Chillibreeze]" userId="8fe5ebfe-980d-441d-bbff-8c5265b810b8" providerId="ADAL" clId="{8604BD65-8997-4357-BA60-019791E2ED85}" dt="2024-06-12T13:29:44.361" v="5975" actId="571"/>
          <ac:spMkLst>
            <pc:docMk/>
            <pc:sldMk cId="0" sldId="329"/>
            <ac:spMk id="6041" creationId="{6A129B6C-EFD1-B0E1-7746-A7D243F63630}"/>
          </ac:spMkLst>
        </pc:spChg>
        <pc:spChg chg="mod">
          <ac:chgData name="Robert Lalhlimpuia [Chillibreeze]" userId="8fe5ebfe-980d-441d-bbff-8c5265b810b8" providerId="ADAL" clId="{8604BD65-8997-4357-BA60-019791E2ED85}" dt="2024-06-12T13:29:44.361" v="5975" actId="571"/>
          <ac:spMkLst>
            <pc:docMk/>
            <pc:sldMk cId="0" sldId="329"/>
            <ac:spMk id="6042" creationId="{84593D99-6939-3777-2BC5-E82EDBF06EA8}"/>
          </ac:spMkLst>
        </pc:spChg>
        <pc:spChg chg="mod">
          <ac:chgData name="Robert Lalhlimpuia [Chillibreeze]" userId="8fe5ebfe-980d-441d-bbff-8c5265b810b8" providerId="ADAL" clId="{8604BD65-8997-4357-BA60-019791E2ED85}" dt="2024-06-12T13:29:44.361" v="5975" actId="571"/>
          <ac:spMkLst>
            <pc:docMk/>
            <pc:sldMk cId="0" sldId="329"/>
            <ac:spMk id="6043" creationId="{C974B5FF-7F1E-AB5E-3E83-3E501B3F23A9}"/>
          </ac:spMkLst>
        </pc:spChg>
        <pc:spChg chg="mod">
          <ac:chgData name="Robert Lalhlimpuia [Chillibreeze]" userId="8fe5ebfe-980d-441d-bbff-8c5265b810b8" providerId="ADAL" clId="{8604BD65-8997-4357-BA60-019791E2ED85}" dt="2024-06-12T13:29:44.361" v="5975" actId="571"/>
          <ac:spMkLst>
            <pc:docMk/>
            <pc:sldMk cId="0" sldId="329"/>
            <ac:spMk id="6044" creationId="{5F9DA447-D382-CF16-7814-3F5E33F12A29}"/>
          </ac:spMkLst>
        </pc:spChg>
        <pc:spChg chg="mod">
          <ac:chgData name="Robert Lalhlimpuia [Chillibreeze]" userId="8fe5ebfe-980d-441d-bbff-8c5265b810b8" providerId="ADAL" clId="{8604BD65-8997-4357-BA60-019791E2ED85}" dt="2024-06-12T13:29:44.361" v="5975" actId="571"/>
          <ac:spMkLst>
            <pc:docMk/>
            <pc:sldMk cId="0" sldId="329"/>
            <ac:spMk id="6045" creationId="{71BA4EAA-40EF-0FEC-67A9-4236B1023B0D}"/>
          </ac:spMkLst>
        </pc:spChg>
        <pc:spChg chg="mod">
          <ac:chgData name="Robert Lalhlimpuia [Chillibreeze]" userId="8fe5ebfe-980d-441d-bbff-8c5265b810b8" providerId="ADAL" clId="{8604BD65-8997-4357-BA60-019791E2ED85}" dt="2024-06-12T13:29:44.361" v="5975" actId="571"/>
          <ac:spMkLst>
            <pc:docMk/>
            <pc:sldMk cId="0" sldId="329"/>
            <ac:spMk id="6046" creationId="{E8FAB945-0DBD-7FC8-2047-5F41399C399E}"/>
          </ac:spMkLst>
        </pc:spChg>
        <pc:spChg chg="mod">
          <ac:chgData name="Robert Lalhlimpuia [Chillibreeze]" userId="8fe5ebfe-980d-441d-bbff-8c5265b810b8" providerId="ADAL" clId="{8604BD65-8997-4357-BA60-019791E2ED85}" dt="2024-06-12T13:29:44.361" v="5975" actId="571"/>
          <ac:spMkLst>
            <pc:docMk/>
            <pc:sldMk cId="0" sldId="329"/>
            <ac:spMk id="6047" creationId="{E256E49B-C907-6606-A84A-213FAA47177E}"/>
          </ac:spMkLst>
        </pc:spChg>
        <pc:spChg chg="mod">
          <ac:chgData name="Robert Lalhlimpuia [Chillibreeze]" userId="8fe5ebfe-980d-441d-bbff-8c5265b810b8" providerId="ADAL" clId="{8604BD65-8997-4357-BA60-019791E2ED85}" dt="2024-06-12T13:29:44.361" v="5975" actId="571"/>
          <ac:spMkLst>
            <pc:docMk/>
            <pc:sldMk cId="0" sldId="329"/>
            <ac:spMk id="6048" creationId="{734BAF05-2608-B42A-C78F-F28EC77AFD1D}"/>
          </ac:spMkLst>
        </pc:spChg>
        <pc:grpChg chg="add mod">
          <ac:chgData name="Robert Lalhlimpuia [Chillibreeze]" userId="8fe5ebfe-980d-441d-bbff-8c5265b810b8" providerId="ADAL" clId="{8604BD65-8997-4357-BA60-019791E2ED85}" dt="2024-06-13T06:03:22.502" v="6687" actId="408"/>
          <ac:grpSpMkLst>
            <pc:docMk/>
            <pc:sldMk cId="0" sldId="329"/>
            <ac:grpSpMk id="2" creationId="{24C0C441-5383-ABA5-7CB4-D28BF800A6D1}"/>
          </ac:grpSpMkLst>
        </pc:grpChg>
        <pc:grpChg chg="add mod">
          <ac:chgData name="Robert Lalhlimpuia [Chillibreeze]" userId="8fe5ebfe-980d-441d-bbff-8c5265b810b8" providerId="ADAL" clId="{8604BD65-8997-4357-BA60-019791E2ED85}" dt="2024-06-13T06:03:22.502" v="6687" actId="408"/>
          <ac:grpSpMkLst>
            <pc:docMk/>
            <pc:sldMk cId="0" sldId="329"/>
            <ac:grpSpMk id="9" creationId="{4A06A94A-5A86-3C59-2BB9-4558E8E75B57}"/>
          </ac:grpSpMkLst>
        </pc:grpChg>
        <pc:grpChg chg="add mod">
          <ac:chgData name="Robert Lalhlimpuia [Chillibreeze]" userId="8fe5ebfe-980d-441d-bbff-8c5265b810b8" providerId="ADAL" clId="{8604BD65-8997-4357-BA60-019791E2ED85}" dt="2024-06-13T06:03:22.502" v="6687" actId="408"/>
          <ac:grpSpMkLst>
            <pc:docMk/>
            <pc:sldMk cId="0" sldId="329"/>
            <ac:grpSpMk id="15" creationId="{2408F1D0-B6EF-2391-D748-C1E8B9395CE4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1:24:34.716" v="3798" actId="165"/>
          <ac:grpSpMkLst>
            <pc:docMk/>
            <pc:sldMk cId="0" sldId="329"/>
            <ac:grpSpMk id="16" creationId="{A560AF23-F485-34F2-0B71-9D2CDDC53F55}"/>
          </ac:grpSpMkLst>
        </pc:grpChg>
        <pc:grpChg chg="add del mod ord">
          <ac:chgData name="Robert Lalhlimpuia [Chillibreeze]" userId="8fe5ebfe-980d-441d-bbff-8c5265b810b8" providerId="ADAL" clId="{8604BD65-8997-4357-BA60-019791E2ED85}" dt="2024-06-12T11:25:46.230" v="3859" actId="165"/>
          <ac:grpSpMkLst>
            <pc:docMk/>
            <pc:sldMk cId="0" sldId="329"/>
            <ac:grpSpMk id="20" creationId="{147B34A0-D952-6EA2-C10E-1CB034F8BBF1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1:28:16.268" v="3889" actId="165"/>
          <ac:grpSpMkLst>
            <pc:docMk/>
            <pc:sldMk cId="0" sldId="329"/>
            <ac:grpSpMk id="22" creationId="{D435BB5C-6BCF-9438-2772-815F1BD9C9A3}"/>
          </ac:grpSpMkLst>
        </pc:grpChg>
        <pc:grpChg chg="add mod">
          <ac:chgData name="Robert Lalhlimpuia [Chillibreeze]" userId="8fe5ebfe-980d-441d-bbff-8c5265b810b8" providerId="ADAL" clId="{8604BD65-8997-4357-BA60-019791E2ED85}" dt="2024-06-13T06:03:22.502" v="6687" actId="408"/>
          <ac:grpSpMkLst>
            <pc:docMk/>
            <pc:sldMk cId="0" sldId="329"/>
            <ac:grpSpMk id="22" creationId="{F12BF5B6-221E-3E2A-2671-4B0828FDF2CF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1:28:36.398" v="3900" actId="165"/>
          <ac:grpSpMkLst>
            <pc:docMk/>
            <pc:sldMk cId="0" sldId="329"/>
            <ac:grpSpMk id="24" creationId="{2E3CC116-7C6C-ADB0-DBF6-857D903D79E9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1:28:40.713" v="3904" actId="165"/>
          <ac:grpSpMkLst>
            <pc:docMk/>
            <pc:sldMk cId="0" sldId="329"/>
            <ac:grpSpMk id="25" creationId="{1074F2B2-9E15-8334-818D-7CC998EBB661}"/>
          </ac:grpSpMkLst>
        </pc:grpChg>
        <pc:grpChg chg="add del mod ord">
          <ac:chgData name="Robert Lalhlimpuia [Chillibreeze]" userId="8fe5ebfe-980d-441d-bbff-8c5265b810b8" providerId="ADAL" clId="{8604BD65-8997-4357-BA60-019791E2ED85}" dt="2024-06-12T11:43:05.425" v="4402" actId="165"/>
          <ac:grpSpMkLst>
            <pc:docMk/>
            <pc:sldMk cId="0" sldId="329"/>
            <ac:grpSpMk id="26" creationId="{B44C54A5-A67F-DFAF-516D-E8620FD3BCC4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1:29:30.413" v="4258" actId="21"/>
          <ac:grpSpMkLst>
            <pc:docMk/>
            <pc:sldMk cId="0" sldId="329"/>
            <ac:grpSpMk id="28" creationId="{E92D64E4-E21A-DAA0-36EA-6A339FADD7FB}"/>
          </ac:grpSpMkLst>
        </pc:grpChg>
        <pc:grpChg chg="add mod">
          <ac:chgData name="Robert Lalhlimpuia [Chillibreeze]" userId="8fe5ebfe-980d-441d-bbff-8c5265b810b8" providerId="ADAL" clId="{8604BD65-8997-4357-BA60-019791E2ED85}" dt="2024-06-13T06:03:54.587" v="6696" actId="164"/>
          <ac:grpSpMkLst>
            <pc:docMk/>
            <pc:sldMk cId="0" sldId="329"/>
            <ac:grpSpMk id="29" creationId="{E973BEF4-E0A7-9F32-53B2-1C59106F214E}"/>
          </ac:grpSpMkLst>
        </pc:grpChg>
        <pc:grpChg chg="add mod">
          <ac:chgData name="Robert Lalhlimpuia [Chillibreeze]" userId="8fe5ebfe-980d-441d-bbff-8c5265b810b8" providerId="ADAL" clId="{8604BD65-8997-4357-BA60-019791E2ED85}" dt="2024-06-12T11:29:39.143" v="4259"/>
          <ac:grpSpMkLst>
            <pc:docMk/>
            <pc:sldMk cId="0" sldId="329"/>
            <ac:grpSpMk id="32" creationId="{171C92AC-5283-0DB3-6A17-CA291D48C119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1:39:22.755" v="4305" actId="165"/>
          <ac:grpSpMkLst>
            <pc:docMk/>
            <pc:sldMk cId="0" sldId="329"/>
            <ac:grpSpMk id="35" creationId="{29F0D279-291C-E70E-3EF8-303C1F0E3AC1}"/>
          </ac:grpSpMkLst>
        </pc:grpChg>
        <pc:grpChg chg="add mod">
          <ac:chgData name="Robert Lalhlimpuia [Chillibreeze]" userId="8fe5ebfe-980d-441d-bbff-8c5265b810b8" providerId="ADAL" clId="{8604BD65-8997-4357-BA60-019791E2ED85}" dt="2024-06-13T06:03:54.587" v="6696" actId="164"/>
          <ac:grpSpMkLst>
            <pc:docMk/>
            <pc:sldMk cId="0" sldId="329"/>
            <ac:grpSpMk id="38" creationId="{682F0583-14BA-B1F2-6B33-C1850350D042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1:45:52.765" v="4464" actId="165"/>
          <ac:grpSpMkLst>
            <pc:docMk/>
            <pc:sldMk cId="0" sldId="329"/>
            <ac:grpSpMk id="41" creationId="{F7A9DD72-EC22-8B2D-000F-0D0FEAA10C94}"/>
          </ac:grpSpMkLst>
        </pc:grpChg>
        <pc:grpChg chg="add mod">
          <ac:chgData name="Robert Lalhlimpuia [Chillibreeze]" userId="8fe5ebfe-980d-441d-bbff-8c5265b810b8" providerId="ADAL" clId="{8604BD65-8997-4357-BA60-019791E2ED85}" dt="2024-06-12T11:42:57.505" v="4398" actId="1076"/>
          <ac:grpSpMkLst>
            <pc:docMk/>
            <pc:sldMk cId="0" sldId="329"/>
            <ac:grpSpMk id="42" creationId="{C212546A-528F-FD47-206B-FDC12597AE90}"/>
          </ac:grpSpMkLst>
        </pc:grpChg>
        <pc:grpChg chg="add mod">
          <ac:chgData name="Robert Lalhlimpuia [Chillibreeze]" userId="8fe5ebfe-980d-441d-bbff-8c5265b810b8" providerId="ADAL" clId="{8604BD65-8997-4357-BA60-019791E2ED85}" dt="2024-06-13T06:05:20.541" v="6704" actId="1076"/>
          <ac:grpSpMkLst>
            <pc:docMk/>
            <pc:sldMk cId="0" sldId="329"/>
            <ac:grpSpMk id="44" creationId="{B41CAD3F-8566-3976-4D92-B3126607507E}"/>
          </ac:grpSpMkLst>
        </pc:grpChg>
        <pc:grpChg chg="add mod">
          <ac:chgData name="Robert Lalhlimpuia [Chillibreeze]" userId="8fe5ebfe-980d-441d-bbff-8c5265b810b8" providerId="ADAL" clId="{8604BD65-8997-4357-BA60-019791E2ED85}" dt="2024-06-13T06:05:20.541" v="6704" actId="1076"/>
          <ac:grpSpMkLst>
            <pc:docMk/>
            <pc:sldMk cId="0" sldId="329"/>
            <ac:grpSpMk id="45" creationId="{A96A6F2F-07B8-A9D2-EDE5-275761E17B8A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1:43:05.425" v="4402" actId="165"/>
          <ac:grpSpMkLst>
            <pc:docMk/>
            <pc:sldMk cId="0" sldId="329"/>
            <ac:grpSpMk id="45" creationId="{E776A3F5-A7C2-FE3E-C6ED-32EBCA8B6013}"/>
          </ac:grpSpMkLst>
        </pc:grpChg>
        <pc:grpChg chg="add mod">
          <ac:chgData name="Robert Lalhlimpuia [Chillibreeze]" userId="8fe5ebfe-980d-441d-bbff-8c5265b810b8" providerId="ADAL" clId="{8604BD65-8997-4357-BA60-019791E2ED85}" dt="2024-06-13T06:03:26.640" v="6688" actId="12788"/>
          <ac:grpSpMkLst>
            <pc:docMk/>
            <pc:sldMk cId="0" sldId="329"/>
            <ac:grpSpMk id="48" creationId="{D9341751-63E6-834D-FF26-E53B46E23685}"/>
          </ac:grpSpMkLst>
        </pc:grpChg>
        <pc:grpChg chg="add mod">
          <ac:chgData name="Robert Lalhlimpuia [Chillibreeze]" userId="8fe5ebfe-980d-441d-bbff-8c5265b810b8" providerId="ADAL" clId="{8604BD65-8997-4357-BA60-019791E2ED85}" dt="2024-06-13T06:03:29.792" v="6689" actId="12788"/>
          <ac:grpSpMkLst>
            <pc:docMk/>
            <pc:sldMk cId="0" sldId="329"/>
            <ac:grpSpMk id="49" creationId="{F3C13E9F-ED28-79C8-55AF-8C3D17424A44}"/>
          </ac:grpSpMkLst>
        </pc:grpChg>
        <pc:grpChg chg="add mod">
          <ac:chgData name="Robert Lalhlimpuia [Chillibreeze]" userId="8fe5ebfe-980d-441d-bbff-8c5265b810b8" providerId="ADAL" clId="{8604BD65-8997-4357-BA60-019791E2ED85}" dt="2024-06-13T06:03:33.185" v="6690" actId="12788"/>
          <ac:grpSpMkLst>
            <pc:docMk/>
            <pc:sldMk cId="0" sldId="329"/>
            <ac:grpSpMk id="52" creationId="{200B9DC2-07B1-D779-D6D9-EC590B3852EA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1:47:54.055" v="4500" actId="21"/>
          <ac:grpSpMkLst>
            <pc:docMk/>
            <pc:sldMk cId="0" sldId="329"/>
            <ac:grpSpMk id="55" creationId="{72D690DE-3C7B-9246-EC49-6728F2CD51DD}"/>
          </ac:grpSpMkLst>
        </pc:grpChg>
        <pc:grpChg chg="mod">
          <ac:chgData name="Robert Lalhlimpuia [Chillibreeze]" userId="8fe5ebfe-980d-441d-bbff-8c5265b810b8" providerId="ADAL" clId="{8604BD65-8997-4357-BA60-019791E2ED85}" dt="2024-06-13T06:03:57.894" v="6697" actId="571"/>
          <ac:grpSpMkLst>
            <pc:docMk/>
            <pc:sldMk cId="0" sldId="329"/>
            <ac:grpSpMk id="55" creationId="{8268E7F8-BA83-3B86-C859-BD91F3C52EAD}"/>
          </ac:grpSpMkLst>
        </pc:grpChg>
        <pc:grpChg chg="mod">
          <ac:chgData name="Robert Lalhlimpuia [Chillibreeze]" userId="8fe5ebfe-980d-441d-bbff-8c5265b810b8" providerId="ADAL" clId="{8604BD65-8997-4357-BA60-019791E2ED85}" dt="2024-06-13T06:03:57.894" v="6697" actId="571"/>
          <ac:grpSpMkLst>
            <pc:docMk/>
            <pc:sldMk cId="0" sldId="329"/>
            <ac:grpSpMk id="56" creationId="{6EE34B6C-EE4A-AD8E-265D-1D100A76C6BB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1:47:54.055" v="4500" actId="21"/>
          <ac:grpSpMkLst>
            <pc:docMk/>
            <pc:sldMk cId="0" sldId="329"/>
            <ac:grpSpMk id="61" creationId="{85F5FD73-417C-47E1-8926-C3645C6A84D0}"/>
          </ac:grpSpMkLst>
        </pc:grpChg>
        <pc:grpChg chg="add mod">
          <ac:chgData name="Robert Lalhlimpuia [Chillibreeze]" userId="8fe5ebfe-980d-441d-bbff-8c5265b810b8" providerId="ADAL" clId="{8604BD65-8997-4357-BA60-019791E2ED85}" dt="2024-06-13T06:05:56.676" v="6720"/>
          <ac:grpSpMkLst>
            <pc:docMk/>
            <pc:sldMk cId="0" sldId="329"/>
            <ac:grpSpMk id="5440" creationId="{3D75666F-46DF-3568-F50D-C266E824F6BD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1:47:54.055" v="4500" actId="21"/>
          <ac:grpSpMkLst>
            <pc:docMk/>
            <pc:sldMk cId="0" sldId="329"/>
            <ac:grpSpMk id="5444" creationId="{877A28B1-49C5-BE6F-1CBF-152A4E8E6D54}"/>
          </ac:grpSpMkLst>
        </pc:grpChg>
        <pc:grpChg chg="add mod">
          <ac:chgData name="Robert Lalhlimpuia [Chillibreeze]" userId="8fe5ebfe-980d-441d-bbff-8c5265b810b8" providerId="ADAL" clId="{8604BD65-8997-4357-BA60-019791E2ED85}" dt="2024-06-13T06:06:22.562" v="6730" actId="1076"/>
          <ac:grpSpMkLst>
            <pc:docMk/>
            <pc:sldMk cId="0" sldId="329"/>
            <ac:grpSpMk id="5446" creationId="{6FA2E6A4-1FEB-D03E-4D7E-DC8C7382B4E1}"/>
          </ac:grpSpMkLst>
        </pc:grpChg>
        <pc:grpChg chg="add mod">
          <ac:chgData name="Robert Lalhlimpuia [Chillibreeze]" userId="8fe5ebfe-980d-441d-bbff-8c5265b810b8" providerId="ADAL" clId="{8604BD65-8997-4357-BA60-019791E2ED85}" dt="2024-06-13T06:06:22.562" v="6730" actId="1076"/>
          <ac:grpSpMkLst>
            <pc:docMk/>
            <pc:sldMk cId="0" sldId="329"/>
            <ac:grpSpMk id="5447" creationId="{52C722CB-F199-C9E6-D27B-AD337AEBAE52}"/>
          </ac:grpSpMkLst>
        </pc:grpChg>
        <pc:grpChg chg="mod">
          <ac:chgData name="Robert Lalhlimpuia [Chillibreeze]" userId="8fe5ebfe-980d-441d-bbff-8c5265b810b8" providerId="ADAL" clId="{8604BD65-8997-4357-BA60-019791E2ED85}" dt="2024-06-13T06:05:58.626" v="6722"/>
          <ac:grpSpMkLst>
            <pc:docMk/>
            <pc:sldMk cId="0" sldId="329"/>
            <ac:grpSpMk id="5448" creationId="{3B9379A8-D6B7-7995-3608-67A105E92559}"/>
          </ac:grpSpMkLst>
        </pc:grpChg>
        <pc:grpChg chg="mod">
          <ac:chgData name="Robert Lalhlimpuia [Chillibreeze]" userId="8fe5ebfe-980d-441d-bbff-8c5265b810b8" providerId="ADAL" clId="{8604BD65-8997-4357-BA60-019791E2ED85}" dt="2024-06-13T06:05:58.626" v="6722"/>
          <ac:grpSpMkLst>
            <pc:docMk/>
            <pc:sldMk cId="0" sldId="329"/>
            <ac:grpSpMk id="5449" creationId="{976F9A3A-94DA-D90D-9C46-C130EEC7A600}"/>
          </ac:grpSpMkLst>
        </pc:grpChg>
        <pc:grpChg chg="mod">
          <ac:chgData name="Robert Lalhlimpuia [Chillibreeze]" userId="8fe5ebfe-980d-441d-bbff-8c5265b810b8" providerId="ADAL" clId="{8604BD65-8997-4357-BA60-019791E2ED85}" dt="2024-06-13T06:05:58.626" v="6722"/>
          <ac:grpSpMkLst>
            <pc:docMk/>
            <pc:sldMk cId="0" sldId="329"/>
            <ac:grpSpMk id="5450" creationId="{1D15AF13-0ED7-230A-E855-2E5963809687}"/>
          </ac:grpSpMkLst>
        </pc:grpChg>
        <pc:grpChg chg="add mod">
          <ac:chgData name="Robert Lalhlimpuia [Chillibreeze]" userId="8fe5ebfe-980d-441d-bbff-8c5265b810b8" providerId="ADAL" clId="{8604BD65-8997-4357-BA60-019791E2ED85}" dt="2024-06-12T11:45:30.622" v="4455" actId="164"/>
          <ac:grpSpMkLst>
            <pc:docMk/>
            <pc:sldMk cId="0" sldId="329"/>
            <ac:grpSpMk id="5450" creationId="{2D513BD4-703A-92AC-393D-0DE1D33FB551}"/>
          </ac:grpSpMkLst>
        </pc:grpChg>
        <pc:grpChg chg="add mod">
          <ac:chgData name="Robert Lalhlimpuia [Chillibreeze]" userId="8fe5ebfe-980d-441d-bbff-8c5265b810b8" providerId="ADAL" clId="{8604BD65-8997-4357-BA60-019791E2ED85}" dt="2024-06-12T11:45:25.016" v="4453" actId="571"/>
          <ac:grpSpMkLst>
            <pc:docMk/>
            <pc:sldMk cId="0" sldId="329"/>
            <ac:grpSpMk id="5457" creationId="{1926502A-167E-4365-015F-7E1EA2F228D5}"/>
          </ac:grpSpMkLst>
        </pc:grpChg>
        <pc:grpChg chg="del mod topLvl">
          <ac:chgData name="Robert Lalhlimpuia [Chillibreeze]" userId="8fe5ebfe-980d-441d-bbff-8c5265b810b8" providerId="ADAL" clId="{8604BD65-8997-4357-BA60-019791E2ED85}" dt="2024-06-12T11:26:10.189" v="3868" actId="165"/>
          <ac:grpSpMkLst>
            <pc:docMk/>
            <pc:sldMk cId="0" sldId="329"/>
            <ac:grpSpMk id="5465" creationId="{00000000-0000-0000-0000-000000000000}"/>
          </ac:grpSpMkLst>
        </pc:grpChg>
        <pc:grpChg chg="add mod">
          <ac:chgData name="Robert Lalhlimpuia [Chillibreeze]" userId="8fe5ebfe-980d-441d-bbff-8c5265b810b8" providerId="ADAL" clId="{8604BD65-8997-4357-BA60-019791E2ED85}" dt="2024-06-13T06:06:22.562" v="6730" actId="1076"/>
          <ac:grpSpMkLst>
            <pc:docMk/>
            <pc:sldMk cId="0" sldId="329"/>
            <ac:grpSpMk id="5471" creationId="{11CA874F-2D37-22E0-2646-DC3E62EB426E}"/>
          </ac:grpSpMkLst>
        </pc:grpChg>
        <pc:grpChg chg="del mod topLvl">
          <ac:chgData name="Robert Lalhlimpuia [Chillibreeze]" userId="8fe5ebfe-980d-441d-bbff-8c5265b810b8" providerId="ADAL" clId="{8604BD65-8997-4357-BA60-019791E2ED85}" dt="2024-06-12T11:25:57.319" v="3861" actId="478"/>
          <ac:grpSpMkLst>
            <pc:docMk/>
            <pc:sldMk cId="0" sldId="329"/>
            <ac:grpSpMk id="5474" creationId="{00000000-0000-0000-0000-000000000000}"/>
          </ac:grpSpMkLst>
        </pc:grpChg>
        <pc:grpChg chg="mod">
          <ac:chgData name="Robert Lalhlimpuia [Chillibreeze]" userId="8fe5ebfe-980d-441d-bbff-8c5265b810b8" providerId="ADAL" clId="{8604BD65-8997-4357-BA60-019791E2ED85}" dt="2024-06-13T06:05:55.315" v="6718"/>
          <ac:grpSpMkLst>
            <pc:docMk/>
            <pc:sldMk cId="0" sldId="329"/>
            <ac:grpSpMk id="5474" creationId="{F1A679ED-D18F-BBA9-6E15-634D88D996C2}"/>
          </ac:grpSpMkLst>
        </pc:grpChg>
        <pc:grpChg chg="mod">
          <ac:chgData name="Robert Lalhlimpuia [Chillibreeze]" userId="8fe5ebfe-980d-441d-bbff-8c5265b810b8" providerId="ADAL" clId="{8604BD65-8997-4357-BA60-019791E2ED85}" dt="2024-06-13T06:05:55.315" v="6718"/>
          <ac:grpSpMkLst>
            <pc:docMk/>
            <pc:sldMk cId="0" sldId="329"/>
            <ac:grpSpMk id="5475" creationId="{9BB2DAA4-7817-0D2C-0616-BD3137D68D3A}"/>
          </ac:grpSpMkLst>
        </pc:grpChg>
        <pc:grpChg chg="mod">
          <ac:chgData name="Robert Lalhlimpuia [Chillibreeze]" userId="8fe5ebfe-980d-441d-bbff-8c5265b810b8" providerId="ADAL" clId="{8604BD65-8997-4357-BA60-019791E2ED85}" dt="2024-06-13T06:05:55.315" v="6718"/>
          <ac:grpSpMkLst>
            <pc:docMk/>
            <pc:sldMk cId="0" sldId="329"/>
            <ac:grpSpMk id="5476" creationId="{52AD4B0E-2FAF-2FC8-28B0-681582335376}"/>
          </ac:grpSpMkLst>
        </pc:grpChg>
        <pc:grpChg chg="del mod ord topLvl">
          <ac:chgData name="Robert Lalhlimpuia [Chillibreeze]" userId="8fe5ebfe-980d-441d-bbff-8c5265b810b8" providerId="ADAL" clId="{8604BD65-8997-4357-BA60-019791E2ED85}" dt="2024-06-12T11:38:54.594" v="4301" actId="21"/>
          <ac:grpSpMkLst>
            <pc:docMk/>
            <pc:sldMk cId="0" sldId="329"/>
            <ac:grpSpMk id="5482" creationId="{00000000-0000-0000-0000-000000000000}"/>
          </ac:grpSpMkLst>
        </pc:grpChg>
        <pc:grpChg chg="del mod ord topLvl">
          <ac:chgData name="Robert Lalhlimpuia [Chillibreeze]" userId="8fe5ebfe-980d-441d-bbff-8c5265b810b8" providerId="ADAL" clId="{8604BD65-8997-4357-BA60-019791E2ED85}" dt="2024-06-12T11:38:54.594" v="4301" actId="21"/>
          <ac:grpSpMkLst>
            <pc:docMk/>
            <pc:sldMk cId="0" sldId="329"/>
            <ac:grpSpMk id="5486" creationId="{00000000-0000-0000-0000-000000000000}"/>
          </ac:grpSpMkLst>
        </pc:grpChg>
        <pc:grpChg chg="del mod ord topLvl">
          <ac:chgData name="Robert Lalhlimpuia [Chillibreeze]" userId="8fe5ebfe-980d-441d-bbff-8c5265b810b8" providerId="ADAL" clId="{8604BD65-8997-4357-BA60-019791E2ED85}" dt="2024-06-12T11:38:54.594" v="4301" actId="21"/>
          <ac:grpSpMkLst>
            <pc:docMk/>
            <pc:sldMk cId="0" sldId="329"/>
            <ac:grpSpMk id="5490" creationId="{00000000-0000-0000-0000-000000000000}"/>
          </ac:grpSpMkLst>
        </pc:grpChg>
        <pc:grpChg chg="add del mod">
          <ac:chgData name="Robert Lalhlimpuia [Chillibreeze]" userId="8fe5ebfe-980d-441d-bbff-8c5265b810b8" providerId="ADAL" clId="{8604BD65-8997-4357-BA60-019791E2ED85}" dt="2024-06-13T06:06:02.442" v="6724" actId="165"/>
          <ac:grpSpMkLst>
            <pc:docMk/>
            <pc:sldMk cId="0" sldId="329"/>
            <ac:grpSpMk id="5492" creationId="{C37D79F7-F8AD-DCE8-69EF-A10062E965E2}"/>
          </ac:grpSpMkLst>
        </pc:grpChg>
        <pc:grpChg chg="mod topLvl">
          <ac:chgData name="Robert Lalhlimpuia [Chillibreeze]" userId="8fe5ebfe-980d-441d-bbff-8c5265b810b8" providerId="ADAL" clId="{8604BD65-8997-4357-BA60-019791E2ED85}" dt="2024-06-13T06:06:16.445" v="6729" actId="1076"/>
          <ac:grpSpMkLst>
            <pc:docMk/>
            <pc:sldMk cId="0" sldId="329"/>
            <ac:grpSpMk id="5493" creationId="{56E3EBB9-5E10-DA28-916F-BBFF8A9C99BF}"/>
          </ac:grpSpMkLst>
        </pc:grpChg>
        <pc:grpChg chg="del mod topLvl">
          <ac:chgData name="Robert Lalhlimpuia [Chillibreeze]" userId="8fe5ebfe-980d-441d-bbff-8c5265b810b8" providerId="ADAL" clId="{8604BD65-8997-4357-BA60-019791E2ED85}" dt="2024-06-13T06:06:07.937" v="6726" actId="21"/>
          <ac:grpSpMkLst>
            <pc:docMk/>
            <pc:sldMk cId="0" sldId="329"/>
            <ac:grpSpMk id="5494" creationId="{F71F1EC8-9CB3-4E0A-AC09-21CE1806150D}"/>
          </ac:grpSpMkLst>
        </pc:grpChg>
        <pc:grpChg chg="del mod topLvl">
          <ac:chgData name="Robert Lalhlimpuia [Chillibreeze]" userId="8fe5ebfe-980d-441d-bbff-8c5265b810b8" providerId="ADAL" clId="{8604BD65-8997-4357-BA60-019791E2ED85}" dt="2024-06-12T11:27:59.764" v="3883" actId="21"/>
          <ac:grpSpMkLst>
            <pc:docMk/>
            <pc:sldMk cId="0" sldId="329"/>
            <ac:grpSpMk id="5495" creationId="{00000000-0000-0000-0000-000000000000}"/>
          </ac:grpSpMkLst>
        </pc:grpChg>
        <pc:grpChg chg="del mod topLvl">
          <ac:chgData name="Robert Lalhlimpuia [Chillibreeze]" userId="8fe5ebfe-980d-441d-bbff-8c5265b810b8" providerId="ADAL" clId="{8604BD65-8997-4357-BA60-019791E2ED85}" dt="2024-06-13T06:06:06.601" v="6725" actId="21"/>
          <ac:grpSpMkLst>
            <pc:docMk/>
            <pc:sldMk cId="0" sldId="329"/>
            <ac:grpSpMk id="5495" creationId="{3E32B6BA-BBC6-046D-A9AA-BD5313C939E2}"/>
          </ac:grpSpMkLst>
        </pc:grpChg>
        <pc:grpChg chg="del mod ord topLvl">
          <ac:chgData name="Robert Lalhlimpuia [Chillibreeze]" userId="8fe5ebfe-980d-441d-bbff-8c5265b810b8" providerId="ADAL" clId="{8604BD65-8997-4357-BA60-019791E2ED85}" dt="2024-06-12T11:38:54.594" v="4301" actId="21"/>
          <ac:grpSpMkLst>
            <pc:docMk/>
            <pc:sldMk cId="0" sldId="329"/>
            <ac:grpSpMk id="5501" creationId="{00000000-0000-0000-0000-000000000000}"/>
          </ac:grpSpMkLst>
        </pc:grpChg>
        <pc:grpChg chg="add mod">
          <ac:chgData name="Robert Lalhlimpuia [Chillibreeze]" userId="8fe5ebfe-980d-441d-bbff-8c5265b810b8" providerId="ADAL" clId="{8604BD65-8997-4357-BA60-019791E2ED85}" dt="2024-06-12T11:45:30.622" v="4455" actId="164"/>
          <ac:grpSpMkLst>
            <pc:docMk/>
            <pc:sldMk cId="0" sldId="329"/>
            <ac:grpSpMk id="5513" creationId="{6D077A70-6DCE-81F9-0D3B-0C29DC9757FF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1:45:50.720" v="4463" actId="21"/>
          <ac:grpSpMkLst>
            <pc:docMk/>
            <pc:sldMk cId="0" sldId="329"/>
            <ac:grpSpMk id="5519" creationId="{25EECFB6-4BAA-0F48-8407-26DCE59E44A6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1:45:50.720" v="4463" actId="21"/>
          <ac:grpSpMkLst>
            <pc:docMk/>
            <pc:sldMk cId="0" sldId="329"/>
            <ac:grpSpMk id="5520" creationId="{D08A53B8-DB1F-11DE-628B-70C0754B9B1D}"/>
          </ac:grpSpMkLst>
        </pc:grpChg>
        <pc:grpChg chg="mod">
          <ac:chgData name="Robert Lalhlimpuia [Chillibreeze]" userId="8fe5ebfe-980d-441d-bbff-8c5265b810b8" providerId="ADAL" clId="{8604BD65-8997-4357-BA60-019791E2ED85}" dt="2024-06-12T11:45:40.115" v="4461" actId="571"/>
          <ac:grpSpMkLst>
            <pc:docMk/>
            <pc:sldMk cId="0" sldId="329"/>
            <ac:grpSpMk id="5521" creationId="{F206F272-2D43-C594-E56B-7DAE5A3033BC}"/>
          </ac:grpSpMkLst>
        </pc:grpChg>
        <pc:grpChg chg="mod">
          <ac:chgData name="Robert Lalhlimpuia [Chillibreeze]" userId="8fe5ebfe-980d-441d-bbff-8c5265b810b8" providerId="ADAL" clId="{8604BD65-8997-4357-BA60-019791E2ED85}" dt="2024-06-12T11:45:40.115" v="4461" actId="571"/>
          <ac:grpSpMkLst>
            <pc:docMk/>
            <pc:sldMk cId="0" sldId="329"/>
            <ac:grpSpMk id="5522" creationId="{46B93DCC-6A55-621D-158B-0A2C43B24035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1:45:50.720" v="4463" actId="21"/>
          <ac:grpSpMkLst>
            <pc:docMk/>
            <pc:sldMk cId="0" sldId="329"/>
            <ac:grpSpMk id="5533" creationId="{8B924AED-30C8-3FD0-ED08-8C7C92B37668}"/>
          </ac:grpSpMkLst>
        </pc:grpChg>
        <pc:grpChg chg="mod">
          <ac:chgData name="Robert Lalhlimpuia [Chillibreeze]" userId="8fe5ebfe-980d-441d-bbff-8c5265b810b8" providerId="ADAL" clId="{8604BD65-8997-4357-BA60-019791E2ED85}" dt="2024-06-12T11:45:41.785" v="4462" actId="571"/>
          <ac:grpSpMkLst>
            <pc:docMk/>
            <pc:sldMk cId="0" sldId="329"/>
            <ac:grpSpMk id="5534" creationId="{1234502B-F668-E78D-5814-E2C6048E4620}"/>
          </ac:grpSpMkLst>
        </pc:grpChg>
        <pc:grpChg chg="mod">
          <ac:chgData name="Robert Lalhlimpuia [Chillibreeze]" userId="8fe5ebfe-980d-441d-bbff-8c5265b810b8" providerId="ADAL" clId="{8604BD65-8997-4357-BA60-019791E2ED85}" dt="2024-06-12T11:45:41.785" v="4462" actId="571"/>
          <ac:grpSpMkLst>
            <pc:docMk/>
            <pc:sldMk cId="0" sldId="329"/>
            <ac:grpSpMk id="5535" creationId="{6B10D83E-4974-E037-86C4-B1257B693A6F}"/>
          </ac:grpSpMkLst>
        </pc:grpChg>
        <pc:grpChg chg="add mod topLvl">
          <ac:chgData name="Robert Lalhlimpuia [Chillibreeze]" userId="8fe5ebfe-980d-441d-bbff-8c5265b810b8" providerId="ADAL" clId="{8604BD65-8997-4357-BA60-019791E2ED85}" dt="2024-06-12T13:25:52.734" v="5851" actId="164"/>
          <ac:grpSpMkLst>
            <pc:docMk/>
            <pc:sldMk cId="0" sldId="329"/>
            <ac:grpSpMk id="5551" creationId="{0FC60849-2B6F-86CB-A694-138D908801C2}"/>
          </ac:grpSpMkLst>
        </pc:grpChg>
        <pc:grpChg chg="add mod topLvl">
          <ac:chgData name="Robert Lalhlimpuia [Chillibreeze]" userId="8fe5ebfe-980d-441d-bbff-8c5265b810b8" providerId="ADAL" clId="{8604BD65-8997-4357-BA60-019791E2ED85}" dt="2024-06-12T13:25:52.734" v="5851" actId="164"/>
          <ac:grpSpMkLst>
            <pc:docMk/>
            <pc:sldMk cId="0" sldId="329"/>
            <ac:grpSpMk id="5554" creationId="{0E5B35F7-517A-2404-2295-B50738F346FB}"/>
          </ac:grpSpMkLst>
        </pc:grpChg>
        <pc:grpChg chg="add mod topLvl">
          <ac:chgData name="Robert Lalhlimpuia [Chillibreeze]" userId="8fe5ebfe-980d-441d-bbff-8c5265b810b8" providerId="ADAL" clId="{8604BD65-8997-4357-BA60-019791E2ED85}" dt="2024-06-12T13:25:52.734" v="5851" actId="164"/>
          <ac:grpSpMkLst>
            <pc:docMk/>
            <pc:sldMk cId="0" sldId="329"/>
            <ac:grpSpMk id="5557" creationId="{31881BFC-BF53-CA01-C740-F04F10F75DC7}"/>
          </ac:grpSpMkLst>
        </pc:grpChg>
        <pc:grpChg chg="add mod topLvl">
          <ac:chgData name="Robert Lalhlimpuia [Chillibreeze]" userId="8fe5ebfe-980d-441d-bbff-8c5265b810b8" providerId="ADAL" clId="{8604BD65-8997-4357-BA60-019791E2ED85}" dt="2024-06-12T13:25:52.734" v="5851" actId="164"/>
          <ac:grpSpMkLst>
            <pc:docMk/>
            <pc:sldMk cId="0" sldId="329"/>
            <ac:grpSpMk id="5560" creationId="{6DB6BB92-5C31-B2BE-D576-DF8CA636C205}"/>
          </ac:grpSpMkLst>
        </pc:grpChg>
        <pc:grpChg chg="add mod topLvl">
          <ac:chgData name="Robert Lalhlimpuia [Chillibreeze]" userId="8fe5ebfe-980d-441d-bbff-8c5265b810b8" providerId="ADAL" clId="{8604BD65-8997-4357-BA60-019791E2ED85}" dt="2024-06-12T13:25:52.734" v="5851" actId="164"/>
          <ac:grpSpMkLst>
            <pc:docMk/>
            <pc:sldMk cId="0" sldId="329"/>
            <ac:grpSpMk id="5563" creationId="{E054E737-C7FA-CDFA-E2CD-D18D9B7FCFF4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3:24:59.767" v="5832" actId="21"/>
          <ac:grpSpMkLst>
            <pc:docMk/>
            <pc:sldMk cId="0" sldId="329"/>
            <ac:grpSpMk id="5566" creationId="{AE165449-04E8-5F6A-F95F-A09E9592CD7A}"/>
          </ac:grpSpMkLst>
        </pc:grpChg>
        <pc:grpChg chg="mod">
          <ac:chgData name="Robert Lalhlimpuia [Chillibreeze]" userId="8fe5ebfe-980d-441d-bbff-8c5265b810b8" providerId="ADAL" clId="{8604BD65-8997-4357-BA60-019791E2ED85}" dt="2024-06-12T13:24:53.141" v="5830"/>
          <ac:grpSpMkLst>
            <pc:docMk/>
            <pc:sldMk cId="0" sldId="329"/>
            <ac:grpSpMk id="5568" creationId="{454F9333-DE0D-8BAB-F839-5ABAFD6D94AF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3:24:59.767" v="5832" actId="21"/>
          <ac:grpSpMkLst>
            <pc:docMk/>
            <pc:sldMk cId="0" sldId="329"/>
            <ac:grpSpMk id="5571" creationId="{05E35B03-1F6B-972E-D2C6-8935336A57CF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3:25:11.422" v="5838" actId="165"/>
          <ac:grpSpMkLst>
            <pc:docMk/>
            <pc:sldMk cId="0" sldId="329"/>
            <ac:grpSpMk id="5591" creationId="{F7EA3C15-B177-4EDA-508D-BD32C6FA6BBC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3:25:44.591" v="5849" actId="165"/>
          <ac:grpSpMkLst>
            <pc:docMk/>
            <pc:sldMk cId="0" sldId="329"/>
            <ac:grpSpMk id="5592" creationId="{957946DA-2813-EF76-C5F0-3FAEAA29A437}"/>
          </ac:grpSpMkLst>
        </pc:grpChg>
        <pc:grpChg chg="add del mod">
          <ac:chgData name="Robert Lalhlimpuia [Chillibreeze]" userId="8fe5ebfe-980d-441d-bbff-8c5265b810b8" providerId="ADAL" clId="{8604BD65-8997-4357-BA60-019791E2ED85}" dt="2024-06-13T04:07:17.609" v="6401" actId="21"/>
          <ac:grpSpMkLst>
            <pc:docMk/>
            <pc:sldMk cId="0" sldId="329"/>
            <ac:grpSpMk id="5593" creationId="{F65A7B8F-1E0A-7E5F-70BE-69FB6003CDF2}"/>
          </ac:grpSpMkLst>
        </pc:grpChg>
        <pc:grpChg chg="add mod">
          <ac:chgData name="Robert Lalhlimpuia [Chillibreeze]" userId="8fe5ebfe-980d-441d-bbff-8c5265b810b8" providerId="ADAL" clId="{8604BD65-8997-4357-BA60-019791E2ED85}" dt="2024-06-12T13:25:56.419" v="5853" actId="571"/>
          <ac:grpSpMkLst>
            <pc:docMk/>
            <pc:sldMk cId="0" sldId="329"/>
            <ac:grpSpMk id="5595" creationId="{E23EC776-06B8-BE7E-37DE-7FF5B2A13243}"/>
          </ac:grpSpMkLst>
        </pc:grpChg>
        <pc:grpChg chg="mod">
          <ac:chgData name="Robert Lalhlimpuia [Chillibreeze]" userId="8fe5ebfe-980d-441d-bbff-8c5265b810b8" providerId="ADAL" clId="{8604BD65-8997-4357-BA60-019791E2ED85}" dt="2024-06-12T13:25:56.419" v="5853" actId="571"/>
          <ac:grpSpMkLst>
            <pc:docMk/>
            <pc:sldMk cId="0" sldId="329"/>
            <ac:grpSpMk id="5597" creationId="{107AA8DA-D1A5-902C-835F-DE8BFFD545F3}"/>
          </ac:grpSpMkLst>
        </pc:grpChg>
        <pc:grpChg chg="mod">
          <ac:chgData name="Robert Lalhlimpuia [Chillibreeze]" userId="8fe5ebfe-980d-441d-bbff-8c5265b810b8" providerId="ADAL" clId="{8604BD65-8997-4357-BA60-019791E2ED85}" dt="2024-06-12T13:25:56.419" v="5853" actId="571"/>
          <ac:grpSpMkLst>
            <pc:docMk/>
            <pc:sldMk cId="0" sldId="329"/>
            <ac:grpSpMk id="5598" creationId="{CA7E326A-00A9-9974-2CFB-5E14A02DAA30}"/>
          </ac:grpSpMkLst>
        </pc:grpChg>
        <pc:grpChg chg="mod">
          <ac:chgData name="Robert Lalhlimpuia [Chillibreeze]" userId="8fe5ebfe-980d-441d-bbff-8c5265b810b8" providerId="ADAL" clId="{8604BD65-8997-4357-BA60-019791E2ED85}" dt="2024-06-12T13:25:56.419" v="5853" actId="571"/>
          <ac:grpSpMkLst>
            <pc:docMk/>
            <pc:sldMk cId="0" sldId="329"/>
            <ac:grpSpMk id="5599" creationId="{394A7158-A2D6-8F35-7ED3-FD56A36BE360}"/>
          </ac:grpSpMkLst>
        </pc:grpChg>
        <pc:grpChg chg="mod">
          <ac:chgData name="Robert Lalhlimpuia [Chillibreeze]" userId="8fe5ebfe-980d-441d-bbff-8c5265b810b8" providerId="ADAL" clId="{8604BD65-8997-4357-BA60-019791E2ED85}" dt="2024-06-12T13:25:56.419" v="5853" actId="571"/>
          <ac:grpSpMkLst>
            <pc:docMk/>
            <pc:sldMk cId="0" sldId="329"/>
            <ac:grpSpMk id="5600" creationId="{F5681BE2-AB76-74B9-BFB7-259028621F75}"/>
          </ac:grpSpMkLst>
        </pc:grpChg>
        <pc:grpChg chg="mod">
          <ac:chgData name="Robert Lalhlimpuia [Chillibreeze]" userId="8fe5ebfe-980d-441d-bbff-8c5265b810b8" providerId="ADAL" clId="{8604BD65-8997-4357-BA60-019791E2ED85}" dt="2024-06-12T13:25:56.419" v="5853" actId="571"/>
          <ac:grpSpMkLst>
            <pc:docMk/>
            <pc:sldMk cId="0" sldId="329"/>
            <ac:grpSpMk id="5601" creationId="{69AD3CE1-9A3D-C91E-812C-2E935E8D6230}"/>
          </ac:grpSpMkLst>
        </pc:grpChg>
        <pc:grpChg chg="add del mod">
          <ac:chgData name="Robert Lalhlimpuia [Chillibreeze]" userId="8fe5ebfe-980d-441d-bbff-8c5265b810b8" providerId="ADAL" clId="{8604BD65-8997-4357-BA60-019791E2ED85}" dt="2024-06-13T04:07:17.609" v="6401" actId="21"/>
          <ac:grpSpMkLst>
            <pc:docMk/>
            <pc:sldMk cId="0" sldId="329"/>
            <ac:grpSpMk id="5612" creationId="{69F3BA4F-9256-BE9E-D8C3-090B2E74D09E}"/>
          </ac:grpSpMkLst>
        </pc:grpChg>
        <pc:grpChg chg="mod">
          <ac:chgData name="Robert Lalhlimpuia [Chillibreeze]" userId="8fe5ebfe-980d-441d-bbff-8c5265b810b8" providerId="ADAL" clId="{8604BD65-8997-4357-BA60-019791E2ED85}" dt="2024-06-12T13:25:59.407" v="5854" actId="571"/>
          <ac:grpSpMkLst>
            <pc:docMk/>
            <pc:sldMk cId="0" sldId="329"/>
            <ac:grpSpMk id="5614" creationId="{3F66B74C-DC76-88A4-4A1E-F09BAD73B3F4}"/>
          </ac:grpSpMkLst>
        </pc:grpChg>
        <pc:grpChg chg="mod">
          <ac:chgData name="Robert Lalhlimpuia [Chillibreeze]" userId="8fe5ebfe-980d-441d-bbff-8c5265b810b8" providerId="ADAL" clId="{8604BD65-8997-4357-BA60-019791E2ED85}" dt="2024-06-12T13:25:59.407" v="5854" actId="571"/>
          <ac:grpSpMkLst>
            <pc:docMk/>
            <pc:sldMk cId="0" sldId="329"/>
            <ac:grpSpMk id="5615" creationId="{0A85264B-29F9-C567-7820-21E055173384}"/>
          </ac:grpSpMkLst>
        </pc:grpChg>
        <pc:grpChg chg="mod">
          <ac:chgData name="Robert Lalhlimpuia [Chillibreeze]" userId="8fe5ebfe-980d-441d-bbff-8c5265b810b8" providerId="ADAL" clId="{8604BD65-8997-4357-BA60-019791E2ED85}" dt="2024-06-12T13:25:59.407" v="5854" actId="571"/>
          <ac:grpSpMkLst>
            <pc:docMk/>
            <pc:sldMk cId="0" sldId="329"/>
            <ac:grpSpMk id="5616" creationId="{0C0914A8-996F-B5C5-46F3-C0D841A78B03}"/>
          </ac:grpSpMkLst>
        </pc:grpChg>
        <pc:grpChg chg="mod">
          <ac:chgData name="Robert Lalhlimpuia [Chillibreeze]" userId="8fe5ebfe-980d-441d-bbff-8c5265b810b8" providerId="ADAL" clId="{8604BD65-8997-4357-BA60-019791E2ED85}" dt="2024-06-12T13:25:59.407" v="5854" actId="571"/>
          <ac:grpSpMkLst>
            <pc:docMk/>
            <pc:sldMk cId="0" sldId="329"/>
            <ac:grpSpMk id="5617" creationId="{C9C502E6-53B5-EFF5-03FE-EC7232DF33EF}"/>
          </ac:grpSpMkLst>
        </pc:grpChg>
        <pc:grpChg chg="mod">
          <ac:chgData name="Robert Lalhlimpuia [Chillibreeze]" userId="8fe5ebfe-980d-441d-bbff-8c5265b810b8" providerId="ADAL" clId="{8604BD65-8997-4357-BA60-019791E2ED85}" dt="2024-06-12T13:25:59.407" v="5854" actId="571"/>
          <ac:grpSpMkLst>
            <pc:docMk/>
            <pc:sldMk cId="0" sldId="329"/>
            <ac:grpSpMk id="5618" creationId="{03AD5A23-4FFA-AEAD-D097-BAA8BD22C03E}"/>
          </ac:grpSpMkLst>
        </pc:grpChg>
        <pc:grpChg chg="add del mod">
          <ac:chgData name="Robert Lalhlimpuia [Chillibreeze]" userId="8fe5ebfe-980d-441d-bbff-8c5265b810b8" providerId="ADAL" clId="{8604BD65-8997-4357-BA60-019791E2ED85}" dt="2024-06-13T04:07:19.437" v="6402" actId="21"/>
          <ac:grpSpMkLst>
            <pc:docMk/>
            <pc:sldMk cId="0" sldId="329"/>
            <ac:grpSpMk id="5629" creationId="{CDA9906F-6FE4-D563-0A71-104344B5B4B7}"/>
          </ac:grpSpMkLst>
        </pc:grpChg>
        <pc:grpChg chg="mod">
          <ac:chgData name="Robert Lalhlimpuia [Chillibreeze]" userId="8fe5ebfe-980d-441d-bbff-8c5265b810b8" providerId="ADAL" clId="{8604BD65-8997-4357-BA60-019791E2ED85}" dt="2024-06-12T13:26:01.924" v="5855" actId="571"/>
          <ac:grpSpMkLst>
            <pc:docMk/>
            <pc:sldMk cId="0" sldId="329"/>
            <ac:grpSpMk id="5631" creationId="{B8D9D7F7-F156-5D61-596A-10A86ABA2C32}"/>
          </ac:grpSpMkLst>
        </pc:grpChg>
        <pc:grpChg chg="mod">
          <ac:chgData name="Robert Lalhlimpuia [Chillibreeze]" userId="8fe5ebfe-980d-441d-bbff-8c5265b810b8" providerId="ADAL" clId="{8604BD65-8997-4357-BA60-019791E2ED85}" dt="2024-06-12T13:26:01.924" v="5855" actId="571"/>
          <ac:grpSpMkLst>
            <pc:docMk/>
            <pc:sldMk cId="0" sldId="329"/>
            <ac:grpSpMk id="5632" creationId="{8A305FE6-665D-2BC6-FA31-C8F0FA9560E3}"/>
          </ac:grpSpMkLst>
        </pc:grpChg>
        <pc:grpChg chg="mod">
          <ac:chgData name="Robert Lalhlimpuia [Chillibreeze]" userId="8fe5ebfe-980d-441d-bbff-8c5265b810b8" providerId="ADAL" clId="{8604BD65-8997-4357-BA60-019791E2ED85}" dt="2024-06-12T13:26:01.924" v="5855" actId="571"/>
          <ac:grpSpMkLst>
            <pc:docMk/>
            <pc:sldMk cId="0" sldId="329"/>
            <ac:grpSpMk id="5633" creationId="{9902FC65-D760-8AD9-35DB-5A37BE9AEE4D}"/>
          </ac:grpSpMkLst>
        </pc:grpChg>
        <pc:grpChg chg="mod">
          <ac:chgData name="Robert Lalhlimpuia [Chillibreeze]" userId="8fe5ebfe-980d-441d-bbff-8c5265b810b8" providerId="ADAL" clId="{8604BD65-8997-4357-BA60-019791E2ED85}" dt="2024-06-12T13:26:01.924" v="5855" actId="571"/>
          <ac:grpSpMkLst>
            <pc:docMk/>
            <pc:sldMk cId="0" sldId="329"/>
            <ac:grpSpMk id="5634" creationId="{09997E91-829C-AC96-A833-B6C94EF6949F}"/>
          </ac:grpSpMkLst>
        </pc:grpChg>
        <pc:grpChg chg="mod">
          <ac:chgData name="Robert Lalhlimpuia [Chillibreeze]" userId="8fe5ebfe-980d-441d-bbff-8c5265b810b8" providerId="ADAL" clId="{8604BD65-8997-4357-BA60-019791E2ED85}" dt="2024-06-12T13:26:01.924" v="5855" actId="571"/>
          <ac:grpSpMkLst>
            <pc:docMk/>
            <pc:sldMk cId="0" sldId="329"/>
            <ac:grpSpMk id="5635" creationId="{8A747BAC-918B-EE23-FE55-282E9F015019}"/>
          </ac:grpSpMkLst>
        </pc:grpChg>
        <pc:grpChg chg="add mod">
          <ac:chgData name="Robert Lalhlimpuia [Chillibreeze]" userId="8fe5ebfe-980d-441d-bbff-8c5265b810b8" providerId="ADAL" clId="{8604BD65-8997-4357-BA60-019791E2ED85}" dt="2024-06-12T13:26:04.693" v="5857" actId="571"/>
          <ac:grpSpMkLst>
            <pc:docMk/>
            <pc:sldMk cId="0" sldId="329"/>
            <ac:grpSpMk id="5647" creationId="{DC747488-601E-15F0-2C18-8A47BF187E01}"/>
          </ac:grpSpMkLst>
        </pc:grpChg>
        <pc:grpChg chg="mod">
          <ac:chgData name="Robert Lalhlimpuia [Chillibreeze]" userId="8fe5ebfe-980d-441d-bbff-8c5265b810b8" providerId="ADAL" clId="{8604BD65-8997-4357-BA60-019791E2ED85}" dt="2024-06-12T13:26:04.693" v="5857" actId="571"/>
          <ac:grpSpMkLst>
            <pc:docMk/>
            <pc:sldMk cId="0" sldId="329"/>
            <ac:grpSpMk id="5649" creationId="{72B982C0-7F63-C49B-4344-64ED318116AE}"/>
          </ac:grpSpMkLst>
        </pc:grpChg>
        <pc:grpChg chg="mod">
          <ac:chgData name="Robert Lalhlimpuia [Chillibreeze]" userId="8fe5ebfe-980d-441d-bbff-8c5265b810b8" providerId="ADAL" clId="{8604BD65-8997-4357-BA60-019791E2ED85}" dt="2024-06-12T13:26:04.693" v="5857" actId="571"/>
          <ac:grpSpMkLst>
            <pc:docMk/>
            <pc:sldMk cId="0" sldId="329"/>
            <ac:grpSpMk id="5650" creationId="{5BBD0A34-401B-0CA0-38F4-9B9BDEE16F82}"/>
          </ac:grpSpMkLst>
        </pc:grpChg>
        <pc:grpChg chg="mod">
          <ac:chgData name="Robert Lalhlimpuia [Chillibreeze]" userId="8fe5ebfe-980d-441d-bbff-8c5265b810b8" providerId="ADAL" clId="{8604BD65-8997-4357-BA60-019791E2ED85}" dt="2024-06-12T13:26:04.693" v="5857" actId="571"/>
          <ac:grpSpMkLst>
            <pc:docMk/>
            <pc:sldMk cId="0" sldId="329"/>
            <ac:grpSpMk id="5651" creationId="{985400C0-DC0C-C6E4-A3BF-E3DD52985DA4}"/>
          </ac:grpSpMkLst>
        </pc:grpChg>
        <pc:grpChg chg="mod">
          <ac:chgData name="Robert Lalhlimpuia [Chillibreeze]" userId="8fe5ebfe-980d-441d-bbff-8c5265b810b8" providerId="ADAL" clId="{8604BD65-8997-4357-BA60-019791E2ED85}" dt="2024-06-12T13:26:04.693" v="5857" actId="571"/>
          <ac:grpSpMkLst>
            <pc:docMk/>
            <pc:sldMk cId="0" sldId="329"/>
            <ac:grpSpMk id="5652" creationId="{86DAA29A-87D2-137F-FF82-9CE5589D5753}"/>
          </ac:grpSpMkLst>
        </pc:grpChg>
        <pc:grpChg chg="mod">
          <ac:chgData name="Robert Lalhlimpuia [Chillibreeze]" userId="8fe5ebfe-980d-441d-bbff-8c5265b810b8" providerId="ADAL" clId="{8604BD65-8997-4357-BA60-019791E2ED85}" dt="2024-06-12T13:26:04.693" v="5857" actId="571"/>
          <ac:grpSpMkLst>
            <pc:docMk/>
            <pc:sldMk cId="0" sldId="329"/>
            <ac:grpSpMk id="5653" creationId="{068F7970-3F57-21DC-D4EE-A54FED36A41A}"/>
          </ac:grpSpMkLst>
        </pc:grpChg>
        <pc:grpChg chg="add del mod">
          <ac:chgData name="Robert Lalhlimpuia [Chillibreeze]" userId="8fe5ebfe-980d-441d-bbff-8c5265b810b8" providerId="ADAL" clId="{8604BD65-8997-4357-BA60-019791E2ED85}" dt="2024-06-13T04:07:19.437" v="6402" actId="21"/>
          <ac:grpSpMkLst>
            <pc:docMk/>
            <pc:sldMk cId="0" sldId="329"/>
            <ac:grpSpMk id="5664" creationId="{B46F970F-149D-7F20-FC0F-BFDA33A60D11}"/>
          </ac:grpSpMkLst>
        </pc:grpChg>
        <pc:grpChg chg="mod">
          <ac:chgData name="Robert Lalhlimpuia [Chillibreeze]" userId="8fe5ebfe-980d-441d-bbff-8c5265b810b8" providerId="ADAL" clId="{8604BD65-8997-4357-BA60-019791E2ED85}" dt="2024-06-12T13:26:07.336" v="5858" actId="571"/>
          <ac:grpSpMkLst>
            <pc:docMk/>
            <pc:sldMk cId="0" sldId="329"/>
            <ac:grpSpMk id="5666" creationId="{1BAEAD12-C549-2636-C20E-B758F15951BC}"/>
          </ac:grpSpMkLst>
        </pc:grpChg>
        <pc:grpChg chg="mod">
          <ac:chgData name="Robert Lalhlimpuia [Chillibreeze]" userId="8fe5ebfe-980d-441d-bbff-8c5265b810b8" providerId="ADAL" clId="{8604BD65-8997-4357-BA60-019791E2ED85}" dt="2024-06-12T13:26:07.336" v="5858" actId="571"/>
          <ac:grpSpMkLst>
            <pc:docMk/>
            <pc:sldMk cId="0" sldId="329"/>
            <ac:grpSpMk id="5667" creationId="{7943C400-C206-B690-755F-D6A21370B5B6}"/>
          </ac:grpSpMkLst>
        </pc:grpChg>
        <pc:grpChg chg="mod">
          <ac:chgData name="Robert Lalhlimpuia [Chillibreeze]" userId="8fe5ebfe-980d-441d-bbff-8c5265b810b8" providerId="ADAL" clId="{8604BD65-8997-4357-BA60-019791E2ED85}" dt="2024-06-12T13:26:07.336" v="5858" actId="571"/>
          <ac:grpSpMkLst>
            <pc:docMk/>
            <pc:sldMk cId="0" sldId="329"/>
            <ac:grpSpMk id="5668" creationId="{42D368F6-A8CB-FA53-59E2-FF16CEFAB5DA}"/>
          </ac:grpSpMkLst>
        </pc:grpChg>
        <pc:grpChg chg="mod">
          <ac:chgData name="Robert Lalhlimpuia [Chillibreeze]" userId="8fe5ebfe-980d-441d-bbff-8c5265b810b8" providerId="ADAL" clId="{8604BD65-8997-4357-BA60-019791E2ED85}" dt="2024-06-12T13:26:07.336" v="5858" actId="571"/>
          <ac:grpSpMkLst>
            <pc:docMk/>
            <pc:sldMk cId="0" sldId="329"/>
            <ac:grpSpMk id="5669" creationId="{CB42A57F-FC8D-DB42-AE5C-F7BD1015748A}"/>
          </ac:grpSpMkLst>
        </pc:grpChg>
        <pc:grpChg chg="mod">
          <ac:chgData name="Robert Lalhlimpuia [Chillibreeze]" userId="8fe5ebfe-980d-441d-bbff-8c5265b810b8" providerId="ADAL" clId="{8604BD65-8997-4357-BA60-019791E2ED85}" dt="2024-06-12T13:26:07.336" v="5858" actId="571"/>
          <ac:grpSpMkLst>
            <pc:docMk/>
            <pc:sldMk cId="0" sldId="329"/>
            <ac:grpSpMk id="5670" creationId="{500F2A69-F2F6-1691-636D-1CB423023CF7}"/>
          </ac:grpSpMkLst>
        </pc:grpChg>
        <pc:grpChg chg="add mod">
          <ac:chgData name="Robert Lalhlimpuia [Chillibreeze]" userId="8fe5ebfe-980d-441d-bbff-8c5265b810b8" providerId="ADAL" clId="{8604BD65-8997-4357-BA60-019791E2ED85}" dt="2024-06-12T13:26:43.145" v="5876" actId="571"/>
          <ac:grpSpMkLst>
            <pc:docMk/>
            <pc:sldMk cId="0" sldId="329"/>
            <ac:grpSpMk id="5682" creationId="{5724ADAE-71BD-A3AA-8DD4-63B535D5C43A}"/>
          </ac:grpSpMkLst>
        </pc:grpChg>
        <pc:grpChg chg="mod">
          <ac:chgData name="Robert Lalhlimpuia [Chillibreeze]" userId="8fe5ebfe-980d-441d-bbff-8c5265b810b8" providerId="ADAL" clId="{8604BD65-8997-4357-BA60-019791E2ED85}" dt="2024-06-12T13:26:43.145" v="5876" actId="571"/>
          <ac:grpSpMkLst>
            <pc:docMk/>
            <pc:sldMk cId="0" sldId="329"/>
            <ac:grpSpMk id="5684" creationId="{8C66A622-7BD7-C57A-C753-B8586A0F36CC}"/>
          </ac:grpSpMkLst>
        </pc:grpChg>
        <pc:grpChg chg="mod">
          <ac:chgData name="Robert Lalhlimpuia [Chillibreeze]" userId="8fe5ebfe-980d-441d-bbff-8c5265b810b8" providerId="ADAL" clId="{8604BD65-8997-4357-BA60-019791E2ED85}" dt="2024-06-12T13:26:43.145" v="5876" actId="571"/>
          <ac:grpSpMkLst>
            <pc:docMk/>
            <pc:sldMk cId="0" sldId="329"/>
            <ac:grpSpMk id="5685" creationId="{C2EB1827-77F2-DD8D-81DD-EABB7D1FD84E}"/>
          </ac:grpSpMkLst>
        </pc:grpChg>
        <pc:grpChg chg="mod">
          <ac:chgData name="Robert Lalhlimpuia [Chillibreeze]" userId="8fe5ebfe-980d-441d-bbff-8c5265b810b8" providerId="ADAL" clId="{8604BD65-8997-4357-BA60-019791E2ED85}" dt="2024-06-12T13:26:43.145" v="5876" actId="571"/>
          <ac:grpSpMkLst>
            <pc:docMk/>
            <pc:sldMk cId="0" sldId="329"/>
            <ac:grpSpMk id="5686" creationId="{F510B6B9-96D3-FBB2-24F5-B719EF17C3F8}"/>
          </ac:grpSpMkLst>
        </pc:grpChg>
        <pc:grpChg chg="mod">
          <ac:chgData name="Robert Lalhlimpuia [Chillibreeze]" userId="8fe5ebfe-980d-441d-bbff-8c5265b810b8" providerId="ADAL" clId="{8604BD65-8997-4357-BA60-019791E2ED85}" dt="2024-06-12T13:26:43.145" v="5876" actId="571"/>
          <ac:grpSpMkLst>
            <pc:docMk/>
            <pc:sldMk cId="0" sldId="329"/>
            <ac:grpSpMk id="5687" creationId="{9C2DF738-A107-94F2-9A5C-E7ED897FBFAE}"/>
          </ac:grpSpMkLst>
        </pc:grpChg>
        <pc:grpChg chg="mod">
          <ac:chgData name="Robert Lalhlimpuia [Chillibreeze]" userId="8fe5ebfe-980d-441d-bbff-8c5265b810b8" providerId="ADAL" clId="{8604BD65-8997-4357-BA60-019791E2ED85}" dt="2024-06-12T13:26:43.145" v="5876" actId="571"/>
          <ac:grpSpMkLst>
            <pc:docMk/>
            <pc:sldMk cId="0" sldId="329"/>
            <ac:grpSpMk id="5688" creationId="{81F34B30-65F5-754E-D69E-DC702A3A24C8}"/>
          </ac:grpSpMkLst>
        </pc:grpChg>
        <pc:grpChg chg="add mod">
          <ac:chgData name="Robert Lalhlimpuia [Chillibreeze]" userId="8fe5ebfe-980d-441d-bbff-8c5265b810b8" providerId="ADAL" clId="{8604BD65-8997-4357-BA60-019791E2ED85}" dt="2024-06-12T13:28:52.925" v="5930"/>
          <ac:grpSpMkLst>
            <pc:docMk/>
            <pc:sldMk cId="0" sldId="329"/>
            <ac:grpSpMk id="5699" creationId="{2EA9DF81-BA4B-4D73-9054-EDCBC46E43FA}"/>
          </ac:grpSpMkLst>
        </pc:grpChg>
        <pc:grpChg chg="mod">
          <ac:chgData name="Robert Lalhlimpuia [Chillibreeze]" userId="8fe5ebfe-980d-441d-bbff-8c5265b810b8" providerId="ADAL" clId="{8604BD65-8997-4357-BA60-019791E2ED85}" dt="2024-06-12T13:28:52.925" v="5930"/>
          <ac:grpSpMkLst>
            <pc:docMk/>
            <pc:sldMk cId="0" sldId="329"/>
            <ac:grpSpMk id="5701" creationId="{C88B0EA9-B4D6-883B-0AEF-227E6022F413}"/>
          </ac:grpSpMkLst>
        </pc:grpChg>
        <pc:grpChg chg="mod">
          <ac:chgData name="Robert Lalhlimpuia [Chillibreeze]" userId="8fe5ebfe-980d-441d-bbff-8c5265b810b8" providerId="ADAL" clId="{8604BD65-8997-4357-BA60-019791E2ED85}" dt="2024-06-12T13:28:52.925" v="5930"/>
          <ac:grpSpMkLst>
            <pc:docMk/>
            <pc:sldMk cId="0" sldId="329"/>
            <ac:grpSpMk id="5702" creationId="{5F51EEAE-058A-307C-1424-9D17D52C5BDB}"/>
          </ac:grpSpMkLst>
        </pc:grpChg>
        <pc:grpChg chg="mod">
          <ac:chgData name="Robert Lalhlimpuia [Chillibreeze]" userId="8fe5ebfe-980d-441d-bbff-8c5265b810b8" providerId="ADAL" clId="{8604BD65-8997-4357-BA60-019791E2ED85}" dt="2024-06-12T13:28:52.925" v="5930"/>
          <ac:grpSpMkLst>
            <pc:docMk/>
            <pc:sldMk cId="0" sldId="329"/>
            <ac:grpSpMk id="5703" creationId="{970FE2A2-B882-AF54-7A7B-EC070E23A4D9}"/>
          </ac:grpSpMkLst>
        </pc:grpChg>
        <pc:grpChg chg="mod">
          <ac:chgData name="Robert Lalhlimpuia [Chillibreeze]" userId="8fe5ebfe-980d-441d-bbff-8c5265b810b8" providerId="ADAL" clId="{8604BD65-8997-4357-BA60-019791E2ED85}" dt="2024-06-12T13:28:52.925" v="5930"/>
          <ac:grpSpMkLst>
            <pc:docMk/>
            <pc:sldMk cId="0" sldId="329"/>
            <ac:grpSpMk id="5704" creationId="{D92BC793-11F2-5552-019F-FF2D75AD8567}"/>
          </ac:grpSpMkLst>
        </pc:grpChg>
        <pc:grpChg chg="mod">
          <ac:chgData name="Robert Lalhlimpuia [Chillibreeze]" userId="8fe5ebfe-980d-441d-bbff-8c5265b810b8" providerId="ADAL" clId="{8604BD65-8997-4357-BA60-019791E2ED85}" dt="2024-06-12T13:28:52.925" v="5930"/>
          <ac:grpSpMkLst>
            <pc:docMk/>
            <pc:sldMk cId="0" sldId="329"/>
            <ac:grpSpMk id="5705" creationId="{510ACC29-82FF-810F-5D11-D85CAC5FE766}"/>
          </ac:grpSpMkLst>
        </pc:grpChg>
        <pc:grpChg chg="add mod">
          <ac:chgData name="Robert Lalhlimpuia [Chillibreeze]" userId="8fe5ebfe-980d-441d-bbff-8c5265b810b8" providerId="ADAL" clId="{8604BD65-8997-4357-BA60-019791E2ED85}" dt="2024-06-12T13:28:18.244" v="5908" actId="164"/>
          <ac:grpSpMkLst>
            <pc:docMk/>
            <pc:sldMk cId="0" sldId="329"/>
            <ac:grpSpMk id="5716" creationId="{7EFE5329-1E7B-EAB3-94F6-5C02A96D32F1}"/>
          </ac:grpSpMkLst>
        </pc:grpChg>
        <pc:grpChg chg="mod">
          <ac:chgData name="Robert Lalhlimpuia [Chillibreeze]" userId="8fe5ebfe-980d-441d-bbff-8c5265b810b8" providerId="ADAL" clId="{8604BD65-8997-4357-BA60-019791E2ED85}" dt="2024-06-12T13:26:54.142" v="5881" actId="571"/>
          <ac:grpSpMkLst>
            <pc:docMk/>
            <pc:sldMk cId="0" sldId="329"/>
            <ac:grpSpMk id="5718" creationId="{464DFCD9-8FE1-E4F0-724F-D6C138C13FBD}"/>
          </ac:grpSpMkLst>
        </pc:grpChg>
        <pc:grpChg chg="mod">
          <ac:chgData name="Robert Lalhlimpuia [Chillibreeze]" userId="8fe5ebfe-980d-441d-bbff-8c5265b810b8" providerId="ADAL" clId="{8604BD65-8997-4357-BA60-019791E2ED85}" dt="2024-06-12T13:26:54.142" v="5881" actId="571"/>
          <ac:grpSpMkLst>
            <pc:docMk/>
            <pc:sldMk cId="0" sldId="329"/>
            <ac:grpSpMk id="5719" creationId="{992DFC6A-9331-A73F-6A48-59D6E6EF6829}"/>
          </ac:grpSpMkLst>
        </pc:grpChg>
        <pc:grpChg chg="mod">
          <ac:chgData name="Robert Lalhlimpuia [Chillibreeze]" userId="8fe5ebfe-980d-441d-bbff-8c5265b810b8" providerId="ADAL" clId="{8604BD65-8997-4357-BA60-019791E2ED85}" dt="2024-06-12T13:26:54.142" v="5881" actId="571"/>
          <ac:grpSpMkLst>
            <pc:docMk/>
            <pc:sldMk cId="0" sldId="329"/>
            <ac:grpSpMk id="5720" creationId="{DD7B9655-9A90-378C-4563-58F493ED5648}"/>
          </ac:grpSpMkLst>
        </pc:grpChg>
        <pc:grpChg chg="mod">
          <ac:chgData name="Robert Lalhlimpuia [Chillibreeze]" userId="8fe5ebfe-980d-441d-bbff-8c5265b810b8" providerId="ADAL" clId="{8604BD65-8997-4357-BA60-019791E2ED85}" dt="2024-06-12T13:26:54.142" v="5881" actId="571"/>
          <ac:grpSpMkLst>
            <pc:docMk/>
            <pc:sldMk cId="0" sldId="329"/>
            <ac:grpSpMk id="5721" creationId="{DE9A1532-7FF7-592E-D496-68FB451425D3}"/>
          </ac:grpSpMkLst>
        </pc:grpChg>
        <pc:grpChg chg="mod">
          <ac:chgData name="Robert Lalhlimpuia [Chillibreeze]" userId="8fe5ebfe-980d-441d-bbff-8c5265b810b8" providerId="ADAL" clId="{8604BD65-8997-4357-BA60-019791E2ED85}" dt="2024-06-12T13:26:54.142" v="5881" actId="571"/>
          <ac:grpSpMkLst>
            <pc:docMk/>
            <pc:sldMk cId="0" sldId="329"/>
            <ac:grpSpMk id="5722" creationId="{2B464A62-1D2A-40DA-65C7-1298B6751A68}"/>
          </ac:grpSpMkLst>
        </pc:grpChg>
        <pc:grpChg chg="add mod">
          <ac:chgData name="Robert Lalhlimpuia [Chillibreeze]" userId="8fe5ebfe-980d-441d-bbff-8c5265b810b8" providerId="ADAL" clId="{8604BD65-8997-4357-BA60-019791E2ED85}" dt="2024-06-12T13:28:04.288" v="5903" actId="571"/>
          <ac:grpSpMkLst>
            <pc:docMk/>
            <pc:sldMk cId="0" sldId="329"/>
            <ac:grpSpMk id="5734" creationId="{E464BA2D-40DD-066D-25BD-1F835F532B66}"/>
          </ac:grpSpMkLst>
        </pc:grpChg>
        <pc:grpChg chg="mod">
          <ac:chgData name="Robert Lalhlimpuia [Chillibreeze]" userId="8fe5ebfe-980d-441d-bbff-8c5265b810b8" providerId="ADAL" clId="{8604BD65-8997-4357-BA60-019791E2ED85}" dt="2024-06-12T13:28:04.288" v="5903" actId="571"/>
          <ac:grpSpMkLst>
            <pc:docMk/>
            <pc:sldMk cId="0" sldId="329"/>
            <ac:grpSpMk id="5736" creationId="{B1FA1BEA-9FA8-F989-4539-C2C6F75224E4}"/>
          </ac:grpSpMkLst>
        </pc:grpChg>
        <pc:grpChg chg="mod">
          <ac:chgData name="Robert Lalhlimpuia [Chillibreeze]" userId="8fe5ebfe-980d-441d-bbff-8c5265b810b8" providerId="ADAL" clId="{8604BD65-8997-4357-BA60-019791E2ED85}" dt="2024-06-12T13:28:04.288" v="5903" actId="571"/>
          <ac:grpSpMkLst>
            <pc:docMk/>
            <pc:sldMk cId="0" sldId="329"/>
            <ac:grpSpMk id="5737" creationId="{2C3DCBCF-3157-9BBE-7743-31B2B30FA3BE}"/>
          </ac:grpSpMkLst>
        </pc:grpChg>
        <pc:grpChg chg="mod">
          <ac:chgData name="Robert Lalhlimpuia [Chillibreeze]" userId="8fe5ebfe-980d-441d-bbff-8c5265b810b8" providerId="ADAL" clId="{8604BD65-8997-4357-BA60-019791E2ED85}" dt="2024-06-12T13:28:04.288" v="5903" actId="571"/>
          <ac:grpSpMkLst>
            <pc:docMk/>
            <pc:sldMk cId="0" sldId="329"/>
            <ac:grpSpMk id="5738" creationId="{01B83CC6-CC32-5F16-B4F6-42E04C3ECF24}"/>
          </ac:grpSpMkLst>
        </pc:grpChg>
        <pc:grpChg chg="mod">
          <ac:chgData name="Robert Lalhlimpuia [Chillibreeze]" userId="8fe5ebfe-980d-441d-bbff-8c5265b810b8" providerId="ADAL" clId="{8604BD65-8997-4357-BA60-019791E2ED85}" dt="2024-06-12T13:28:04.288" v="5903" actId="571"/>
          <ac:grpSpMkLst>
            <pc:docMk/>
            <pc:sldMk cId="0" sldId="329"/>
            <ac:grpSpMk id="5739" creationId="{7C6A8583-945B-A2F4-1D12-CF4FA40DE5D4}"/>
          </ac:grpSpMkLst>
        </pc:grpChg>
        <pc:grpChg chg="mod">
          <ac:chgData name="Robert Lalhlimpuia [Chillibreeze]" userId="8fe5ebfe-980d-441d-bbff-8c5265b810b8" providerId="ADAL" clId="{8604BD65-8997-4357-BA60-019791E2ED85}" dt="2024-06-12T13:28:04.288" v="5903" actId="571"/>
          <ac:grpSpMkLst>
            <pc:docMk/>
            <pc:sldMk cId="0" sldId="329"/>
            <ac:grpSpMk id="5740" creationId="{AD6D53E9-9044-1880-F9A8-8B0D6326DB64}"/>
          </ac:grpSpMkLst>
        </pc:grpChg>
        <pc:grpChg chg="add mod">
          <ac:chgData name="Robert Lalhlimpuia [Chillibreeze]" userId="8fe5ebfe-980d-441d-bbff-8c5265b810b8" providerId="ADAL" clId="{8604BD65-8997-4357-BA60-019791E2ED85}" dt="2024-06-12T13:28:18.244" v="5908" actId="164"/>
          <ac:grpSpMkLst>
            <pc:docMk/>
            <pc:sldMk cId="0" sldId="329"/>
            <ac:grpSpMk id="5751" creationId="{B4849AEA-DC93-DA08-825A-AED9084492F3}"/>
          </ac:grpSpMkLst>
        </pc:grpChg>
        <pc:grpChg chg="mod">
          <ac:chgData name="Robert Lalhlimpuia [Chillibreeze]" userId="8fe5ebfe-980d-441d-bbff-8c5265b810b8" providerId="ADAL" clId="{8604BD65-8997-4357-BA60-019791E2ED85}" dt="2024-06-12T13:28:08.379" v="5904" actId="571"/>
          <ac:grpSpMkLst>
            <pc:docMk/>
            <pc:sldMk cId="0" sldId="329"/>
            <ac:grpSpMk id="5753" creationId="{CCDAB345-2BF8-6D5F-2189-52F51F6B5FF8}"/>
          </ac:grpSpMkLst>
        </pc:grpChg>
        <pc:grpChg chg="mod">
          <ac:chgData name="Robert Lalhlimpuia [Chillibreeze]" userId="8fe5ebfe-980d-441d-bbff-8c5265b810b8" providerId="ADAL" clId="{8604BD65-8997-4357-BA60-019791E2ED85}" dt="2024-06-12T13:28:08.379" v="5904" actId="571"/>
          <ac:grpSpMkLst>
            <pc:docMk/>
            <pc:sldMk cId="0" sldId="329"/>
            <ac:grpSpMk id="5754" creationId="{021DA90C-C314-C612-ECFA-3C02E6689489}"/>
          </ac:grpSpMkLst>
        </pc:grpChg>
        <pc:grpChg chg="mod">
          <ac:chgData name="Robert Lalhlimpuia [Chillibreeze]" userId="8fe5ebfe-980d-441d-bbff-8c5265b810b8" providerId="ADAL" clId="{8604BD65-8997-4357-BA60-019791E2ED85}" dt="2024-06-12T13:28:08.379" v="5904" actId="571"/>
          <ac:grpSpMkLst>
            <pc:docMk/>
            <pc:sldMk cId="0" sldId="329"/>
            <ac:grpSpMk id="5755" creationId="{C98FAE9B-A1AE-FCEC-E728-C3480AF3DA6A}"/>
          </ac:grpSpMkLst>
        </pc:grpChg>
        <pc:grpChg chg="mod">
          <ac:chgData name="Robert Lalhlimpuia [Chillibreeze]" userId="8fe5ebfe-980d-441d-bbff-8c5265b810b8" providerId="ADAL" clId="{8604BD65-8997-4357-BA60-019791E2ED85}" dt="2024-06-12T13:28:08.379" v="5904" actId="571"/>
          <ac:grpSpMkLst>
            <pc:docMk/>
            <pc:sldMk cId="0" sldId="329"/>
            <ac:grpSpMk id="5756" creationId="{24FDE7B4-EE6B-12B6-3105-EECBEC4DAB4E}"/>
          </ac:grpSpMkLst>
        </pc:grpChg>
        <pc:grpChg chg="mod">
          <ac:chgData name="Robert Lalhlimpuia [Chillibreeze]" userId="8fe5ebfe-980d-441d-bbff-8c5265b810b8" providerId="ADAL" clId="{8604BD65-8997-4357-BA60-019791E2ED85}" dt="2024-06-12T13:28:08.379" v="5904" actId="571"/>
          <ac:grpSpMkLst>
            <pc:docMk/>
            <pc:sldMk cId="0" sldId="329"/>
            <ac:grpSpMk id="5757" creationId="{F995ED8F-D567-EEF5-1BA3-9A9B92436454}"/>
          </ac:grpSpMkLst>
        </pc:grpChg>
        <pc:grpChg chg="add del mod">
          <ac:chgData name="Robert Lalhlimpuia [Chillibreeze]" userId="8fe5ebfe-980d-441d-bbff-8c5265b810b8" providerId="ADAL" clId="{8604BD65-8997-4357-BA60-019791E2ED85}" dt="2024-06-13T04:07:20.712" v="6403" actId="21"/>
          <ac:grpSpMkLst>
            <pc:docMk/>
            <pc:sldMk cId="0" sldId="329"/>
            <ac:grpSpMk id="5768" creationId="{A8527CA7-03E1-916F-1BE6-C2A94AEEFC7F}"/>
          </ac:grpSpMkLst>
        </pc:grpChg>
        <pc:grpChg chg="add del mod">
          <ac:chgData name="Robert Lalhlimpuia [Chillibreeze]" userId="8fe5ebfe-980d-441d-bbff-8c5265b810b8" providerId="ADAL" clId="{8604BD65-8997-4357-BA60-019791E2ED85}" dt="2024-06-13T04:07:20.712" v="6403" actId="21"/>
          <ac:grpSpMkLst>
            <pc:docMk/>
            <pc:sldMk cId="0" sldId="329"/>
            <ac:grpSpMk id="5769" creationId="{C42E9237-ADBE-CA34-EA18-DAAEA32B269F}"/>
          </ac:grpSpMkLst>
        </pc:grpChg>
        <pc:grpChg chg="mod">
          <ac:chgData name="Robert Lalhlimpuia [Chillibreeze]" userId="8fe5ebfe-980d-441d-bbff-8c5265b810b8" providerId="ADAL" clId="{8604BD65-8997-4357-BA60-019791E2ED85}" dt="2024-06-12T13:28:20.953" v="5909" actId="571"/>
          <ac:grpSpMkLst>
            <pc:docMk/>
            <pc:sldMk cId="0" sldId="329"/>
            <ac:grpSpMk id="5770" creationId="{728F4FD9-4A30-E84D-0FD2-8AA6AFD8C665}"/>
          </ac:grpSpMkLst>
        </pc:grpChg>
        <pc:grpChg chg="mod">
          <ac:chgData name="Robert Lalhlimpuia [Chillibreeze]" userId="8fe5ebfe-980d-441d-bbff-8c5265b810b8" providerId="ADAL" clId="{8604BD65-8997-4357-BA60-019791E2ED85}" dt="2024-06-12T13:28:20.953" v="5909" actId="571"/>
          <ac:grpSpMkLst>
            <pc:docMk/>
            <pc:sldMk cId="0" sldId="329"/>
            <ac:grpSpMk id="5771" creationId="{CA557405-8EB9-1EB8-77C1-38B489079FF7}"/>
          </ac:grpSpMkLst>
        </pc:grpChg>
        <pc:grpChg chg="mod">
          <ac:chgData name="Robert Lalhlimpuia [Chillibreeze]" userId="8fe5ebfe-980d-441d-bbff-8c5265b810b8" providerId="ADAL" clId="{8604BD65-8997-4357-BA60-019791E2ED85}" dt="2024-06-12T13:28:20.953" v="5909" actId="571"/>
          <ac:grpSpMkLst>
            <pc:docMk/>
            <pc:sldMk cId="0" sldId="329"/>
            <ac:grpSpMk id="5773" creationId="{E023CF53-9DA2-DE94-1D4F-766FFBFF56E3}"/>
          </ac:grpSpMkLst>
        </pc:grpChg>
        <pc:grpChg chg="mod">
          <ac:chgData name="Robert Lalhlimpuia [Chillibreeze]" userId="8fe5ebfe-980d-441d-bbff-8c5265b810b8" providerId="ADAL" clId="{8604BD65-8997-4357-BA60-019791E2ED85}" dt="2024-06-12T13:28:20.953" v="5909" actId="571"/>
          <ac:grpSpMkLst>
            <pc:docMk/>
            <pc:sldMk cId="0" sldId="329"/>
            <ac:grpSpMk id="5774" creationId="{F239E349-DA60-E87B-F7EF-AD09F0AE92BE}"/>
          </ac:grpSpMkLst>
        </pc:grpChg>
        <pc:grpChg chg="mod">
          <ac:chgData name="Robert Lalhlimpuia [Chillibreeze]" userId="8fe5ebfe-980d-441d-bbff-8c5265b810b8" providerId="ADAL" clId="{8604BD65-8997-4357-BA60-019791E2ED85}" dt="2024-06-12T13:28:20.953" v="5909" actId="571"/>
          <ac:grpSpMkLst>
            <pc:docMk/>
            <pc:sldMk cId="0" sldId="329"/>
            <ac:grpSpMk id="5775" creationId="{BECFB952-F9CA-FCAC-0A3E-95B38FF677BA}"/>
          </ac:grpSpMkLst>
        </pc:grpChg>
        <pc:grpChg chg="mod">
          <ac:chgData name="Robert Lalhlimpuia [Chillibreeze]" userId="8fe5ebfe-980d-441d-bbff-8c5265b810b8" providerId="ADAL" clId="{8604BD65-8997-4357-BA60-019791E2ED85}" dt="2024-06-12T13:28:20.953" v="5909" actId="571"/>
          <ac:grpSpMkLst>
            <pc:docMk/>
            <pc:sldMk cId="0" sldId="329"/>
            <ac:grpSpMk id="5776" creationId="{954844DF-7A6E-EB04-7541-648BBC1E04E9}"/>
          </ac:grpSpMkLst>
        </pc:grpChg>
        <pc:grpChg chg="mod">
          <ac:chgData name="Robert Lalhlimpuia [Chillibreeze]" userId="8fe5ebfe-980d-441d-bbff-8c5265b810b8" providerId="ADAL" clId="{8604BD65-8997-4357-BA60-019791E2ED85}" dt="2024-06-12T13:28:20.953" v="5909" actId="571"/>
          <ac:grpSpMkLst>
            <pc:docMk/>
            <pc:sldMk cId="0" sldId="329"/>
            <ac:grpSpMk id="5777" creationId="{2AB93BFE-02CF-D9C7-C2E1-3D176BCAA10F}"/>
          </ac:grpSpMkLst>
        </pc:grpChg>
        <pc:grpChg chg="mod">
          <ac:chgData name="Robert Lalhlimpuia [Chillibreeze]" userId="8fe5ebfe-980d-441d-bbff-8c5265b810b8" providerId="ADAL" clId="{8604BD65-8997-4357-BA60-019791E2ED85}" dt="2024-06-12T13:28:20.953" v="5909" actId="571"/>
          <ac:grpSpMkLst>
            <pc:docMk/>
            <pc:sldMk cId="0" sldId="329"/>
            <ac:grpSpMk id="5789" creationId="{FC97712E-9D12-1E82-3E6A-288548867C3B}"/>
          </ac:grpSpMkLst>
        </pc:grpChg>
        <pc:grpChg chg="mod">
          <ac:chgData name="Robert Lalhlimpuia [Chillibreeze]" userId="8fe5ebfe-980d-441d-bbff-8c5265b810b8" providerId="ADAL" clId="{8604BD65-8997-4357-BA60-019791E2ED85}" dt="2024-06-12T13:28:20.953" v="5909" actId="571"/>
          <ac:grpSpMkLst>
            <pc:docMk/>
            <pc:sldMk cId="0" sldId="329"/>
            <ac:grpSpMk id="5790" creationId="{59B9E814-9158-6EFE-F3C9-4B15754B6B86}"/>
          </ac:grpSpMkLst>
        </pc:grpChg>
        <pc:grpChg chg="mod">
          <ac:chgData name="Robert Lalhlimpuia [Chillibreeze]" userId="8fe5ebfe-980d-441d-bbff-8c5265b810b8" providerId="ADAL" clId="{8604BD65-8997-4357-BA60-019791E2ED85}" dt="2024-06-12T13:28:20.953" v="5909" actId="571"/>
          <ac:grpSpMkLst>
            <pc:docMk/>
            <pc:sldMk cId="0" sldId="329"/>
            <ac:grpSpMk id="5791" creationId="{08120817-0A45-8553-5EF1-2497B86CEBFB}"/>
          </ac:grpSpMkLst>
        </pc:grpChg>
        <pc:grpChg chg="mod">
          <ac:chgData name="Robert Lalhlimpuia [Chillibreeze]" userId="8fe5ebfe-980d-441d-bbff-8c5265b810b8" providerId="ADAL" clId="{8604BD65-8997-4357-BA60-019791E2ED85}" dt="2024-06-12T13:28:20.953" v="5909" actId="571"/>
          <ac:grpSpMkLst>
            <pc:docMk/>
            <pc:sldMk cId="0" sldId="329"/>
            <ac:grpSpMk id="5792" creationId="{E4893AD9-23C8-258B-35E3-20B7C7BEFE18}"/>
          </ac:grpSpMkLst>
        </pc:grpChg>
        <pc:grpChg chg="mod">
          <ac:chgData name="Robert Lalhlimpuia [Chillibreeze]" userId="8fe5ebfe-980d-441d-bbff-8c5265b810b8" providerId="ADAL" clId="{8604BD65-8997-4357-BA60-019791E2ED85}" dt="2024-06-12T13:28:20.953" v="5909" actId="571"/>
          <ac:grpSpMkLst>
            <pc:docMk/>
            <pc:sldMk cId="0" sldId="329"/>
            <ac:grpSpMk id="5793" creationId="{9F55A4B7-0416-D77E-9474-7692CD7C9CBA}"/>
          </ac:grpSpMkLst>
        </pc:grpChg>
        <pc:grpChg chg="add mod">
          <ac:chgData name="Robert Lalhlimpuia [Chillibreeze]" userId="8fe5ebfe-980d-441d-bbff-8c5265b810b8" providerId="ADAL" clId="{8604BD65-8997-4357-BA60-019791E2ED85}" dt="2024-06-12T13:28:22.593" v="5911" actId="571"/>
          <ac:grpSpMkLst>
            <pc:docMk/>
            <pc:sldMk cId="0" sldId="329"/>
            <ac:grpSpMk id="5805" creationId="{8FCDE320-96B3-78FC-CA50-4F2E2BF1D3D4}"/>
          </ac:grpSpMkLst>
        </pc:grpChg>
        <pc:grpChg chg="mod">
          <ac:chgData name="Robert Lalhlimpuia [Chillibreeze]" userId="8fe5ebfe-980d-441d-bbff-8c5265b810b8" providerId="ADAL" clId="{8604BD65-8997-4357-BA60-019791E2ED85}" dt="2024-06-12T13:28:22.593" v="5911" actId="571"/>
          <ac:grpSpMkLst>
            <pc:docMk/>
            <pc:sldMk cId="0" sldId="329"/>
            <ac:grpSpMk id="5806" creationId="{24492970-2E1E-FE3A-36F5-F3AED5A76879}"/>
          </ac:grpSpMkLst>
        </pc:grpChg>
        <pc:grpChg chg="mod">
          <ac:chgData name="Robert Lalhlimpuia [Chillibreeze]" userId="8fe5ebfe-980d-441d-bbff-8c5265b810b8" providerId="ADAL" clId="{8604BD65-8997-4357-BA60-019791E2ED85}" dt="2024-06-12T13:28:22.593" v="5911" actId="571"/>
          <ac:grpSpMkLst>
            <pc:docMk/>
            <pc:sldMk cId="0" sldId="329"/>
            <ac:grpSpMk id="5807" creationId="{7EA96E02-9CD9-4041-48EB-A3B9DF08BA3E}"/>
          </ac:grpSpMkLst>
        </pc:grpChg>
        <pc:grpChg chg="mod">
          <ac:chgData name="Robert Lalhlimpuia [Chillibreeze]" userId="8fe5ebfe-980d-441d-bbff-8c5265b810b8" providerId="ADAL" clId="{8604BD65-8997-4357-BA60-019791E2ED85}" dt="2024-06-12T13:28:22.593" v="5911" actId="571"/>
          <ac:grpSpMkLst>
            <pc:docMk/>
            <pc:sldMk cId="0" sldId="329"/>
            <ac:grpSpMk id="5809" creationId="{7E7BC517-53A8-42A0-E207-03272173F4FB}"/>
          </ac:grpSpMkLst>
        </pc:grpChg>
        <pc:grpChg chg="mod">
          <ac:chgData name="Robert Lalhlimpuia [Chillibreeze]" userId="8fe5ebfe-980d-441d-bbff-8c5265b810b8" providerId="ADAL" clId="{8604BD65-8997-4357-BA60-019791E2ED85}" dt="2024-06-12T13:28:22.593" v="5911" actId="571"/>
          <ac:grpSpMkLst>
            <pc:docMk/>
            <pc:sldMk cId="0" sldId="329"/>
            <ac:grpSpMk id="5810" creationId="{9E247FA0-75F1-BC94-7B50-0D1D4B6DE2BA}"/>
          </ac:grpSpMkLst>
        </pc:grpChg>
        <pc:grpChg chg="mod">
          <ac:chgData name="Robert Lalhlimpuia [Chillibreeze]" userId="8fe5ebfe-980d-441d-bbff-8c5265b810b8" providerId="ADAL" clId="{8604BD65-8997-4357-BA60-019791E2ED85}" dt="2024-06-12T13:28:22.593" v="5911" actId="571"/>
          <ac:grpSpMkLst>
            <pc:docMk/>
            <pc:sldMk cId="0" sldId="329"/>
            <ac:grpSpMk id="5811" creationId="{0941A510-C11D-18BC-8FFF-9722AD43FC55}"/>
          </ac:grpSpMkLst>
        </pc:grpChg>
        <pc:grpChg chg="mod">
          <ac:chgData name="Robert Lalhlimpuia [Chillibreeze]" userId="8fe5ebfe-980d-441d-bbff-8c5265b810b8" providerId="ADAL" clId="{8604BD65-8997-4357-BA60-019791E2ED85}" dt="2024-06-12T13:28:22.593" v="5911" actId="571"/>
          <ac:grpSpMkLst>
            <pc:docMk/>
            <pc:sldMk cId="0" sldId="329"/>
            <ac:grpSpMk id="5812" creationId="{9EC0F43D-CC8E-9433-E5FD-C61242425A25}"/>
          </ac:grpSpMkLst>
        </pc:grpChg>
        <pc:grpChg chg="mod">
          <ac:chgData name="Robert Lalhlimpuia [Chillibreeze]" userId="8fe5ebfe-980d-441d-bbff-8c5265b810b8" providerId="ADAL" clId="{8604BD65-8997-4357-BA60-019791E2ED85}" dt="2024-06-12T13:28:22.593" v="5911" actId="571"/>
          <ac:grpSpMkLst>
            <pc:docMk/>
            <pc:sldMk cId="0" sldId="329"/>
            <ac:grpSpMk id="5813" creationId="{7C67940C-ABCD-4899-1882-382495215568}"/>
          </ac:grpSpMkLst>
        </pc:grpChg>
        <pc:grpChg chg="mod">
          <ac:chgData name="Robert Lalhlimpuia [Chillibreeze]" userId="8fe5ebfe-980d-441d-bbff-8c5265b810b8" providerId="ADAL" clId="{8604BD65-8997-4357-BA60-019791E2ED85}" dt="2024-06-12T13:28:22.593" v="5911" actId="571"/>
          <ac:grpSpMkLst>
            <pc:docMk/>
            <pc:sldMk cId="0" sldId="329"/>
            <ac:grpSpMk id="5825" creationId="{D109B47C-9D3A-0EAB-FD1C-00EA3E732A4A}"/>
          </ac:grpSpMkLst>
        </pc:grpChg>
        <pc:grpChg chg="mod">
          <ac:chgData name="Robert Lalhlimpuia [Chillibreeze]" userId="8fe5ebfe-980d-441d-bbff-8c5265b810b8" providerId="ADAL" clId="{8604BD65-8997-4357-BA60-019791E2ED85}" dt="2024-06-12T13:28:22.593" v="5911" actId="571"/>
          <ac:grpSpMkLst>
            <pc:docMk/>
            <pc:sldMk cId="0" sldId="329"/>
            <ac:grpSpMk id="5826" creationId="{530AC5DB-6728-03DF-1105-DDF166CA7F34}"/>
          </ac:grpSpMkLst>
        </pc:grpChg>
        <pc:grpChg chg="add mod">
          <ac:chgData name="Robert Lalhlimpuia [Chillibreeze]" userId="8fe5ebfe-980d-441d-bbff-8c5265b810b8" providerId="ADAL" clId="{8604BD65-8997-4357-BA60-019791E2ED85}" dt="2024-06-13T06:05:20.541" v="6704" actId="1076"/>
          <ac:grpSpMkLst>
            <pc:docMk/>
            <pc:sldMk cId="0" sldId="329"/>
            <ac:grpSpMk id="5827" creationId="{01BC3F06-0765-87CB-54AA-DF061671FF1B}"/>
          </ac:grpSpMkLst>
        </pc:grpChg>
        <pc:grpChg chg="mod">
          <ac:chgData name="Robert Lalhlimpuia [Chillibreeze]" userId="8fe5ebfe-980d-441d-bbff-8c5265b810b8" providerId="ADAL" clId="{8604BD65-8997-4357-BA60-019791E2ED85}" dt="2024-06-12T13:28:22.593" v="5911" actId="571"/>
          <ac:grpSpMkLst>
            <pc:docMk/>
            <pc:sldMk cId="0" sldId="329"/>
            <ac:grpSpMk id="5827" creationId="{508A97CD-07BF-4AC5-37AD-2297F1FBAF36}"/>
          </ac:grpSpMkLst>
        </pc:grpChg>
        <pc:grpChg chg="mod">
          <ac:chgData name="Robert Lalhlimpuia [Chillibreeze]" userId="8fe5ebfe-980d-441d-bbff-8c5265b810b8" providerId="ADAL" clId="{8604BD65-8997-4357-BA60-019791E2ED85}" dt="2024-06-12T13:28:22.593" v="5911" actId="571"/>
          <ac:grpSpMkLst>
            <pc:docMk/>
            <pc:sldMk cId="0" sldId="329"/>
            <ac:grpSpMk id="5828" creationId="{6E35601E-3D2A-E4CA-BBB9-ACB03189DD96}"/>
          </ac:grpSpMkLst>
        </pc:grpChg>
        <pc:grpChg chg="mod">
          <ac:chgData name="Robert Lalhlimpuia [Chillibreeze]" userId="8fe5ebfe-980d-441d-bbff-8c5265b810b8" providerId="ADAL" clId="{8604BD65-8997-4357-BA60-019791E2ED85}" dt="2024-06-13T06:03:59.490" v="6698" actId="571"/>
          <ac:grpSpMkLst>
            <pc:docMk/>
            <pc:sldMk cId="0" sldId="329"/>
            <ac:grpSpMk id="5828" creationId="{E903BC0A-977E-E31A-0CC1-17D0819AECB1}"/>
          </ac:grpSpMkLst>
        </pc:grpChg>
        <pc:grpChg chg="mod">
          <ac:chgData name="Robert Lalhlimpuia [Chillibreeze]" userId="8fe5ebfe-980d-441d-bbff-8c5265b810b8" providerId="ADAL" clId="{8604BD65-8997-4357-BA60-019791E2ED85}" dt="2024-06-13T06:03:59.490" v="6698" actId="571"/>
          <ac:grpSpMkLst>
            <pc:docMk/>
            <pc:sldMk cId="0" sldId="329"/>
            <ac:grpSpMk id="5829" creationId="{83F7B4AB-66EB-9C4F-847B-D01AD2D9A62C}"/>
          </ac:grpSpMkLst>
        </pc:grpChg>
        <pc:grpChg chg="mod">
          <ac:chgData name="Robert Lalhlimpuia [Chillibreeze]" userId="8fe5ebfe-980d-441d-bbff-8c5265b810b8" providerId="ADAL" clId="{8604BD65-8997-4357-BA60-019791E2ED85}" dt="2024-06-12T13:28:22.593" v="5911" actId="571"/>
          <ac:grpSpMkLst>
            <pc:docMk/>
            <pc:sldMk cId="0" sldId="329"/>
            <ac:grpSpMk id="5829" creationId="{8BB7B771-F1C9-24B7-6BE8-5B88F43C8DCD}"/>
          </ac:grpSpMkLst>
        </pc:grpChg>
        <pc:grpChg chg="add del mod">
          <ac:chgData name="Robert Lalhlimpuia [Chillibreeze]" userId="8fe5ebfe-980d-441d-bbff-8c5265b810b8" providerId="ADAL" clId="{8604BD65-8997-4357-BA60-019791E2ED85}" dt="2024-06-13T04:07:20.712" v="6403" actId="21"/>
          <ac:grpSpMkLst>
            <pc:docMk/>
            <pc:sldMk cId="0" sldId="329"/>
            <ac:grpSpMk id="5840" creationId="{DB82C1A2-3589-729C-BCAE-01901A5FD28F}"/>
          </ac:grpSpMkLst>
        </pc:grpChg>
        <pc:grpChg chg="mod">
          <ac:chgData name="Robert Lalhlimpuia [Chillibreeze]" userId="8fe5ebfe-980d-441d-bbff-8c5265b810b8" providerId="ADAL" clId="{8604BD65-8997-4357-BA60-019791E2ED85}" dt="2024-06-12T13:28:26.496" v="5913" actId="571"/>
          <ac:grpSpMkLst>
            <pc:docMk/>
            <pc:sldMk cId="0" sldId="329"/>
            <ac:grpSpMk id="5841" creationId="{50CECD85-9CE5-AB09-4CD5-AA2A010990DA}"/>
          </ac:grpSpMkLst>
        </pc:grpChg>
        <pc:grpChg chg="mod">
          <ac:chgData name="Robert Lalhlimpuia [Chillibreeze]" userId="8fe5ebfe-980d-441d-bbff-8c5265b810b8" providerId="ADAL" clId="{8604BD65-8997-4357-BA60-019791E2ED85}" dt="2024-06-12T13:28:26.496" v="5913" actId="571"/>
          <ac:grpSpMkLst>
            <pc:docMk/>
            <pc:sldMk cId="0" sldId="329"/>
            <ac:grpSpMk id="5842" creationId="{0E72B881-5698-5B5F-3166-38784EAC7F3A}"/>
          </ac:grpSpMkLst>
        </pc:grpChg>
        <pc:grpChg chg="mod">
          <ac:chgData name="Robert Lalhlimpuia [Chillibreeze]" userId="8fe5ebfe-980d-441d-bbff-8c5265b810b8" providerId="ADAL" clId="{8604BD65-8997-4357-BA60-019791E2ED85}" dt="2024-06-12T13:28:26.496" v="5913" actId="571"/>
          <ac:grpSpMkLst>
            <pc:docMk/>
            <pc:sldMk cId="0" sldId="329"/>
            <ac:grpSpMk id="5844" creationId="{093C3096-349D-65CD-2C69-78EDD9879100}"/>
          </ac:grpSpMkLst>
        </pc:grpChg>
        <pc:grpChg chg="mod">
          <ac:chgData name="Robert Lalhlimpuia [Chillibreeze]" userId="8fe5ebfe-980d-441d-bbff-8c5265b810b8" providerId="ADAL" clId="{8604BD65-8997-4357-BA60-019791E2ED85}" dt="2024-06-12T13:28:26.496" v="5913" actId="571"/>
          <ac:grpSpMkLst>
            <pc:docMk/>
            <pc:sldMk cId="0" sldId="329"/>
            <ac:grpSpMk id="5845" creationId="{C7BED5CF-F9D6-3B6E-1971-5A17F8F494D6}"/>
          </ac:grpSpMkLst>
        </pc:grpChg>
        <pc:grpChg chg="mod">
          <ac:chgData name="Robert Lalhlimpuia [Chillibreeze]" userId="8fe5ebfe-980d-441d-bbff-8c5265b810b8" providerId="ADAL" clId="{8604BD65-8997-4357-BA60-019791E2ED85}" dt="2024-06-12T13:28:26.496" v="5913" actId="571"/>
          <ac:grpSpMkLst>
            <pc:docMk/>
            <pc:sldMk cId="0" sldId="329"/>
            <ac:grpSpMk id="5846" creationId="{B4115309-2293-D71A-0900-6021F8AE7069}"/>
          </ac:grpSpMkLst>
        </pc:grpChg>
        <pc:grpChg chg="mod">
          <ac:chgData name="Robert Lalhlimpuia [Chillibreeze]" userId="8fe5ebfe-980d-441d-bbff-8c5265b810b8" providerId="ADAL" clId="{8604BD65-8997-4357-BA60-019791E2ED85}" dt="2024-06-12T13:28:26.496" v="5913" actId="571"/>
          <ac:grpSpMkLst>
            <pc:docMk/>
            <pc:sldMk cId="0" sldId="329"/>
            <ac:grpSpMk id="5847" creationId="{6738B20A-05EF-58E4-63B5-2893F3D02CE3}"/>
          </ac:grpSpMkLst>
        </pc:grpChg>
        <pc:grpChg chg="mod">
          <ac:chgData name="Robert Lalhlimpuia [Chillibreeze]" userId="8fe5ebfe-980d-441d-bbff-8c5265b810b8" providerId="ADAL" clId="{8604BD65-8997-4357-BA60-019791E2ED85}" dt="2024-06-12T13:28:26.496" v="5913" actId="571"/>
          <ac:grpSpMkLst>
            <pc:docMk/>
            <pc:sldMk cId="0" sldId="329"/>
            <ac:grpSpMk id="5848" creationId="{6098670D-D789-E750-2C63-DE1948A1671A}"/>
          </ac:grpSpMkLst>
        </pc:grpChg>
        <pc:grpChg chg="mod">
          <ac:chgData name="Robert Lalhlimpuia [Chillibreeze]" userId="8fe5ebfe-980d-441d-bbff-8c5265b810b8" providerId="ADAL" clId="{8604BD65-8997-4357-BA60-019791E2ED85}" dt="2024-06-12T13:28:26.496" v="5913" actId="571"/>
          <ac:grpSpMkLst>
            <pc:docMk/>
            <pc:sldMk cId="0" sldId="329"/>
            <ac:grpSpMk id="5860" creationId="{F866287E-C4F3-EE15-2F9B-B6068E68161B}"/>
          </ac:grpSpMkLst>
        </pc:grpChg>
        <pc:grpChg chg="mod">
          <ac:chgData name="Robert Lalhlimpuia [Chillibreeze]" userId="8fe5ebfe-980d-441d-bbff-8c5265b810b8" providerId="ADAL" clId="{8604BD65-8997-4357-BA60-019791E2ED85}" dt="2024-06-12T13:28:26.496" v="5913" actId="571"/>
          <ac:grpSpMkLst>
            <pc:docMk/>
            <pc:sldMk cId="0" sldId="329"/>
            <ac:grpSpMk id="5861" creationId="{6BB97CFA-1AFD-2E89-8B46-FEB83D691F65}"/>
          </ac:grpSpMkLst>
        </pc:grpChg>
        <pc:grpChg chg="mod">
          <ac:chgData name="Robert Lalhlimpuia [Chillibreeze]" userId="8fe5ebfe-980d-441d-bbff-8c5265b810b8" providerId="ADAL" clId="{8604BD65-8997-4357-BA60-019791E2ED85}" dt="2024-06-12T13:28:26.496" v="5913" actId="571"/>
          <ac:grpSpMkLst>
            <pc:docMk/>
            <pc:sldMk cId="0" sldId="329"/>
            <ac:grpSpMk id="5862" creationId="{6C7CB766-29DD-D053-B96F-2DD1B47AAA3D}"/>
          </ac:grpSpMkLst>
        </pc:grpChg>
        <pc:grpChg chg="mod">
          <ac:chgData name="Robert Lalhlimpuia [Chillibreeze]" userId="8fe5ebfe-980d-441d-bbff-8c5265b810b8" providerId="ADAL" clId="{8604BD65-8997-4357-BA60-019791E2ED85}" dt="2024-06-12T13:28:26.496" v="5913" actId="571"/>
          <ac:grpSpMkLst>
            <pc:docMk/>
            <pc:sldMk cId="0" sldId="329"/>
            <ac:grpSpMk id="5863" creationId="{B683F9C8-CADE-7B63-001D-E22CEAE72E32}"/>
          </ac:grpSpMkLst>
        </pc:grpChg>
        <pc:grpChg chg="mod">
          <ac:chgData name="Robert Lalhlimpuia [Chillibreeze]" userId="8fe5ebfe-980d-441d-bbff-8c5265b810b8" providerId="ADAL" clId="{8604BD65-8997-4357-BA60-019791E2ED85}" dt="2024-06-12T13:28:26.496" v="5913" actId="571"/>
          <ac:grpSpMkLst>
            <pc:docMk/>
            <pc:sldMk cId="0" sldId="329"/>
            <ac:grpSpMk id="5864" creationId="{E55CB981-35C1-9D68-92C8-93667579A46A}"/>
          </ac:grpSpMkLst>
        </pc:grpChg>
        <pc:grpChg chg="add del mod">
          <ac:chgData name="Robert Lalhlimpuia [Chillibreeze]" userId="8fe5ebfe-980d-441d-bbff-8c5265b810b8" providerId="ADAL" clId="{8604BD65-8997-4357-BA60-019791E2ED85}" dt="2024-06-13T06:05:35.005" v="6706" actId="165"/>
          <ac:grpSpMkLst>
            <pc:docMk/>
            <pc:sldMk cId="0" sldId="329"/>
            <ac:grpSpMk id="5875" creationId="{C7100C1B-36DC-0B3C-2D20-1105CB0E09E0}"/>
          </ac:grpSpMkLst>
        </pc:grpChg>
        <pc:grpChg chg="add mod">
          <ac:chgData name="Robert Lalhlimpuia [Chillibreeze]" userId="8fe5ebfe-980d-441d-bbff-8c5265b810b8" providerId="ADAL" clId="{8604BD65-8997-4357-BA60-019791E2ED85}" dt="2024-06-12T13:28:40.866" v="5920" actId="571"/>
          <ac:grpSpMkLst>
            <pc:docMk/>
            <pc:sldMk cId="0" sldId="329"/>
            <ac:grpSpMk id="5876" creationId="{446E25C4-F825-1FA8-0A45-EFC64A5A1F08}"/>
          </ac:grpSpMkLst>
        </pc:grpChg>
        <pc:grpChg chg="mod topLvl">
          <ac:chgData name="Robert Lalhlimpuia [Chillibreeze]" userId="8fe5ebfe-980d-441d-bbff-8c5265b810b8" providerId="ADAL" clId="{8604BD65-8997-4357-BA60-019791E2ED85}" dt="2024-06-13T06:05:56.676" v="6720"/>
          <ac:grpSpMkLst>
            <pc:docMk/>
            <pc:sldMk cId="0" sldId="329"/>
            <ac:grpSpMk id="5876" creationId="{6ECC40A7-0D22-94B6-BD73-7FAC92884B44}"/>
          </ac:grpSpMkLst>
        </pc:grpChg>
        <pc:grpChg chg="mod topLvl">
          <ac:chgData name="Robert Lalhlimpuia [Chillibreeze]" userId="8fe5ebfe-980d-441d-bbff-8c5265b810b8" providerId="ADAL" clId="{8604BD65-8997-4357-BA60-019791E2ED85}" dt="2024-06-13T06:05:56.676" v="6720"/>
          <ac:grpSpMkLst>
            <pc:docMk/>
            <pc:sldMk cId="0" sldId="329"/>
            <ac:grpSpMk id="5877" creationId="{ED45BA02-4D2A-48B6-8960-DDF1C28D7CC8}"/>
          </ac:grpSpMkLst>
        </pc:grpChg>
        <pc:grpChg chg="mod">
          <ac:chgData name="Robert Lalhlimpuia [Chillibreeze]" userId="8fe5ebfe-980d-441d-bbff-8c5265b810b8" providerId="ADAL" clId="{8604BD65-8997-4357-BA60-019791E2ED85}" dt="2024-06-12T13:28:40.866" v="5920" actId="571"/>
          <ac:grpSpMkLst>
            <pc:docMk/>
            <pc:sldMk cId="0" sldId="329"/>
            <ac:grpSpMk id="5878" creationId="{2AE39675-1F5D-4449-3089-38B381784FC9}"/>
          </ac:grpSpMkLst>
        </pc:grpChg>
        <pc:grpChg chg="mod">
          <ac:chgData name="Robert Lalhlimpuia [Chillibreeze]" userId="8fe5ebfe-980d-441d-bbff-8c5265b810b8" providerId="ADAL" clId="{8604BD65-8997-4357-BA60-019791E2ED85}" dt="2024-06-12T13:28:40.866" v="5920" actId="571"/>
          <ac:grpSpMkLst>
            <pc:docMk/>
            <pc:sldMk cId="0" sldId="329"/>
            <ac:grpSpMk id="5879" creationId="{B044070D-CFD5-3051-4832-A6F0BD5913C7}"/>
          </ac:grpSpMkLst>
        </pc:grpChg>
        <pc:grpChg chg="mod">
          <ac:chgData name="Robert Lalhlimpuia [Chillibreeze]" userId="8fe5ebfe-980d-441d-bbff-8c5265b810b8" providerId="ADAL" clId="{8604BD65-8997-4357-BA60-019791E2ED85}" dt="2024-06-12T13:28:40.866" v="5920" actId="571"/>
          <ac:grpSpMkLst>
            <pc:docMk/>
            <pc:sldMk cId="0" sldId="329"/>
            <ac:grpSpMk id="5880" creationId="{A9583F8F-BBE1-3EBC-B42E-46E6EB9A67B9}"/>
          </ac:grpSpMkLst>
        </pc:grpChg>
        <pc:grpChg chg="mod">
          <ac:chgData name="Robert Lalhlimpuia [Chillibreeze]" userId="8fe5ebfe-980d-441d-bbff-8c5265b810b8" providerId="ADAL" clId="{8604BD65-8997-4357-BA60-019791E2ED85}" dt="2024-06-12T13:28:40.866" v="5920" actId="571"/>
          <ac:grpSpMkLst>
            <pc:docMk/>
            <pc:sldMk cId="0" sldId="329"/>
            <ac:grpSpMk id="5881" creationId="{63D99449-F0A2-AD1A-5C41-C4DA89C8867F}"/>
          </ac:grpSpMkLst>
        </pc:grpChg>
        <pc:grpChg chg="mod">
          <ac:chgData name="Robert Lalhlimpuia [Chillibreeze]" userId="8fe5ebfe-980d-441d-bbff-8c5265b810b8" providerId="ADAL" clId="{8604BD65-8997-4357-BA60-019791E2ED85}" dt="2024-06-12T13:28:40.866" v="5920" actId="571"/>
          <ac:grpSpMkLst>
            <pc:docMk/>
            <pc:sldMk cId="0" sldId="329"/>
            <ac:grpSpMk id="5882" creationId="{614236A8-6A1E-581D-80B1-BEE3DA6274EB}"/>
          </ac:grpSpMkLst>
        </pc:grpChg>
        <pc:grpChg chg="add mod">
          <ac:chgData name="Robert Lalhlimpuia [Chillibreeze]" userId="8fe5ebfe-980d-441d-bbff-8c5265b810b8" providerId="ADAL" clId="{8604BD65-8997-4357-BA60-019791E2ED85}" dt="2024-06-12T13:28:52.925" v="5930"/>
          <ac:grpSpMkLst>
            <pc:docMk/>
            <pc:sldMk cId="0" sldId="329"/>
            <ac:grpSpMk id="5893" creationId="{A09C89B6-75BB-E098-18C6-9E179E2DA9DB}"/>
          </ac:grpSpMkLst>
        </pc:grpChg>
        <pc:grpChg chg="mod">
          <ac:chgData name="Robert Lalhlimpuia [Chillibreeze]" userId="8fe5ebfe-980d-441d-bbff-8c5265b810b8" providerId="ADAL" clId="{8604BD65-8997-4357-BA60-019791E2ED85}" dt="2024-06-12T13:28:52.925" v="5930"/>
          <ac:grpSpMkLst>
            <pc:docMk/>
            <pc:sldMk cId="0" sldId="329"/>
            <ac:grpSpMk id="5895" creationId="{C1360488-AF87-754A-2520-10227960B448}"/>
          </ac:grpSpMkLst>
        </pc:grpChg>
        <pc:grpChg chg="mod">
          <ac:chgData name="Robert Lalhlimpuia [Chillibreeze]" userId="8fe5ebfe-980d-441d-bbff-8c5265b810b8" providerId="ADAL" clId="{8604BD65-8997-4357-BA60-019791E2ED85}" dt="2024-06-12T13:28:52.925" v="5930"/>
          <ac:grpSpMkLst>
            <pc:docMk/>
            <pc:sldMk cId="0" sldId="329"/>
            <ac:grpSpMk id="5896" creationId="{5D47D507-0A3C-41C0-7ADA-EDDF07256770}"/>
          </ac:grpSpMkLst>
        </pc:grpChg>
        <pc:grpChg chg="mod">
          <ac:chgData name="Robert Lalhlimpuia [Chillibreeze]" userId="8fe5ebfe-980d-441d-bbff-8c5265b810b8" providerId="ADAL" clId="{8604BD65-8997-4357-BA60-019791E2ED85}" dt="2024-06-12T13:28:52.925" v="5930"/>
          <ac:grpSpMkLst>
            <pc:docMk/>
            <pc:sldMk cId="0" sldId="329"/>
            <ac:grpSpMk id="5897" creationId="{02C0FF31-5504-B672-9504-7014069518DB}"/>
          </ac:grpSpMkLst>
        </pc:grpChg>
        <pc:grpChg chg="mod">
          <ac:chgData name="Robert Lalhlimpuia [Chillibreeze]" userId="8fe5ebfe-980d-441d-bbff-8c5265b810b8" providerId="ADAL" clId="{8604BD65-8997-4357-BA60-019791E2ED85}" dt="2024-06-12T13:28:52.925" v="5930"/>
          <ac:grpSpMkLst>
            <pc:docMk/>
            <pc:sldMk cId="0" sldId="329"/>
            <ac:grpSpMk id="5898" creationId="{FB797755-E5F1-FF7C-C8E2-E33461A1949D}"/>
          </ac:grpSpMkLst>
        </pc:grpChg>
        <pc:grpChg chg="mod">
          <ac:chgData name="Robert Lalhlimpuia [Chillibreeze]" userId="8fe5ebfe-980d-441d-bbff-8c5265b810b8" providerId="ADAL" clId="{8604BD65-8997-4357-BA60-019791E2ED85}" dt="2024-06-12T13:28:52.925" v="5930"/>
          <ac:grpSpMkLst>
            <pc:docMk/>
            <pc:sldMk cId="0" sldId="329"/>
            <ac:grpSpMk id="5899" creationId="{2731D5F5-0563-EBC5-BFB3-44DD1A9CE93E}"/>
          </ac:grpSpMkLst>
        </pc:grpChg>
        <pc:grpChg chg="add mod">
          <ac:chgData name="Robert Lalhlimpuia [Chillibreeze]" userId="8fe5ebfe-980d-441d-bbff-8c5265b810b8" providerId="ADAL" clId="{8604BD65-8997-4357-BA60-019791E2ED85}" dt="2024-06-12T13:28:52.925" v="5930"/>
          <ac:grpSpMkLst>
            <pc:docMk/>
            <pc:sldMk cId="0" sldId="329"/>
            <ac:grpSpMk id="5910" creationId="{2FE62A01-04EF-AF93-B9CF-0C61F63B7877}"/>
          </ac:grpSpMkLst>
        </pc:grpChg>
        <pc:grpChg chg="mod">
          <ac:chgData name="Robert Lalhlimpuia [Chillibreeze]" userId="8fe5ebfe-980d-441d-bbff-8c5265b810b8" providerId="ADAL" clId="{8604BD65-8997-4357-BA60-019791E2ED85}" dt="2024-06-12T13:28:52.925" v="5930"/>
          <ac:grpSpMkLst>
            <pc:docMk/>
            <pc:sldMk cId="0" sldId="329"/>
            <ac:grpSpMk id="5912" creationId="{2CCA8D72-2F9B-BA7A-8A96-8CC8358DEE74}"/>
          </ac:grpSpMkLst>
        </pc:grpChg>
        <pc:grpChg chg="mod">
          <ac:chgData name="Robert Lalhlimpuia [Chillibreeze]" userId="8fe5ebfe-980d-441d-bbff-8c5265b810b8" providerId="ADAL" clId="{8604BD65-8997-4357-BA60-019791E2ED85}" dt="2024-06-12T13:28:52.925" v="5930"/>
          <ac:grpSpMkLst>
            <pc:docMk/>
            <pc:sldMk cId="0" sldId="329"/>
            <ac:grpSpMk id="5913" creationId="{E1262B0E-DB52-242A-C63D-79779F236DF3}"/>
          </ac:grpSpMkLst>
        </pc:grpChg>
        <pc:grpChg chg="mod">
          <ac:chgData name="Robert Lalhlimpuia [Chillibreeze]" userId="8fe5ebfe-980d-441d-bbff-8c5265b810b8" providerId="ADAL" clId="{8604BD65-8997-4357-BA60-019791E2ED85}" dt="2024-06-12T13:28:52.925" v="5930"/>
          <ac:grpSpMkLst>
            <pc:docMk/>
            <pc:sldMk cId="0" sldId="329"/>
            <ac:grpSpMk id="5914" creationId="{87C37CFE-DAD0-BAF5-AA68-5DB2EC3BEF50}"/>
          </ac:grpSpMkLst>
        </pc:grpChg>
        <pc:grpChg chg="mod">
          <ac:chgData name="Robert Lalhlimpuia [Chillibreeze]" userId="8fe5ebfe-980d-441d-bbff-8c5265b810b8" providerId="ADAL" clId="{8604BD65-8997-4357-BA60-019791E2ED85}" dt="2024-06-12T13:28:52.925" v="5930"/>
          <ac:grpSpMkLst>
            <pc:docMk/>
            <pc:sldMk cId="0" sldId="329"/>
            <ac:grpSpMk id="5915" creationId="{AF9E0EB9-081C-34DD-CF35-CD059C432C50}"/>
          </ac:grpSpMkLst>
        </pc:grpChg>
        <pc:grpChg chg="mod">
          <ac:chgData name="Robert Lalhlimpuia [Chillibreeze]" userId="8fe5ebfe-980d-441d-bbff-8c5265b810b8" providerId="ADAL" clId="{8604BD65-8997-4357-BA60-019791E2ED85}" dt="2024-06-12T13:28:52.925" v="5930"/>
          <ac:grpSpMkLst>
            <pc:docMk/>
            <pc:sldMk cId="0" sldId="329"/>
            <ac:grpSpMk id="5916" creationId="{4C2B603D-EE38-0A61-E9E7-7EF731E0913D}"/>
          </ac:grpSpMkLst>
        </pc:grpChg>
        <pc:grpChg chg="add del mod">
          <ac:chgData name="Robert Lalhlimpuia [Chillibreeze]" userId="8fe5ebfe-980d-441d-bbff-8c5265b810b8" providerId="ADAL" clId="{8604BD65-8997-4357-BA60-019791E2ED85}" dt="2024-06-13T04:07:17.609" v="6401" actId="21"/>
          <ac:grpSpMkLst>
            <pc:docMk/>
            <pc:sldMk cId="0" sldId="329"/>
            <ac:grpSpMk id="5927" creationId="{95F097BD-65C9-5039-E503-D6A895A34FDB}"/>
          </ac:grpSpMkLst>
        </pc:grpChg>
        <pc:grpChg chg="add del mod">
          <ac:chgData name="Robert Lalhlimpuia [Chillibreeze]" userId="8fe5ebfe-980d-441d-bbff-8c5265b810b8" providerId="ADAL" clId="{8604BD65-8997-4357-BA60-019791E2ED85}" dt="2024-06-13T04:07:17.609" v="6401" actId="21"/>
          <ac:grpSpMkLst>
            <pc:docMk/>
            <pc:sldMk cId="0" sldId="329"/>
            <ac:grpSpMk id="5928" creationId="{44B39901-D5A8-CFEA-37D0-0244491A09BE}"/>
          </ac:grpSpMkLst>
        </pc:grpChg>
        <pc:grpChg chg="mod">
          <ac:chgData name="Robert Lalhlimpuia [Chillibreeze]" userId="8fe5ebfe-980d-441d-bbff-8c5265b810b8" providerId="ADAL" clId="{8604BD65-8997-4357-BA60-019791E2ED85}" dt="2024-06-12T13:28:56.238" v="5933"/>
          <ac:grpSpMkLst>
            <pc:docMk/>
            <pc:sldMk cId="0" sldId="329"/>
            <ac:grpSpMk id="5929" creationId="{91B50D7C-A886-90AD-6EBF-ECFB16D8C97D}"/>
          </ac:grpSpMkLst>
        </pc:grpChg>
        <pc:grpChg chg="mod">
          <ac:chgData name="Robert Lalhlimpuia [Chillibreeze]" userId="8fe5ebfe-980d-441d-bbff-8c5265b810b8" providerId="ADAL" clId="{8604BD65-8997-4357-BA60-019791E2ED85}" dt="2024-06-12T13:28:56.238" v="5933"/>
          <ac:grpSpMkLst>
            <pc:docMk/>
            <pc:sldMk cId="0" sldId="329"/>
            <ac:grpSpMk id="5930" creationId="{E0C6B8A3-85BC-C7DF-E4F7-7BDDA9285C97}"/>
          </ac:grpSpMkLst>
        </pc:grpChg>
        <pc:grpChg chg="mod">
          <ac:chgData name="Robert Lalhlimpuia [Chillibreeze]" userId="8fe5ebfe-980d-441d-bbff-8c5265b810b8" providerId="ADAL" clId="{8604BD65-8997-4357-BA60-019791E2ED85}" dt="2024-06-12T13:28:56.238" v="5933"/>
          <ac:grpSpMkLst>
            <pc:docMk/>
            <pc:sldMk cId="0" sldId="329"/>
            <ac:grpSpMk id="5931" creationId="{B40B0306-9A22-499C-7D6C-00A171E77822}"/>
          </ac:grpSpMkLst>
        </pc:grpChg>
        <pc:grpChg chg="mod">
          <ac:chgData name="Robert Lalhlimpuia [Chillibreeze]" userId="8fe5ebfe-980d-441d-bbff-8c5265b810b8" providerId="ADAL" clId="{8604BD65-8997-4357-BA60-019791E2ED85}" dt="2024-06-12T13:28:56.238" v="5933"/>
          <ac:grpSpMkLst>
            <pc:docMk/>
            <pc:sldMk cId="0" sldId="329"/>
            <ac:grpSpMk id="5933" creationId="{6265DE7B-1297-C0C2-2897-BA0922EC9075}"/>
          </ac:grpSpMkLst>
        </pc:grpChg>
        <pc:grpChg chg="mod">
          <ac:chgData name="Robert Lalhlimpuia [Chillibreeze]" userId="8fe5ebfe-980d-441d-bbff-8c5265b810b8" providerId="ADAL" clId="{8604BD65-8997-4357-BA60-019791E2ED85}" dt="2024-06-12T13:28:56.238" v="5933"/>
          <ac:grpSpMkLst>
            <pc:docMk/>
            <pc:sldMk cId="0" sldId="329"/>
            <ac:grpSpMk id="5934" creationId="{4D113CAC-B81E-4B57-6ED1-9A1F70645840}"/>
          </ac:grpSpMkLst>
        </pc:grpChg>
        <pc:grpChg chg="mod">
          <ac:chgData name="Robert Lalhlimpuia [Chillibreeze]" userId="8fe5ebfe-980d-441d-bbff-8c5265b810b8" providerId="ADAL" clId="{8604BD65-8997-4357-BA60-019791E2ED85}" dt="2024-06-12T13:28:56.238" v="5933"/>
          <ac:grpSpMkLst>
            <pc:docMk/>
            <pc:sldMk cId="0" sldId="329"/>
            <ac:grpSpMk id="5935" creationId="{C56B9E6B-657D-6BF1-64DC-65FA47620B6B}"/>
          </ac:grpSpMkLst>
        </pc:grpChg>
        <pc:grpChg chg="mod">
          <ac:chgData name="Robert Lalhlimpuia [Chillibreeze]" userId="8fe5ebfe-980d-441d-bbff-8c5265b810b8" providerId="ADAL" clId="{8604BD65-8997-4357-BA60-019791E2ED85}" dt="2024-06-12T13:28:56.238" v="5933"/>
          <ac:grpSpMkLst>
            <pc:docMk/>
            <pc:sldMk cId="0" sldId="329"/>
            <ac:grpSpMk id="5936" creationId="{B7151ED3-B56F-A809-3D1B-2B6DD3F99601}"/>
          </ac:grpSpMkLst>
        </pc:grpChg>
        <pc:grpChg chg="mod">
          <ac:chgData name="Robert Lalhlimpuia [Chillibreeze]" userId="8fe5ebfe-980d-441d-bbff-8c5265b810b8" providerId="ADAL" clId="{8604BD65-8997-4357-BA60-019791E2ED85}" dt="2024-06-12T13:28:56.238" v="5933"/>
          <ac:grpSpMkLst>
            <pc:docMk/>
            <pc:sldMk cId="0" sldId="329"/>
            <ac:grpSpMk id="5937" creationId="{66A11841-E04F-3825-1E48-59227A4CABBD}"/>
          </ac:grpSpMkLst>
        </pc:grpChg>
        <pc:grpChg chg="mod">
          <ac:chgData name="Robert Lalhlimpuia [Chillibreeze]" userId="8fe5ebfe-980d-441d-bbff-8c5265b810b8" providerId="ADAL" clId="{8604BD65-8997-4357-BA60-019791E2ED85}" dt="2024-06-12T13:28:56.238" v="5933"/>
          <ac:grpSpMkLst>
            <pc:docMk/>
            <pc:sldMk cId="0" sldId="329"/>
            <ac:grpSpMk id="5949" creationId="{922C278F-4E7D-A66D-13AF-147895F6B003}"/>
          </ac:grpSpMkLst>
        </pc:grpChg>
        <pc:grpChg chg="mod">
          <ac:chgData name="Robert Lalhlimpuia [Chillibreeze]" userId="8fe5ebfe-980d-441d-bbff-8c5265b810b8" providerId="ADAL" clId="{8604BD65-8997-4357-BA60-019791E2ED85}" dt="2024-06-12T13:28:56.238" v="5933"/>
          <ac:grpSpMkLst>
            <pc:docMk/>
            <pc:sldMk cId="0" sldId="329"/>
            <ac:grpSpMk id="5950" creationId="{45906E37-0618-0262-3C9F-06E083F03625}"/>
          </ac:grpSpMkLst>
        </pc:grpChg>
        <pc:grpChg chg="mod">
          <ac:chgData name="Robert Lalhlimpuia [Chillibreeze]" userId="8fe5ebfe-980d-441d-bbff-8c5265b810b8" providerId="ADAL" clId="{8604BD65-8997-4357-BA60-019791E2ED85}" dt="2024-06-12T13:28:56.238" v="5933"/>
          <ac:grpSpMkLst>
            <pc:docMk/>
            <pc:sldMk cId="0" sldId="329"/>
            <ac:grpSpMk id="5951" creationId="{418FB4C1-F9E6-7C33-3110-E1B2B197536F}"/>
          </ac:grpSpMkLst>
        </pc:grpChg>
        <pc:grpChg chg="mod">
          <ac:chgData name="Robert Lalhlimpuia [Chillibreeze]" userId="8fe5ebfe-980d-441d-bbff-8c5265b810b8" providerId="ADAL" clId="{8604BD65-8997-4357-BA60-019791E2ED85}" dt="2024-06-12T13:28:56.238" v="5933"/>
          <ac:grpSpMkLst>
            <pc:docMk/>
            <pc:sldMk cId="0" sldId="329"/>
            <ac:grpSpMk id="5952" creationId="{BF08346B-BC89-8990-3076-EF671ED8E4DA}"/>
          </ac:grpSpMkLst>
        </pc:grpChg>
        <pc:grpChg chg="mod">
          <ac:chgData name="Robert Lalhlimpuia [Chillibreeze]" userId="8fe5ebfe-980d-441d-bbff-8c5265b810b8" providerId="ADAL" clId="{8604BD65-8997-4357-BA60-019791E2ED85}" dt="2024-06-12T13:28:56.238" v="5933"/>
          <ac:grpSpMkLst>
            <pc:docMk/>
            <pc:sldMk cId="0" sldId="329"/>
            <ac:grpSpMk id="5953" creationId="{AA03E217-3CC3-FF75-EDB7-A826D0A38C4D}"/>
          </ac:grpSpMkLst>
        </pc:grpChg>
        <pc:grpChg chg="mod">
          <ac:chgData name="Robert Lalhlimpuia [Chillibreeze]" userId="8fe5ebfe-980d-441d-bbff-8c5265b810b8" providerId="ADAL" clId="{8604BD65-8997-4357-BA60-019791E2ED85}" dt="2024-06-12T13:28:56.238" v="5933"/>
          <ac:grpSpMkLst>
            <pc:docMk/>
            <pc:sldMk cId="0" sldId="329"/>
            <ac:grpSpMk id="5965" creationId="{B7F9A22E-9976-2ECD-800B-FAF99C752173}"/>
          </ac:grpSpMkLst>
        </pc:grpChg>
        <pc:grpChg chg="mod">
          <ac:chgData name="Robert Lalhlimpuia [Chillibreeze]" userId="8fe5ebfe-980d-441d-bbff-8c5265b810b8" providerId="ADAL" clId="{8604BD65-8997-4357-BA60-019791E2ED85}" dt="2024-06-12T13:28:56.238" v="5933"/>
          <ac:grpSpMkLst>
            <pc:docMk/>
            <pc:sldMk cId="0" sldId="329"/>
            <ac:grpSpMk id="5966" creationId="{B87EE03F-9A45-D07A-E279-635377636B63}"/>
          </ac:grpSpMkLst>
        </pc:grpChg>
        <pc:grpChg chg="mod">
          <ac:chgData name="Robert Lalhlimpuia [Chillibreeze]" userId="8fe5ebfe-980d-441d-bbff-8c5265b810b8" providerId="ADAL" clId="{8604BD65-8997-4357-BA60-019791E2ED85}" dt="2024-06-12T13:28:56.238" v="5933"/>
          <ac:grpSpMkLst>
            <pc:docMk/>
            <pc:sldMk cId="0" sldId="329"/>
            <ac:grpSpMk id="5967" creationId="{5C0E8C4E-519F-17A9-5828-AA51366B44FD}"/>
          </ac:grpSpMkLst>
        </pc:grpChg>
        <pc:grpChg chg="mod">
          <ac:chgData name="Robert Lalhlimpuia [Chillibreeze]" userId="8fe5ebfe-980d-441d-bbff-8c5265b810b8" providerId="ADAL" clId="{8604BD65-8997-4357-BA60-019791E2ED85}" dt="2024-06-12T13:28:56.238" v="5933"/>
          <ac:grpSpMkLst>
            <pc:docMk/>
            <pc:sldMk cId="0" sldId="329"/>
            <ac:grpSpMk id="5968" creationId="{1A011A64-6B3B-3E0D-E57A-06A02C73CA5B}"/>
          </ac:grpSpMkLst>
        </pc:grpChg>
        <pc:grpChg chg="mod">
          <ac:chgData name="Robert Lalhlimpuia [Chillibreeze]" userId="8fe5ebfe-980d-441d-bbff-8c5265b810b8" providerId="ADAL" clId="{8604BD65-8997-4357-BA60-019791E2ED85}" dt="2024-06-12T13:28:56.238" v="5933"/>
          <ac:grpSpMkLst>
            <pc:docMk/>
            <pc:sldMk cId="0" sldId="329"/>
            <ac:grpSpMk id="5969" creationId="{2E9441AD-3E14-2B4A-C18F-3918E7361BE8}"/>
          </ac:grpSpMkLst>
        </pc:grpChg>
        <pc:grpChg chg="add del mod">
          <ac:chgData name="Robert Lalhlimpuia [Chillibreeze]" userId="8fe5ebfe-980d-441d-bbff-8c5265b810b8" providerId="ADAL" clId="{8604BD65-8997-4357-BA60-019791E2ED85}" dt="2024-06-13T04:07:17.609" v="6401" actId="21"/>
          <ac:grpSpMkLst>
            <pc:docMk/>
            <pc:sldMk cId="0" sldId="329"/>
            <ac:grpSpMk id="5980" creationId="{04C55802-6F65-D822-FCA9-8FFC4A86773F}"/>
          </ac:grpSpMkLst>
        </pc:grpChg>
        <pc:grpChg chg="mod">
          <ac:chgData name="Robert Lalhlimpuia [Chillibreeze]" userId="8fe5ebfe-980d-441d-bbff-8c5265b810b8" providerId="ADAL" clId="{8604BD65-8997-4357-BA60-019791E2ED85}" dt="2024-06-12T13:29:05.655" v="5936"/>
          <ac:grpSpMkLst>
            <pc:docMk/>
            <pc:sldMk cId="0" sldId="329"/>
            <ac:grpSpMk id="5981" creationId="{46BE731C-D13D-7273-7136-7414739BCD68}"/>
          </ac:grpSpMkLst>
        </pc:grpChg>
        <pc:grpChg chg="mod">
          <ac:chgData name="Robert Lalhlimpuia [Chillibreeze]" userId="8fe5ebfe-980d-441d-bbff-8c5265b810b8" providerId="ADAL" clId="{8604BD65-8997-4357-BA60-019791E2ED85}" dt="2024-06-12T13:29:05.655" v="5936"/>
          <ac:grpSpMkLst>
            <pc:docMk/>
            <pc:sldMk cId="0" sldId="329"/>
            <ac:grpSpMk id="5982" creationId="{43908392-A09D-66A5-C622-764A05438758}"/>
          </ac:grpSpMkLst>
        </pc:grpChg>
        <pc:grpChg chg="mod">
          <ac:chgData name="Robert Lalhlimpuia [Chillibreeze]" userId="8fe5ebfe-980d-441d-bbff-8c5265b810b8" providerId="ADAL" clId="{8604BD65-8997-4357-BA60-019791E2ED85}" dt="2024-06-12T13:29:05.655" v="5936"/>
          <ac:grpSpMkLst>
            <pc:docMk/>
            <pc:sldMk cId="0" sldId="329"/>
            <ac:grpSpMk id="5983" creationId="{FD4B9019-D0FC-610E-93FB-9E8A104043EA}"/>
          </ac:grpSpMkLst>
        </pc:grpChg>
        <pc:grpChg chg="mod">
          <ac:chgData name="Robert Lalhlimpuia [Chillibreeze]" userId="8fe5ebfe-980d-441d-bbff-8c5265b810b8" providerId="ADAL" clId="{8604BD65-8997-4357-BA60-019791E2ED85}" dt="2024-06-12T13:29:05.655" v="5936"/>
          <ac:grpSpMkLst>
            <pc:docMk/>
            <pc:sldMk cId="0" sldId="329"/>
            <ac:grpSpMk id="5985" creationId="{7373437C-7791-089A-8E7B-F17603752D35}"/>
          </ac:grpSpMkLst>
        </pc:grpChg>
        <pc:grpChg chg="mod">
          <ac:chgData name="Robert Lalhlimpuia [Chillibreeze]" userId="8fe5ebfe-980d-441d-bbff-8c5265b810b8" providerId="ADAL" clId="{8604BD65-8997-4357-BA60-019791E2ED85}" dt="2024-06-12T13:29:05.655" v="5936"/>
          <ac:grpSpMkLst>
            <pc:docMk/>
            <pc:sldMk cId="0" sldId="329"/>
            <ac:grpSpMk id="5986" creationId="{42D5C094-3F61-6359-EE7C-18CC5F097D1A}"/>
          </ac:grpSpMkLst>
        </pc:grpChg>
        <pc:grpChg chg="mod">
          <ac:chgData name="Robert Lalhlimpuia [Chillibreeze]" userId="8fe5ebfe-980d-441d-bbff-8c5265b810b8" providerId="ADAL" clId="{8604BD65-8997-4357-BA60-019791E2ED85}" dt="2024-06-12T13:29:05.655" v="5936"/>
          <ac:grpSpMkLst>
            <pc:docMk/>
            <pc:sldMk cId="0" sldId="329"/>
            <ac:grpSpMk id="5987" creationId="{4BA84D87-BE3E-27B0-DB37-B2CC9A48AD58}"/>
          </ac:grpSpMkLst>
        </pc:grpChg>
        <pc:grpChg chg="mod">
          <ac:chgData name="Robert Lalhlimpuia [Chillibreeze]" userId="8fe5ebfe-980d-441d-bbff-8c5265b810b8" providerId="ADAL" clId="{8604BD65-8997-4357-BA60-019791E2ED85}" dt="2024-06-12T13:29:05.655" v="5936"/>
          <ac:grpSpMkLst>
            <pc:docMk/>
            <pc:sldMk cId="0" sldId="329"/>
            <ac:grpSpMk id="5988" creationId="{A579C32A-0F25-9436-EAFA-D526F112172D}"/>
          </ac:grpSpMkLst>
        </pc:grpChg>
        <pc:grpChg chg="mod">
          <ac:chgData name="Robert Lalhlimpuia [Chillibreeze]" userId="8fe5ebfe-980d-441d-bbff-8c5265b810b8" providerId="ADAL" clId="{8604BD65-8997-4357-BA60-019791E2ED85}" dt="2024-06-12T13:29:05.655" v="5936"/>
          <ac:grpSpMkLst>
            <pc:docMk/>
            <pc:sldMk cId="0" sldId="329"/>
            <ac:grpSpMk id="5989" creationId="{608C966F-83A9-6BD2-8EA0-9A680AD0F890}"/>
          </ac:grpSpMkLst>
        </pc:grpChg>
        <pc:grpChg chg="mod">
          <ac:chgData name="Robert Lalhlimpuia [Chillibreeze]" userId="8fe5ebfe-980d-441d-bbff-8c5265b810b8" providerId="ADAL" clId="{8604BD65-8997-4357-BA60-019791E2ED85}" dt="2024-06-12T13:29:05.655" v="5936"/>
          <ac:grpSpMkLst>
            <pc:docMk/>
            <pc:sldMk cId="0" sldId="329"/>
            <ac:grpSpMk id="6001" creationId="{275ADFE6-629E-DE19-E56A-A1898F54E2B0}"/>
          </ac:grpSpMkLst>
        </pc:grpChg>
        <pc:grpChg chg="mod">
          <ac:chgData name="Robert Lalhlimpuia [Chillibreeze]" userId="8fe5ebfe-980d-441d-bbff-8c5265b810b8" providerId="ADAL" clId="{8604BD65-8997-4357-BA60-019791E2ED85}" dt="2024-06-12T13:29:05.655" v="5936"/>
          <ac:grpSpMkLst>
            <pc:docMk/>
            <pc:sldMk cId="0" sldId="329"/>
            <ac:grpSpMk id="6002" creationId="{84D5EA0C-1CAE-EB05-5B88-B67A50429C7A}"/>
          </ac:grpSpMkLst>
        </pc:grpChg>
        <pc:grpChg chg="mod">
          <ac:chgData name="Robert Lalhlimpuia [Chillibreeze]" userId="8fe5ebfe-980d-441d-bbff-8c5265b810b8" providerId="ADAL" clId="{8604BD65-8997-4357-BA60-019791E2ED85}" dt="2024-06-12T13:29:05.655" v="5936"/>
          <ac:grpSpMkLst>
            <pc:docMk/>
            <pc:sldMk cId="0" sldId="329"/>
            <ac:grpSpMk id="6003" creationId="{D2B463D9-5B7E-37EF-4C19-70B913BC6006}"/>
          </ac:grpSpMkLst>
        </pc:grpChg>
        <pc:grpChg chg="mod">
          <ac:chgData name="Robert Lalhlimpuia [Chillibreeze]" userId="8fe5ebfe-980d-441d-bbff-8c5265b810b8" providerId="ADAL" clId="{8604BD65-8997-4357-BA60-019791E2ED85}" dt="2024-06-12T13:29:05.655" v="5936"/>
          <ac:grpSpMkLst>
            <pc:docMk/>
            <pc:sldMk cId="0" sldId="329"/>
            <ac:grpSpMk id="6004" creationId="{5C8EFE65-A412-1CB5-293F-F218C6F1D9FF}"/>
          </ac:grpSpMkLst>
        </pc:grpChg>
        <pc:grpChg chg="mod">
          <ac:chgData name="Robert Lalhlimpuia [Chillibreeze]" userId="8fe5ebfe-980d-441d-bbff-8c5265b810b8" providerId="ADAL" clId="{8604BD65-8997-4357-BA60-019791E2ED85}" dt="2024-06-12T13:29:05.655" v="5936"/>
          <ac:grpSpMkLst>
            <pc:docMk/>
            <pc:sldMk cId="0" sldId="329"/>
            <ac:grpSpMk id="6005" creationId="{40D018DB-C2EC-7F06-EC3A-49FFABC2B6CD}"/>
          </ac:grpSpMkLst>
        </pc:grpChg>
        <pc:grpChg chg="mod">
          <ac:chgData name="Robert Lalhlimpuia [Chillibreeze]" userId="8fe5ebfe-980d-441d-bbff-8c5265b810b8" providerId="ADAL" clId="{8604BD65-8997-4357-BA60-019791E2ED85}" dt="2024-06-12T13:29:05.655" v="5936"/>
          <ac:grpSpMkLst>
            <pc:docMk/>
            <pc:sldMk cId="0" sldId="329"/>
            <ac:grpSpMk id="6017" creationId="{24972393-915D-1185-E7FA-268D1D940CF4}"/>
          </ac:grpSpMkLst>
        </pc:grpChg>
        <pc:grpChg chg="mod">
          <ac:chgData name="Robert Lalhlimpuia [Chillibreeze]" userId="8fe5ebfe-980d-441d-bbff-8c5265b810b8" providerId="ADAL" clId="{8604BD65-8997-4357-BA60-019791E2ED85}" dt="2024-06-12T13:29:05.655" v="5936"/>
          <ac:grpSpMkLst>
            <pc:docMk/>
            <pc:sldMk cId="0" sldId="329"/>
            <ac:grpSpMk id="6018" creationId="{25D8DEB8-E2CC-B52B-5012-5BFD7FE6D10D}"/>
          </ac:grpSpMkLst>
        </pc:grpChg>
        <pc:grpChg chg="mod">
          <ac:chgData name="Robert Lalhlimpuia [Chillibreeze]" userId="8fe5ebfe-980d-441d-bbff-8c5265b810b8" providerId="ADAL" clId="{8604BD65-8997-4357-BA60-019791E2ED85}" dt="2024-06-12T13:29:05.655" v="5936"/>
          <ac:grpSpMkLst>
            <pc:docMk/>
            <pc:sldMk cId="0" sldId="329"/>
            <ac:grpSpMk id="6019" creationId="{6F73032D-047D-57CE-C5E2-B387575F5AD4}"/>
          </ac:grpSpMkLst>
        </pc:grpChg>
        <pc:grpChg chg="mod">
          <ac:chgData name="Robert Lalhlimpuia [Chillibreeze]" userId="8fe5ebfe-980d-441d-bbff-8c5265b810b8" providerId="ADAL" clId="{8604BD65-8997-4357-BA60-019791E2ED85}" dt="2024-06-12T13:29:05.655" v="5936"/>
          <ac:grpSpMkLst>
            <pc:docMk/>
            <pc:sldMk cId="0" sldId="329"/>
            <ac:grpSpMk id="6020" creationId="{972320A4-4421-FD21-D8B0-CB0EDA681925}"/>
          </ac:grpSpMkLst>
        </pc:grpChg>
        <pc:grpChg chg="mod">
          <ac:chgData name="Robert Lalhlimpuia [Chillibreeze]" userId="8fe5ebfe-980d-441d-bbff-8c5265b810b8" providerId="ADAL" clId="{8604BD65-8997-4357-BA60-019791E2ED85}" dt="2024-06-12T13:29:05.655" v="5936"/>
          <ac:grpSpMkLst>
            <pc:docMk/>
            <pc:sldMk cId="0" sldId="329"/>
            <ac:grpSpMk id="6021" creationId="{1E70D587-22F5-22A8-BC28-A4FACEB735E4}"/>
          </ac:grpSpMkLst>
        </pc:grpChg>
        <pc:grpChg chg="add del mod">
          <ac:chgData name="Robert Lalhlimpuia [Chillibreeze]" userId="8fe5ebfe-980d-441d-bbff-8c5265b810b8" providerId="ADAL" clId="{8604BD65-8997-4357-BA60-019791E2ED85}" dt="2024-06-13T04:07:17.609" v="6401" actId="21"/>
          <ac:grpSpMkLst>
            <pc:docMk/>
            <pc:sldMk cId="0" sldId="329"/>
            <ac:grpSpMk id="6032" creationId="{8BD6709A-53CB-DA46-6468-19003414B5EA}"/>
          </ac:grpSpMkLst>
        </pc:grpChg>
        <pc:grpChg chg="mod">
          <ac:chgData name="Robert Lalhlimpuia [Chillibreeze]" userId="8fe5ebfe-980d-441d-bbff-8c5265b810b8" providerId="ADAL" clId="{8604BD65-8997-4357-BA60-019791E2ED85}" dt="2024-06-12T13:29:44.361" v="5975" actId="571"/>
          <ac:grpSpMkLst>
            <pc:docMk/>
            <pc:sldMk cId="0" sldId="329"/>
            <ac:grpSpMk id="6034" creationId="{FB07B708-F82B-F830-31AD-4F2C7DC7CE76}"/>
          </ac:grpSpMkLst>
        </pc:grpChg>
        <pc:grpChg chg="mod">
          <ac:chgData name="Robert Lalhlimpuia [Chillibreeze]" userId="8fe5ebfe-980d-441d-bbff-8c5265b810b8" providerId="ADAL" clId="{8604BD65-8997-4357-BA60-019791E2ED85}" dt="2024-06-12T13:29:44.361" v="5975" actId="571"/>
          <ac:grpSpMkLst>
            <pc:docMk/>
            <pc:sldMk cId="0" sldId="329"/>
            <ac:grpSpMk id="6035" creationId="{7AA0295B-5BC3-295D-5FE0-5EF6B444AF2C}"/>
          </ac:grpSpMkLst>
        </pc:grpChg>
        <pc:grpChg chg="mod">
          <ac:chgData name="Robert Lalhlimpuia [Chillibreeze]" userId="8fe5ebfe-980d-441d-bbff-8c5265b810b8" providerId="ADAL" clId="{8604BD65-8997-4357-BA60-019791E2ED85}" dt="2024-06-12T13:29:44.361" v="5975" actId="571"/>
          <ac:grpSpMkLst>
            <pc:docMk/>
            <pc:sldMk cId="0" sldId="329"/>
            <ac:grpSpMk id="6036" creationId="{6BB1FF9F-2373-255F-10B4-E62AFCF004D1}"/>
          </ac:grpSpMkLst>
        </pc:grpChg>
        <pc:grpChg chg="mod">
          <ac:chgData name="Robert Lalhlimpuia [Chillibreeze]" userId="8fe5ebfe-980d-441d-bbff-8c5265b810b8" providerId="ADAL" clId="{8604BD65-8997-4357-BA60-019791E2ED85}" dt="2024-06-12T13:29:44.361" v="5975" actId="571"/>
          <ac:grpSpMkLst>
            <pc:docMk/>
            <pc:sldMk cId="0" sldId="329"/>
            <ac:grpSpMk id="6037" creationId="{50CA87A4-71C7-7D30-B841-DFB2048C44B8}"/>
          </ac:grpSpMkLst>
        </pc:grpChg>
        <pc:grpChg chg="mod">
          <ac:chgData name="Robert Lalhlimpuia [Chillibreeze]" userId="8fe5ebfe-980d-441d-bbff-8c5265b810b8" providerId="ADAL" clId="{8604BD65-8997-4357-BA60-019791E2ED85}" dt="2024-06-12T13:29:44.361" v="5975" actId="571"/>
          <ac:grpSpMkLst>
            <pc:docMk/>
            <pc:sldMk cId="0" sldId="329"/>
            <ac:grpSpMk id="6038" creationId="{EF3FA38C-0183-5D58-019C-61F8B5A74B09}"/>
          </ac:grpSpMkLst>
        </pc:grpChg>
        <pc:graphicFrameChg chg="add mod ord modVis replST delST">
          <ac:chgData name="Robert Lalhlimpuia [Chillibreeze]" userId="8fe5ebfe-980d-441d-bbff-8c5265b810b8" providerId="ADAL" clId="{8604BD65-8997-4357-BA60-019791E2ED85}" dt="2024-06-12T11:20:39.490" v="3711" actId="14100"/>
          <ac:graphicFrameMkLst>
            <pc:docMk/>
            <pc:sldMk cId="0" sldId="329"/>
            <ac:graphicFrameMk id="5" creationId="{C632C37F-26C0-44E1-1D0E-A084B33D9FCC}"/>
          </ac:graphicFrameMkLst>
        </pc:graphicFrameChg>
        <pc:graphicFrameChg chg="add mod ord modVis replST">
          <ac:chgData name="Robert Lalhlimpuia [Chillibreeze]" userId="8fe5ebfe-980d-441d-bbff-8c5265b810b8" providerId="ADAL" clId="{8604BD65-8997-4357-BA60-019791E2ED85}" dt="2024-06-12T13:29:33.273" v="5974"/>
          <ac:graphicFrameMkLst>
            <pc:docMk/>
            <pc:sldMk cId="0" sldId="329"/>
            <ac:graphicFrameMk id="6" creationId="{E78D80CA-BC61-8699-E429-46CAD4D37387}"/>
          </ac:graphicFrameMkLst>
        </pc:graphicFrameChg>
        <pc:picChg chg="add mod ord">
          <ac:chgData name="Robert Lalhlimpuia [Chillibreeze]" userId="8fe5ebfe-980d-441d-bbff-8c5265b810b8" providerId="ADAL" clId="{8604BD65-8997-4357-BA60-019791E2ED85}" dt="2024-06-12T11:29:54.978" v="4263" actId="108"/>
          <ac:picMkLst>
            <pc:docMk/>
            <pc:sldMk cId="0" sldId="329"/>
            <ac:picMk id="21" creationId="{2F82D775-64E0-A1A2-9139-04D5B7865385}"/>
          </ac:picMkLst>
        </pc:picChg>
        <pc:picChg chg="add mod ord">
          <ac:chgData name="Robert Lalhlimpuia [Chillibreeze]" userId="8fe5ebfe-980d-441d-bbff-8c5265b810b8" providerId="ADAL" clId="{8604BD65-8997-4357-BA60-019791E2ED85}" dt="2024-06-12T11:29:14.483" v="4203"/>
          <ac:picMkLst>
            <pc:docMk/>
            <pc:sldMk cId="0" sldId="329"/>
            <ac:picMk id="27" creationId="{62DBA9E9-838A-366A-2235-247EF4C152AA}"/>
          </ac:picMkLst>
        </pc:picChg>
        <pc:picChg chg="del">
          <ac:chgData name="Robert Lalhlimpuia [Chillibreeze]" userId="8fe5ebfe-980d-441d-bbff-8c5265b810b8" providerId="ADAL" clId="{8604BD65-8997-4357-BA60-019791E2ED85}" dt="2024-06-12T11:20:36.526" v="3684" actId="21"/>
          <ac:picMkLst>
            <pc:docMk/>
            <pc:sldMk cId="0" sldId="329"/>
            <ac:picMk id="5462" creationId="{00000000-0000-0000-0000-000000000000}"/>
          </ac:picMkLst>
        </pc:picChg>
        <pc:picChg chg="del mod ord topLvl">
          <ac:chgData name="Robert Lalhlimpuia [Chillibreeze]" userId="8fe5ebfe-980d-441d-bbff-8c5265b810b8" providerId="ADAL" clId="{8604BD65-8997-4357-BA60-019791E2ED85}" dt="2024-06-12T11:38:19.158" v="4279" actId="21"/>
          <ac:picMkLst>
            <pc:docMk/>
            <pc:sldMk cId="0" sldId="329"/>
            <ac:picMk id="5480" creationId="{00000000-0000-0000-0000-000000000000}"/>
          </ac:picMkLst>
        </pc:picChg>
        <pc:picChg chg="del mod ord topLvl">
          <ac:chgData name="Robert Lalhlimpuia [Chillibreeze]" userId="8fe5ebfe-980d-441d-bbff-8c5265b810b8" providerId="ADAL" clId="{8604BD65-8997-4357-BA60-019791E2ED85}" dt="2024-06-12T11:38:55.655" v="4302" actId="21"/>
          <ac:picMkLst>
            <pc:docMk/>
            <pc:sldMk cId="0" sldId="329"/>
            <ac:picMk id="5481" creationId="{00000000-0000-0000-0000-000000000000}"/>
          </ac:picMkLst>
        </pc:picChg>
        <pc:picChg chg="mod">
          <ac:chgData name="Robert Lalhlimpuia [Chillibreeze]" userId="8fe5ebfe-980d-441d-bbff-8c5265b810b8" providerId="ADAL" clId="{8604BD65-8997-4357-BA60-019791E2ED85}" dt="2024-06-12T11:25:46.230" v="3859" actId="165"/>
          <ac:picMkLst>
            <pc:docMk/>
            <pc:sldMk cId="0" sldId="329"/>
            <ac:picMk id="5483" creationId="{00000000-0000-0000-0000-000000000000}"/>
          </ac:picMkLst>
        </pc:picChg>
        <pc:picChg chg="mod">
          <ac:chgData name="Robert Lalhlimpuia [Chillibreeze]" userId="8fe5ebfe-980d-441d-bbff-8c5265b810b8" providerId="ADAL" clId="{8604BD65-8997-4357-BA60-019791E2ED85}" dt="2024-06-12T11:25:46.230" v="3859" actId="165"/>
          <ac:picMkLst>
            <pc:docMk/>
            <pc:sldMk cId="0" sldId="329"/>
            <ac:picMk id="5484" creationId="{00000000-0000-0000-0000-000000000000}"/>
          </ac:picMkLst>
        </pc:picChg>
        <pc:picChg chg="mod">
          <ac:chgData name="Robert Lalhlimpuia [Chillibreeze]" userId="8fe5ebfe-980d-441d-bbff-8c5265b810b8" providerId="ADAL" clId="{8604BD65-8997-4357-BA60-019791E2ED85}" dt="2024-06-12T11:25:46.230" v="3859" actId="165"/>
          <ac:picMkLst>
            <pc:docMk/>
            <pc:sldMk cId="0" sldId="329"/>
            <ac:picMk id="5485" creationId="{00000000-0000-0000-0000-000000000000}"/>
          </ac:picMkLst>
        </pc:picChg>
        <pc:picChg chg="mod">
          <ac:chgData name="Robert Lalhlimpuia [Chillibreeze]" userId="8fe5ebfe-980d-441d-bbff-8c5265b810b8" providerId="ADAL" clId="{8604BD65-8997-4357-BA60-019791E2ED85}" dt="2024-06-12T11:25:46.230" v="3859" actId="165"/>
          <ac:picMkLst>
            <pc:docMk/>
            <pc:sldMk cId="0" sldId="329"/>
            <ac:picMk id="5487" creationId="{00000000-0000-0000-0000-000000000000}"/>
          </ac:picMkLst>
        </pc:picChg>
        <pc:picChg chg="mod">
          <ac:chgData name="Robert Lalhlimpuia [Chillibreeze]" userId="8fe5ebfe-980d-441d-bbff-8c5265b810b8" providerId="ADAL" clId="{8604BD65-8997-4357-BA60-019791E2ED85}" dt="2024-06-12T11:25:46.230" v="3859" actId="165"/>
          <ac:picMkLst>
            <pc:docMk/>
            <pc:sldMk cId="0" sldId="329"/>
            <ac:picMk id="5488" creationId="{00000000-0000-0000-0000-000000000000}"/>
          </ac:picMkLst>
        </pc:picChg>
        <pc:picChg chg="mod">
          <ac:chgData name="Robert Lalhlimpuia [Chillibreeze]" userId="8fe5ebfe-980d-441d-bbff-8c5265b810b8" providerId="ADAL" clId="{8604BD65-8997-4357-BA60-019791E2ED85}" dt="2024-06-12T11:25:46.230" v="3859" actId="165"/>
          <ac:picMkLst>
            <pc:docMk/>
            <pc:sldMk cId="0" sldId="329"/>
            <ac:picMk id="5489" creationId="{00000000-0000-0000-0000-000000000000}"/>
          </ac:picMkLst>
        </pc:picChg>
        <pc:picChg chg="mod">
          <ac:chgData name="Robert Lalhlimpuia [Chillibreeze]" userId="8fe5ebfe-980d-441d-bbff-8c5265b810b8" providerId="ADAL" clId="{8604BD65-8997-4357-BA60-019791E2ED85}" dt="2024-06-12T11:25:46.230" v="3859" actId="165"/>
          <ac:picMkLst>
            <pc:docMk/>
            <pc:sldMk cId="0" sldId="329"/>
            <ac:picMk id="5491" creationId="{00000000-0000-0000-0000-000000000000}"/>
          </ac:picMkLst>
        </pc:picChg>
        <pc:picChg chg="mod">
          <ac:chgData name="Robert Lalhlimpuia [Chillibreeze]" userId="8fe5ebfe-980d-441d-bbff-8c5265b810b8" providerId="ADAL" clId="{8604BD65-8997-4357-BA60-019791E2ED85}" dt="2024-06-12T11:25:46.230" v="3859" actId="165"/>
          <ac:picMkLst>
            <pc:docMk/>
            <pc:sldMk cId="0" sldId="329"/>
            <ac:picMk id="5492" creationId="{00000000-0000-0000-0000-000000000000}"/>
          </ac:picMkLst>
        </pc:picChg>
        <pc:picChg chg="mod">
          <ac:chgData name="Robert Lalhlimpuia [Chillibreeze]" userId="8fe5ebfe-980d-441d-bbff-8c5265b810b8" providerId="ADAL" clId="{8604BD65-8997-4357-BA60-019791E2ED85}" dt="2024-06-12T11:25:46.230" v="3859" actId="165"/>
          <ac:picMkLst>
            <pc:docMk/>
            <pc:sldMk cId="0" sldId="329"/>
            <ac:picMk id="5493" creationId="{00000000-0000-0000-0000-000000000000}"/>
          </ac:picMkLst>
        </pc:picChg>
        <pc:picChg chg="mod">
          <ac:chgData name="Robert Lalhlimpuia [Chillibreeze]" userId="8fe5ebfe-980d-441d-bbff-8c5265b810b8" providerId="ADAL" clId="{8604BD65-8997-4357-BA60-019791E2ED85}" dt="2024-06-12T11:25:46.230" v="3859" actId="165"/>
          <ac:picMkLst>
            <pc:docMk/>
            <pc:sldMk cId="0" sldId="329"/>
            <ac:picMk id="5502" creationId="{00000000-0000-0000-0000-000000000000}"/>
          </ac:picMkLst>
        </pc:picChg>
        <pc:picChg chg="mod">
          <ac:chgData name="Robert Lalhlimpuia [Chillibreeze]" userId="8fe5ebfe-980d-441d-bbff-8c5265b810b8" providerId="ADAL" clId="{8604BD65-8997-4357-BA60-019791E2ED85}" dt="2024-06-12T11:25:46.230" v="3859" actId="165"/>
          <ac:picMkLst>
            <pc:docMk/>
            <pc:sldMk cId="0" sldId="329"/>
            <ac:picMk id="5503" creationId="{00000000-0000-0000-0000-000000000000}"/>
          </ac:picMkLst>
        </pc:picChg>
        <pc:picChg chg="mod">
          <ac:chgData name="Robert Lalhlimpuia [Chillibreeze]" userId="8fe5ebfe-980d-441d-bbff-8c5265b810b8" providerId="ADAL" clId="{8604BD65-8997-4357-BA60-019791E2ED85}" dt="2024-06-12T11:25:46.230" v="3859" actId="165"/>
          <ac:picMkLst>
            <pc:docMk/>
            <pc:sldMk cId="0" sldId="329"/>
            <ac:picMk id="5504" creationId="{00000000-0000-0000-0000-000000000000}"/>
          </ac:picMkLst>
        </pc:picChg>
        <pc:picChg chg="mod">
          <ac:chgData name="Robert Lalhlimpuia [Chillibreeze]" userId="8fe5ebfe-980d-441d-bbff-8c5265b810b8" providerId="ADAL" clId="{8604BD65-8997-4357-BA60-019791E2ED85}" dt="2024-06-12T11:25:46.230" v="3859" actId="165"/>
          <ac:picMkLst>
            <pc:docMk/>
            <pc:sldMk cId="0" sldId="329"/>
            <ac:picMk id="5505" creationId="{00000000-0000-0000-0000-000000000000}"/>
          </ac:picMkLst>
        </pc:picChg>
        <pc:picChg chg="mod">
          <ac:chgData name="Robert Lalhlimpuia [Chillibreeze]" userId="8fe5ebfe-980d-441d-bbff-8c5265b810b8" providerId="ADAL" clId="{8604BD65-8997-4357-BA60-019791E2ED85}" dt="2024-06-12T11:25:46.230" v="3859" actId="165"/>
          <ac:picMkLst>
            <pc:docMk/>
            <pc:sldMk cId="0" sldId="329"/>
            <ac:picMk id="5506" creationId="{00000000-0000-0000-0000-000000000000}"/>
          </ac:picMkLst>
        </pc:picChg>
        <pc:picChg chg="mod">
          <ac:chgData name="Robert Lalhlimpuia [Chillibreeze]" userId="8fe5ebfe-980d-441d-bbff-8c5265b810b8" providerId="ADAL" clId="{8604BD65-8997-4357-BA60-019791E2ED85}" dt="2024-06-12T11:25:46.230" v="3859" actId="165"/>
          <ac:picMkLst>
            <pc:docMk/>
            <pc:sldMk cId="0" sldId="329"/>
            <ac:picMk id="5507" creationId="{00000000-0000-0000-0000-000000000000}"/>
          </ac:picMkLst>
        </pc:picChg>
        <pc:picChg chg="del mod ord topLvl">
          <ac:chgData name="Robert Lalhlimpuia [Chillibreeze]" userId="8fe5ebfe-980d-441d-bbff-8c5265b810b8" providerId="ADAL" clId="{8604BD65-8997-4357-BA60-019791E2ED85}" dt="2024-06-12T11:38:54.594" v="4301" actId="21"/>
          <ac:picMkLst>
            <pc:docMk/>
            <pc:sldMk cId="0" sldId="329"/>
            <ac:picMk id="5508" creationId="{00000000-0000-0000-0000-000000000000}"/>
          </ac:picMkLst>
        </pc:picChg>
        <pc:picChg chg="del mod ord topLvl">
          <ac:chgData name="Robert Lalhlimpuia [Chillibreeze]" userId="8fe5ebfe-980d-441d-bbff-8c5265b810b8" providerId="ADAL" clId="{8604BD65-8997-4357-BA60-019791E2ED85}" dt="2024-06-12T11:38:54.594" v="4301" actId="21"/>
          <ac:picMkLst>
            <pc:docMk/>
            <pc:sldMk cId="0" sldId="329"/>
            <ac:picMk id="5509" creationId="{00000000-0000-0000-0000-000000000000}"/>
          </ac:picMkLst>
        </pc:picChg>
        <pc:picChg chg="del mod ord topLvl">
          <ac:chgData name="Robert Lalhlimpuia [Chillibreeze]" userId="8fe5ebfe-980d-441d-bbff-8c5265b810b8" providerId="ADAL" clId="{8604BD65-8997-4357-BA60-019791E2ED85}" dt="2024-06-12T11:38:54.594" v="4301" actId="21"/>
          <ac:picMkLst>
            <pc:docMk/>
            <pc:sldMk cId="0" sldId="329"/>
            <ac:picMk id="5510" creationId="{00000000-0000-0000-0000-000000000000}"/>
          </ac:picMkLst>
        </pc:picChg>
        <pc:cxnChg chg="mod">
          <ac:chgData name="Robert Lalhlimpuia [Chillibreeze]" userId="8fe5ebfe-980d-441d-bbff-8c5265b810b8" providerId="ADAL" clId="{8604BD65-8997-4357-BA60-019791E2ED85}" dt="2024-06-12T11:42:55.444" v="4396"/>
          <ac:cxnSpMkLst>
            <pc:docMk/>
            <pc:sldMk cId="0" sldId="329"/>
            <ac:cxnSpMk id="44" creationId="{6A621166-9A1F-BA69-0B94-1E8DA9EEBAA0}"/>
          </ac:cxnSpMkLst>
        </pc:cxnChg>
        <pc:cxnChg chg="mod topLvl">
          <ac:chgData name="Robert Lalhlimpuia [Chillibreeze]" userId="8fe5ebfe-980d-441d-bbff-8c5265b810b8" providerId="ADAL" clId="{8604BD65-8997-4357-BA60-019791E2ED85}" dt="2024-06-12T13:27:47.187" v="5899" actId="108"/>
          <ac:cxnSpMkLst>
            <pc:docMk/>
            <pc:sldMk cId="0" sldId="329"/>
            <ac:cxnSpMk id="47" creationId="{D85454B2-2F54-0937-8856-3D31121EFE90}"/>
          </ac:cxnSpMkLst>
        </pc:cxnChg>
        <pc:cxnChg chg="mod">
          <ac:chgData name="Robert Lalhlimpuia [Chillibreeze]" userId="8fe5ebfe-980d-441d-bbff-8c5265b810b8" providerId="ADAL" clId="{8604BD65-8997-4357-BA60-019791E2ED85}" dt="2024-06-12T13:27:44.004" v="5898" actId="692"/>
          <ac:cxnSpMkLst>
            <pc:docMk/>
            <pc:sldMk cId="0" sldId="329"/>
            <ac:cxnSpMk id="51" creationId="{B860C3CD-D18E-97EF-4372-A6BB291D1808}"/>
          </ac:cxnSpMkLst>
        </pc:cxnChg>
        <pc:cxnChg chg="mod">
          <ac:chgData name="Robert Lalhlimpuia [Chillibreeze]" userId="8fe5ebfe-980d-441d-bbff-8c5265b810b8" providerId="ADAL" clId="{8604BD65-8997-4357-BA60-019791E2ED85}" dt="2024-06-12T13:27:50.266" v="5900" actId="108"/>
          <ac:cxnSpMkLst>
            <pc:docMk/>
            <pc:sldMk cId="0" sldId="329"/>
            <ac:cxnSpMk id="54" creationId="{2595D869-8C1D-E10F-C714-465EE9000BD8}"/>
          </ac:cxnSpMkLst>
        </pc:cxnChg>
      </pc:sldChg>
      <pc:sldChg chg="addSp delSp modSp mod setBg chgLayout">
        <pc:chgData name="Robert Lalhlimpuia [Chillibreeze]" userId="8fe5ebfe-980d-441d-bbff-8c5265b810b8" providerId="ADAL" clId="{8604BD65-8997-4357-BA60-019791E2ED85}" dt="2024-06-12T11:41:37.800" v="4395" actId="113"/>
        <pc:sldMkLst>
          <pc:docMk/>
          <pc:sldMk cId="0" sldId="330"/>
        </pc:sldMkLst>
        <pc:spChg chg="add del mod">
          <ac:chgData name="Robert Lalhlimpuia [Chillibreeze]" userId="8fe5ebfe-980d-441d-bbff-8c5265b810b8" providerId="ADAL" clId="{8604BD65-8997-4357-BA60-019791E2ED85}" dt="2024-06-12T11:04:53.698" v="3198" actId="6264"/>
          <ac:spMkLst>
            <pc:docMk/>
            <pc:sldMk cId="0" sldId="330"/>
            <ac:spMk id="3" creationId="{55F7C1C8-6ECA-33CA-746F-882F96D5E277}"/>
          </ac:spMkLst>
        </pc:spChg>
        <pc:spChg chg="add del mod">
          <ac:chgData name="Robert Lalhlimpuia [Chillibreeze]" userId="8fe5ebfe-980d-441d-bbff-8c5265b810b8" providerId="ADAL" clId="{8604BD65-8997-4357-BA60-019791E2ED85}" dt="2024-06-12T11:04:53.702" v="3199" actId="6264"/>
          <ac:spMkLst>
            <pc:docMk/>
            <pc:sldMk cId="0" sldId="330"/>
            <ac:spMk id="4" creationId="{B6B8835A-E0C9-9A4D-814A-E957E5E7DE8A}"/>
          </ac:spMkLst>
        </pc:spChg>
        <pc:spChg chg="add del mod">
          <ac:chgData name="Robert Lalhlimpuia [Chillibreeze]" userId="8fe5ebfe-980d-441d-bbff-8c5265b810b8" providerId="ADAL" clId="{8604BD65-8997-4357-BA60-019791E2ED85}" dt="2024-06-12T11:04:53.838" v="3200" actId="6264"/>
          <ac:spMkLst>
            <pc:docMk/>
            <pc:sldMk cId="0" sldId="330"/>
            <ac:spMk id="5" creationId="{0FB4427C-DDD2-A04A-320C-24B8FD6E7412}"/>
          </ac:spMkLst>
        </pc:spChg>
        <pc:spChg chg="add del mod">
          <ac:chgData name="Robert Lalhlimpuia [Chillibreeze]" userId="8fe5ebfe-980d-441d-bbff-8c5265b810b8" providerId="ADAL" clId="{8604BD65-8997-4357-BA60-019791E2ED85}" dt="2024-06-12T11:04:53.994" v="3201" actId="6264"/>
          <ac:spMkLst>
            <pc:docMk/>
            <pc:sldMk cId="0" sldId="330"/>
            <ac:spMk id="6" creationId="{E2D63873-F568-DC2F-D066-86499A5DCF53}"/>
          </ac:spMkLst>
        </pc:spChg>
        <pc:spChg chg="add del mod">
          <ac:chgData name="Robert Lalhlimpuia [Chillibreeze]" userId="8fe5ebfe-980d-441d-bbff-8c5265b810b8" providerId="ADAL" clId="{8604BD65-8997-4357-BA60-019791E2ED85}" dt="2024-06-12T11:04:54.170" v="3202" actId="6264"/>
          <ac:spMkLst>
            <pc:docMk/>
            <pc:sldMk cId="0" sldId="330"/>
            <ac:spMk id="7" creationId="{AB0E464E-EC40-55E6-D2F7-112650B76E31}"/>
          </ac:spMkLst>
        </pc:spChg>
        <pc:spChg chg="add del mod">
          <ac:chgData name="Robert Lalhlimpuia [Chillibreeze]" userId="8fe5ebfe-980d-441d-bbff-8c5265b810b8" providerId="ADAL" clId="{8604BD65-8997-4357-BA60-019791E2ED85}" dt="2024-06-12T11:04:54.307" v="3203" actId="6264"/>
          <ac:spMkLst>
            <pc:docMk/>
            <pc:sldMk cId="0" sldId="330"/>
            <ac:spMk id="8" creationId="{8A24C9B7-9FCB-8A00-79D1-7ACA1E00243E}"/>
          </ac:spMkLst>
        </pc:spChg>
        <pc:spChg chg="add del mod">
          <ac:chgData name="Robert Lalhlimpuia [Chillibreeze]" userId="8fe5ebfe-980d-441d-bbff-8c5265b810b8" providerId="ADAL" clId="{8604BD65-8997-4357-BA60-019791E2ED85}" dt="2024-06-12T11:04:54.368" v="3204" actId="6264"/>
          <ac:spMkLst>
            <pc:docMk/>
            <pc:sldMk cId="0" sldId="330"/>
            <ac:spMk id="9" creationId="{B46E6A4A-C7DE-9E45-56E0-D71B93701F52}"/>
          </ac:spMkLst>
        </pc:spChg>
        <pc:spChg chg="add mod">
          <ac:chgData name="Robert Lalhlimpuia [Chillibreeze]" userId="8fe5ebfe-980d-441d-bbff-8c5265b810b8" providerId="ADAL" clId="{8604BD65-8997-4357-BA60-019791E2ED85}" dt="2024-06-12T11:17:20.380" v="3628" actId="1076"/>
          <ac:spMkLst>
            <pc:docMk/>
            <pc:sldMk cId="0" sldId="330"/>
            <ac:spMk id="10" creationId="{14636A6D-EDEF-0FFE-9E8E-DA5B1AEB6A00}"/>
          </ac:spMkLst>
        </pc:spChg>
        <pc:spChg chg="add del mod">
          <ac:chgData name="Robert Lalhlimpuia [Chillibreeze]" userId="8fe5ebfe-980d-441d-bbff-8c5265b810b8" providerId="ADAL" clId="{8604BD65-8997-4357-BA60-019791E2ED85}" dt="2024-06-12T11:10:06.705" v="3526" actId="21"/>
          <ac:spMkLst>
            <pc:docMk/>
            <pc:sldMk cId="0" sldId="330"/>
            <ac:spMk id="19" creationId="{98EEF429-9742-9FB5-964C-CA011F68CAAB}"/>
          </ac:spMkLst>
        </pc:spChg>
        <pc:spChg chg="add del mod">
          <ac:chgData name="Robert Lalhlimpuia [Chillibreeze]" userId="8fe5ebfe-980d-441d-bbff-8c5265b810b8" providerId="ADAL" clId="{8604BD65-8997-4357-BA60-019791E2ED85}" dt="2024-06-12T11:15:23.819" v="3603" actId="21"/>
          <ac:spMkLst>
            <pc:docMk/>
            <pc:sldMk cId="0" sldId="330"/>
            <ac:spMk id="21" creationId="{55AAC6BD-2E38-BBAE-1419-65788DDD548C}"/>
          </ac:spMkLst>
        </pc:spChg>
        <pc:spChg chg="add del mod">
          <ac:chgData name="Robert Lalhlimpuia [Chillibreeze]" userId="8fe5ebfe-980d-441d-bbff-8c5265b810b8" providerId="ADAL" clId="{8604BD65-8997-4357-BA60-019791E2ED85}" dt="2024-06-12T11:16:02.719" v="3612" actId="21"/>
          <ac:spMkLst>
            <pc:docMk/>
            <pc:sldMk cId="0" sldId="330"/>
            <ac:spMk id="22" creationId="{164B2E73-65B6-5EB9-851B-7F61EA2FBDF8}"/>
          </ac:spMkLst>
        </pc:spChg>
        <pc:spChg chg="mod ord">
          <ac:chgData name="Robert Lalhlimpuia [Chillibreeze]" userId="8fe5ebfe-980d-441d-bbff-8c5265b810b8" providerId="ADAL" clId="{8604BD65-8997-4357-BA60-019791E2ED85}" dt="2024-06-12T11:04:54.368" v="3204" actId="6264"/>
          <ac:spMkLst>
            <pc:docMk/>
            <pc:sldMk cId="0" sldId="330"/>
            <ac:spMk id="5516" creationId="{00000000-0000-0000-0000-000000000000}"/>
          </ac:spMkLst>
        </pc:spChg>
        <pc:spChg chg="del">
          <ac:chgData name="Robert Lalhlimpuia [Chillibreeze]" userId="8fe5ebfe-980d-441d-bbff-8c5265b810b8" providerId="ADAL" clId="{8604BD65-8997-4357-BA60-019791E2ED85}" dt="2024-06-12T11:05:16.557" v="3209" actId="21"/>
          <ac:spMkLst>
            <pc:docMk/>
            <pc:sldMk cId="0" sldId="330"/>
            <ac:spMk id="5517" creationId="{00000000-0000-0000-0000-000000000000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1:08:23.910" v="3230" actId="21"/>
          <ac:spMkLst>
            <pc:docMk/>
            <pc:sldMk cId="0" sldId="330"/>
            <ac:spMk id="5518" creationId="{00000000-0000-0000-0000-000000000000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1:08:21.376" v="3227" actId="21"/>
          <ac:spMkLst>
            <pc:docMk/>
            <pc:sldMk cId="0" sldId="330"/>
            <ac:spMk id="5519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08:22.891" v="3229" actId="21"/>
          <ac:spMkLst>
            <pc:docMk/>
            <pc:sldMk cId="0" sldId="330"/>
            <ac:spMk id="5520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08:22.075" v="3228" actId="21"/>
          <ac:spMkLst>
            <pc:docMk/>
            <pc:sldMk cId="0" sldId="330"/>
            <ac:spMk id="5521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08:26.665" v="3233" actId="21"/>
          <ac:spMkLst>
            <pc:docMk/>
            <pc:sldMk cId="0" sldId="330"/>
            <ac:spMk id="5522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08:25.782" v="3232" actId="21"/>
          <ac:spMkLst>
            <pc:docMk/>
            <pc:sldMk cId="0" sldId="330"/>
            <ac:spMk id="5523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08:24.900" v="3231" actId="21"/>
          <ac:spMkLst>
            <pc:docMk/>
            <pc:sldMk cId="0" sldId="330"/>
            <ac:spMk id="5524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08:28.190" v="3236" actId="21"/>
          <ac:spMkLst>
            <pc:docMk/>
            <pc:sldMk cId="0" sldId="330"/>
            <ac:spMk id="5525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08:27.730" v="3234" actId="21"/>
          <ac:spMkLst>
            <pc:docMk/>
            <pc:sldMk cId="0" sldId="330"/>
            <ac:spMk id="5526" creationId="{00000000-0000-0000-0000-000000000000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1:41:37.800" v="4395" actId="113"/>
          <ac:spMkLst>
            <pc:docMk/>
            <pc:sldMk cId="0" sldId="330"/>
            <ac:spMk id="5527" creationId="{00000000-0000-0000-0000-000000000000}"/>
          </ac:spMkLst>
        </pc:spChg>
        <pc:spChg chg="mod topLvl">
          <ac:chgData name="Robert Lalhlimpuia [Chillibreeze]" userId="8fe5ebfe-980d-441d-bbff-8c5265b810b8" providerId="ADAL" clId="{8604BD65-8997-4357-BA60-019791E2ED85}" dt="2024-06-12T11:15:09.429" v="3600"/>
          <ac:spMkLst>
            <pc:docMk/>
            <pc:sldMk cId="0" sldId="330"/>
            <ac:spMk id="5528" creationId="{00000000-0000-0000-0000-000000000000}"/>
          </ac:spMkLst>
        </pc:spChg>
        <pc:spChg chg="mod topLvl">
          <ac:chgData name="Robert Lalhlimpuia [Chillibreeze]" userId="8fe5ebfe-980d-441d-bbff-8c5265b810b8" providerId="ADAL" clId="{8604BD65-8997-4357-BA60-019791E2ED85}" dt="2024-06-12T11:13:58.613" v="3576" actId="255"/>
          <ac:spMkLst>
            <pc:docMk/>
            <pc:sldMk cId="0" sldId="330"/>
            <ac:spMk id="5529" creationId="{00000000-0000-0000-0000-000000000000}"/>
          </ac:spMkLst>
        </pc:spChg>
        <pc:spChg chg="mod topLvl">
          <ac:chgData name="Robert Lalhlimpuia [Chillibreeze]" userId="8fe5ebfe-980d-441d-bbff-8c5265b810b8" providerId="ADAL" clId="{8604BD65-8997-4357-BA60-019791E2ED85}" dt="2024-06-12T11:13:58.613" v="3576" actId="255"/>
          <ac:spMkLst>
            <pc:docMk/>
            <pc:sldMk cId="0" sldId="330"/>
            <ac:spMk id="5530" creationId="{00000000-0000-0000-0000-000000000000}"/>
          </ac:spMkLst>
        </pc:spChg>
        <pc:spChg chg="mod topLvl">
          <ac:chgData name="Robert Lalhlimpuia [Chillibreeze]" userId="8fe5ebfe-980d-441d-bbff-8c5265b810b8" providerId="ADAL" clId="{8604BD65-8997-4357-BA60-019791E2ED85}" dt="2024-06-12T11:13:58.613" v="3576" actId="255"/>
          <ac:spMkLst>
            <pc:docMk/>
            <pc:sldMk cId="0" sldId="330"/>
            <ac:spMk id="5531" creationId="{00000000-0000-0000-0000-000000000000}"/>
          </ac:spMkLst>
        </pc:spChg>
        <pc:spChg chg="mod topLvl">
          <ac:chgData name="Robert Lalhlimpuia [Chillibreeze]" userId="8fe5ebfe-980d-441d-bbff-8c5265b810b8" providerId="ADAL" clId="{8604BD65-8997-4357-BA60-019791E2ED85}" dt="2024-06-12T11:13:58.613" v="3576" actId="255"/>
          <ac:spMkLst>
            <pc:docMk/>
            <pc:sldMk cId="0" sldId="330"/>
            <ac:spMk id="5532" creationId="{00000000-0000-0000-0000-000000000000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1:13:58.613" v="3576" actId="255"/>
          <ac:spMkLst>
            <pc:docMk/>
            <pc:sldMk cId="0" sldId="330"/>
            <ac:spMk id="5533" creationId="{00000000-0000-0000-0000-000000000000}"/>
          </ac:spMkLst>
        </pc:spChg>
        <pc:spChg chg="add del mod topLvl">
          <ac:chgData name="Robert Lalhlimpuia [Chillibreeze]" userId="8fe5ebfe-980d-441d-bbff-8c5265b810b8" providerId="ADAL" clId="{8604BD65-8997-4357-BA60-019791E2ED85}" dt="2024-06-12T11:13:58.613" v="3576" actId="255"/>
          <ac:spMkLst>
            <pc:docMk/>
            <pc:sldMk cId="0" sldId="330"/>
            <ac:spMk id="5534" creationId="{00000000-0000-0000-0000-000000000000}"/>
          </ac:spMkLst>
        </pc:spChg>
        <pc:spChg chg="mod topLvl">
          <ac:chgData name="Robert Lalhlimpuia [Chillibreeze]" userId="8fe5ebfe-980d-441d-bbff-8c5265b810b8" providerId="ADAL" clId="{8604BD65-8997-4357-BA60-019791E2ED85}" dt="2024-06-12T11:15:10.345" v="3602"/>
          <ac:spMkLst>
            <pc:docMk/>
            <pc:sldMk cId="0" sldId="330"/>
            <ac:spMk id="5535" creationId="{00000000-0000-0000-0000-000000000000}"/>
          </ac:spMkLst>
        </pc:spChg>
        <pc:spChg chg="mod topLvl">
          <ac:chgData name="Robert Lalhlimpuia [Chillibreeze]" userId="8fe5ebfe-980d-441d-bbff-8c5265b810b8" providerId="ADAL" clId="{8604BD65-8997-4357-BA60-019791E2ED85}" dt="2024-06-12T11:13:58.613" v="3576" actId="255"/>
          <ac:spMkLst>
            <pc:docMk/>
            <pc:sldMk cId="0" sldId="330"/>
            <ac:spMk id="5536" creationId="{00000000-0000-0000-0000-000000000000}"/>
          </ac:spMkLst>
        </pc:spChg>
        <pc:spChg chg="mod topLvl">
          <ac:chgData name="Robert Lalhlimpuia [Chillibreeze]" userId="8fe5ebfe-980d-441d-bbff-8c5265b810b8" providerId="ADAL" clId="{8604BD65-8997-4357-BA60-019791E2ED85}" dt="2024-06-12T11:13:58.613" v="3576" actId="255"/>
          <ac:spMkLst>
            <pc:docMk/>
            <pc:sldMk cId="0" sldId="330"/>
            <ac:spMk id="5537" creationId="{00000000-0000-0000-0000-000000000000}"/>
          </ac:spMkLst>
        </pc:spChg>
        <pc:spChg chg="mod topLvl">
          <ac:chgData name="Robert Lalhlimpuia [Chillibreeze]" userId="8fe5ebfe-980d-441d-bbff-8c5265b810b8" providerId="ADAL" clId="{8604BD65-8997-4357-BA60-019791E2ED85}" dt="2024-06-12T11:13:58.613" v="3576" actId="255"/>
          <ac:spMkLst>
            <pc:docMk/>
            <pc:sldMk cId="0" sldId="330"/>
            <ac:spMk id="5538" creationId="{00000000-0000-0000-0000-000000000000}"/>
          </ac:spMkLst>
        </pc:spChg>
        <pc:spChg chg="mod topLvl">
          <ac:chgData name="Robert Lalhlimpuia [Chillibreeze]" userId="8fe5ebfe-980d-441d-bbff-8c5265b810b8" providerId="ADAL" clId="{8604BD65-8997-4357-BA60-019791E2ED85}" dt="2024-06-12T11:13:58.613" v="3576" actId="255"/>
          <ac:spMkLst>
            <pc:docMk/>
            <pc:sldMk cId="0" sldId="330"/>
            <ac:spMk id="5539" creationId="{00000000-0000-0000-0000-000000000000}"/>
          </ac:spMkLst>
        </pc:spChg>
        <pc:spChg chg="mod topLvl">
          <ac:chgData name="Robert Lalhlimpuia [Chillibreeze]" userId="8fe5ebfe-980d-441d-bbff-8c5265b810b8" providerId="ADAL" clId="{8604BD65-8997-4357-BA60-019791E2ED85}" dt="2024-06-12T11:16:54.844" v="3621" actId="164"/>
          <ac:spMkLst>
            <pc:docMk/>
            <pc:sldMk cId="0" sldId="330"/>
            <ac:spMk id="5541" creationId="{00000000-0000-0000-0000-000000000000}"/>
          </ac:spMkLst>
        </pc:spChg>
        <pc:spChg chg="mod topLvl">
          <ac:chgData name="Robert Lalhlimpuia [Chillibreeze]" userId="8fe5ebfe-980d-441d-bbff-8c5265b810b8" providerId="ADAL" clId="{8604BD65-8997-4357-BA60-019791E2ED85}" dt="2024-06-12T11:16:54.844" v="3621" actId="164"/>
          <ac:spMkLst>
            <pc:docMk/>
            <pc:sldMk cId="0" sldId="330"/>
            <ac:spMk id="5542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17:15.093" v="3624" actId="21"/>
          <ac:spMkLst>
            <pc:docMk/>
            <pc:sldMk cId="0" sldId="330"/>
            <ac:spMk id="5544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17:15.093" v="3624" actId="21"/>
          <ac:spMkLst>
            <pc:docMk/>
            <pc:sldMk cId="0" sldId="330"/>
            <ac:spMk id="5545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17:15.093" v="3624" actId="21"/>
          <ac:spMkLst>
            <pc:docMk/>
            <pc:sldMk cId="0" sldId="330"/>
            <ac:spMk id="5546" creationId="{00000000-0000-0000-0000-000000000000}"/>
          </ac:spMkLst>
        </pc:spChg>
        <pc:spChg chg="mod topLvl">
          <ac:chgData name="Robert Lalhlimpuia [Chillibreeze]" userId="8fe5ebfe-980d-441d-bbff-8c5265b810b8" providerId="ADAL" clId="{8604BD65-8997-4357-BA60-019791E2ED85}" dt="2024-06-12T11:41:37.800" v="4395" actId="113"/>
          <ac:spMkLst>
            <pc:docMk/>
            <pc:sldMk cId="0" sldId="330"/>
            <ac:spMk id="5547" creationId="{00000000-0000-0000-0000-000000000000}"/>
          </ac:spMkLst>
        </pc:spChg>
        <pc:spChg chg="del mod topLvl">
          <ac:chgData name="Robert Lalhlimpuia [Chillibreeze]" userId="8fe5ebfe-980d-441d-bbff-8c5265b810b8" providerId="ADAL" clId="{8604BD65-8997-4357-BA60-019791E2ED85}" dt="2024-06-12T11:19:21.814" v="3658" actId="21"/>
          <ac:spMkLst>
            <pc:docMk/>
            <pc:sldMk cId="0" sldId="330"/>
            <ac:spMk id="5548" creationId="{00000000-0000-0000-0000-000000000000}"/>
          </ac:spMkLst>
        </pc:spChg>
        <pc:grpChg chg="add del mod">
          <ac:chgData name="Robert Lalhlimpuia [Chillibreeze]" userId="8fe5ebfe-980d-441d-bbff-8c5265b810b8" providerId="ADAL" clId="{8604BD65-8997-4357-BA60-019791E2ED85}" dt="2024-06-12T11:08:00.101" v="3220" actId="165"/>
          <ac:grpSpMkLst>
            <pc:docMk/>
            <pc:sldMk cId="0" sldId="330"/>
            <ac:grpSpMk id="13" creationId="{54D4BCEE-A63E-2B30-9D27-C53A75AC5DBD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1:08:43" v="3244" actId="165"/>
          <ac:grpSpMkLst>
            <pc:docMk/>
            <pc:sldMk cId="0" sldId="330"/>
            <ac:grpSpMk id="16" creationId="{CF01D985-36D1-7FD7-3BF3-4C0B31A41900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1:09:18.571" v="3354" actId="165"/>
          <ac:grpSpMkLst>
            <pc:docMk/>
            <pc:sldMk cId="0" sldId="330"/>
            <ac:grpSpMk id="17" creationId="{3DD9AFA5-1BFE-4171-2982-9415313EFA13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1:09:42.430" v="3492" actId="165"/>
          <ac:grpSpMkLst>
            <pc:docMk/>
            <pc:sldMk cId="0" sldId="330"/>
            <ac:grpSpMk id="18" creationId="{DECFB991-01B9-1F3C-EE93-EB23BC95A411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1:10:44.625" v="3536" actId="165"/>
          <ac:grpSpMkLst>
            <pc:docMk/>
            <pc:sldMk cId="0" sldId="330"/>
            <ac:grpSpMk id="20" creationId="{3C37B495-2395-F62C-D645-B2903E50DEC6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1:17:22.043" v="3629" actId="21"/>
          <ac:grpSpMkLst>
            <pc:docMk/>
            <pc:sldMk cId="0" sldId="330"/>
            <ac:grpSpMk id="23" creationId="{144B2A68-5D69-EB27-6A6E-0D0E2AAEC6FF}"/>
          </ac:grpSpMkLst>
        </pc:grpChg>
        <pc:grpChg chg="del mod topLvl">
          <ac:chgData name="Robert Lalhlimpuia [Chillibreeze]" userId="8fe5ebfe-980d-441d-bbff-8c5265b810b8" providerId="ADAL" clId="{8604BD65-8997-4357-BA60-019791E2ED85}" dt="2024-06-12T11:08:00.294" v="3221" actId="165"/>
          <ac:grpSpMkLst>
            <pc:docMk/>
            <pc:sldMk cId="0" sldId="330"/>
            <ac:grpSpMk id="5540" creationId="{00000000-0000-0000-0000-000000000000}"/>
          </ac:grpSpMkLst>
        </pc:grpChg>
        <pc:grpChg chg="del mod topLvl">
          <ac:chgData name="Robert Lalhlimpuia [Chillibreeze]" userId="8fe5ebfe-980d-441d-bbff-8c5265b810b8" providerId="ADAL" clId="{8604BD65-8997-4357-BA60-019791E2ED85}" dt="2024-06-12T11:08:00.294" v="3221" actId="165"/>
          <ac:grpSpMkLst>
            <pc:docMk/>
            <pc:sldMk cId="0" sldId="330"/>
            <ac:grpSpMk id="5543" creationId="{00000000-0000-0000-0000-000000000000}"/>
          </ac:grpSpMkLst>
        </pc:grpChg>
        <pc:graphicFrameChg chg="add mod ord modVis replST">
          <ac:chgData name="Robert Lalhlimpuia [Chillibreeze]" userId="8fe5ebfe-980d-441d-bbff-8c5265b810b8" providerId="ADAL" clId="{8604BD65-8997-4357-BA60-019791E2ED85}" dt="2024-06-12T11:04:54.899" v="3208"/>
          <ac:graphicFrameMkLst>
            <pc:docMk/>
            <pc:sldMk cId="0" sldId="330"/>
            <ac:graphicFrameMk id="2" creationId="{58ACE511-862C-E214-8FD1-A6CB34D342C3}"/>
          </ac:graphicFrameMkLst>
        </pc:graphicFrameChg>
        <pc:picChg chg="add del">
          <ac:chgData name="Robert Lalhlimpuia [Chillibreeze]" userId="8fe5ebfe-980d-441d-bbff-8c5265b810b8" providerId="ADAL" clId="{8604BD65-8997-4357-BA60-019791E2ED85}" dt="2024-06-12T11:07:29.991" v="3215" actId="21"/>
          <ac:picMkLst>
            <pc:docMk/>
            <pc:sldMk cId="0" sldId="330"/>
            <ac:picMk id="12" creationId="{5266F2D0-730F-D633-4259-1498AB2ECFE5}"/>
          </ac:picMkLst>
        </pc:picChg>
        <pc:picChg chg="add mod">
          <ac:chgData name="Robert Lalhlimpuia [Chillibreeze]" userId="8fe5ebfe-980d-441d-bbff-8c5265b810b8" providerId="ADAL" clId="{8604BD65-8997-4357-BA60-019791E2ED85}" dt="2024-06-12T11:08:08.463" v="3222"/>
          <ac:picMkLst>
            <pc:docMk/>
            <pc:sldMk cId="0" sldId="330"/>
            <ac:picMk id="14" creationId="{DD4604E8-BC75-A90E-358C-A2EAA1A83DD1}"/>
          </ac:picMkLst>
        </pc:picChg>
        <pc:picChg chg="add mod">
          <ac:chgData name="Robert Lalhlimpuia [Chillibreeze]" userId="8fe5ebfe-980d-441d-bbff-8c5265b810b8" providerId="ADAL" clId="{8604BD65-8997-4357-BA60-019791E2ED85}" dt="2024-06-12T11:08:08.463" v="3222"/>
          <ac:picMkLst>
            <pc:docMk/>
            <pc:sldMk cId="0" sldId="330"/>
            <ac:picMk id="15" creationId="{A8626E69-43A1-D40B-752E-7ADB4315BBFE}"/>
          </ac:picMkLst>
        </pc:picChg>
      </pc:sldChg>
      <pc:sldChg chg="addSp delSp modSp mod setBg modClrScheme chgLayout">
        <pc:chgData name="Robert Lalhlimpuia [Chillibreeze]" userId="8fe5ebfe-980d-441d-bbff-8c5265b810b8" providerId="ADAL" clId="{8604BD65-8997-4357-BA60-019791E2ED85}" dt="2024-06-12T11:19:31.511" v="3682" actId="1037"/>
        <pc:sldMkLst>
          <pc:docMk/>
          <pc:sldMk cId="0" sldId="331"/>
        </pc:sldMkLst>
        <pc:spChg chg="mod ord">
          <ac:chgData name="Robert Lalhlimpuia [Chillibreeze]" userId="8fe5ebfe-980d-441d-bbff-8c5265b810b8" providerId="ADAL" clId="{8604BD65-8997-4357-BA60-019791E2ED85}" dt="2024-06-12T11:01:00.695" v="3109"/>
          <ac:spMkLst>
            <pc:docMk/>
            <pc:sldMk cId="0" sldId="331"/>
            <ac:spMk id="2" creationId="{CB800101-51DF-1E12-AAB7-BDF0100D1309}"/>
          </ac:spMkLst>
        </pc:spChg>
        <pc:spChg chg="add del mod modVis">
          <ac:chgData name="Robert Lalhlimpuia [Chillibreeze]" userId="8fe5ebfe-980d-441d-bbff-8c5265b810b8" providerId="ADAL" clId="{8604BD65-8997-4357-BA60-019791E2ED85}" dt="2024-06-12T10:54:54.498" v="2177"/>
          <ac:spMkLst>
            <pc:docMk/>
            <pc:sldMk cId="0" sldId="331"/>
            <ac:spMk id="4" creationId="{AF677DF3-79A9-42AA-8465-F70F76A819A8}"/>
          </ac:spMkLst>
        </pc:spChg>
        <pc:spChg chg="add del mod modVis">
          <ac:chgData name="Robert Lalhlimpuia [Chillibreeze]" userId="8fe5ebfe-980d-441d-bbff-8c5265b810b8" providerId="ADAL" clId="{8604BD65-8997-4357-BA60-019791E2ED85}" dt="2024-06-12T10:54:55.584" v="2207"/>
          <ac:spMkLst>
            <pc:docMk/>
            <pc:sldMk cId="0" sldId="331"/>
            <ac:spMk id="5" creationId="{0867E965-9F10-99E9-9D0A-BF3F238FAFA5}"/>
          </ac:spMkLst>
        </pc:spChg>
        <pc:spChg chg="add del mod">
          <ac:chgData name="Robert Lalhlimpuia [Chillibreeze]" userId="8fe5ebfe-980d-441d-bbff-8c5265b810b8" providerId="ADAL" clId="{8604BD65-8997-4357-BA60-019791E2ED85}" dt="2024-06-12T10:55:03.068" v="2213" actId="6264"/>
          <ac:spMkLst>
            <pc:docMk/>
            <pc:sldMk cId="0" sldId="331"/>
            <ac:spMk id="6" creationId="{C4A66596-8770-338E-68DE-5801DE7235F0}"/>
          </ac:spMkLst>
        </pc:spChg>
        <pc:spChg chg="add del mod">
          <ac:chgData name="Robert Lalhlimpuia [Chillibreeze]" userId="8fe5ebfe-980d-441d-bbff-8c5265b810b8" providerId="ADAL" clId="{8604BD65-8997-4357-BA60-019791E2ED85}" dt="2024-06-12T10:55:03.225" v="2214" actId="6264"/>
          <ac:spMkLst>
            <pc:docMk/>
            <pc:sldMk cId="0" sldId="331"/>
            <ac:spMk id="7" creationId="{951E9D52-F2B9-BF95-D7A9-7A80B18000F7}"/>
          </ac:spMkLst>
        </pc:spChg>
        <pc:spChg chg="add del mod modVis">
          <ac:chgData name="Robert Lalhlimpuia [Chillibreeze]" userId="8fe5ebfe-980d-441d-bbff-8c5265b810b8" providerId="ADAL" clId="{8604BD65-8997-4357-BA60-019791E2ED85}" dt="2024-06-12T10:55:03.760" v="2241"/>
          <ac:spMkLst>
            <pc:docMk/>
            <pc:sldMk cId="0" sldId="331"/>
            <ac:spMk id="8" creationId="{9E6A417C-4270-4948-3680-3C651653FD84}"/>
          </ac:spMkLst>
        </pc:spChg>
        <pc:spChg chg="mod">
          <ac:chgData name="Robert Lalhlimpuia [Chillibreeze]" userId="8fe5ebfe-980d-441d-bbff-8c5265b810b8" providerId="ADAL" clId="{8604BD65-8997-4357-BA60-019791E2ED85}" dt="2024-06-12T10:55:09.079" v="2244"/>
          <ac:spMkLst>
            <pc:docMk/>
            <pc:sldMk cId="0" sldId="331"/>
            <ac:spMk id="10" creationId="{1D9C5B44-D2C2-3F98-A190-39DF61C44532}"/>
          </ac:spMkLst>
        </pc:spChg>
        <pc:spChg chg="mod">
          <ac:chgData name="Robert Lalhlimpuia [Chillibreeze]" userId="8fe5ebfe-980d-441d-bbff-8c5265b810b8" providerId="ADAL" clId="{8604BD65-8997-4357-BA60-019791E2ED85}" dt="2024-06-12T10:55:09.079" v="2244"/>
          <ac:spMkLst>
            <pc:docMk/>
            <pc:sldMk cId="0" sldId="331"/>
            <ac:spMk id="11" creationId="{66684646-AD76-90B5-B022-2774ECE0710F}"/>
          </ac:spMkLst>
        </pc:spChg>
        <pc:spChg chg="mod">
          <ac:chgData name="Robert Lalhlimpuia [Chillibreeze]" userId="8fe5ebfe-980d-441d-bbff-8c5265b810b8" providerId="ADAL" clId="{8604BD65-8997-4357-BA60-019791E2ED85}" dt="2024-06-12T10:55:09.079" v="2244"/>
          <ac:spMkLst>
            <pc:docMk/>
            <pc:sldMk cId="0" sldId="331"/>
            <ac:spMk id="12" creationId="{FE8EF754-4910-A903-C574-C297E6E6D0D0}"/>
          </ac:spMkLst>
        </pc:spChg>
        <pc:spChg chg="mod">
          <ac:chgData name="Robert Lalhlimpuia [Chillibreeze]" userId="8fe5ebfe-980d-441d-bbff-8c5265b810b8" providerId="ADAL" clId="{8604BD65-8997-4357-BA60-019791E2ED85}" dt="2024-06-12T10:55:09.079" v="2244"/>
          <ac:spMkLst>
            <pc:docMk/>
            <pc:sldMk cId="0" sldId="331"/>
            <ac:spMk id="13" creationId="{08C1606B-E471-4651-751F-E9A9BF685BCC}"/>
          </ac:spMkLst>
        </pc:spChg>
        <pc:spChg chg="mod">
          <ac:chgData name="Robert Lalhlimpuia [Chillibreeze]" userId="8fe5ebfe-980d-441d-bbff-8c5265b810b8" providerId="ADAL" clId="{8604BD65-8997-4357-BA60-019791E2ED85}" dt="2024-06-12T10:55:09.079" v="2244"/>
          <ac:spMkLst>
            <pc:docMk/>
            <pc:sldMk cId="0" sldId="331"/>
            <ac:spMk id="14" creationId="{2D5CD653-5A05-2399-C040-06883B07581F}"/>
          </ac:spMkLst>
        </pc:spChg>
        <pc:spChg chg="mod">
          <ac:chgData name="Robert Lalhlimpuia [Chillibreeze]" userId="8fe5ebfe-980d-441d-bbff-8c5265b810b8" providerId="ADAL" clId="{8604BD65-8997-4357-BA60-019791E2ED85}" dt="2024-06-12T10:55:09.079" v="2244"/>
          <ac:spMkLst>
            <pc:docMk/>
            <pc:sldMk cId="0" sldId="331"/>
            <ac:spMk id="15" creationId="{78945C00-2EC2-0814-D37D-5ACD12526E5F}"/>
          </ac:spMkLst>
        </pc:spChg>
        <pc:spChg chg="mod">
          <ac:chgData name="Robert Lalhlimpuia [Chillibreeze]" userId="8fe5ebfe-980d-441d-bbff-8c5265b810b8" providerId="ADAL" clId="{8604BD65-8997-4357-BA60-019791E2ED85}" dt="2024-06-12T10:55:09.079" v="2244"/>
          <ac:spMkLst>
            <pc:docMk/>
            <pc:sldMk cId="0" sldId="331"/>
            <ac:spMk id="16" creationId="{9483A22D-2467-922B-CED8-9422BB15E927}"/>
          </ac:spMkLst>
        </pc:spChg>
        <pc:spChg chg="mod">
          <ac:chgData name="Robert Lalhlimpuia [Chillibreeze]" userId="8fe5ebfe-980d-441d-bbff-8c5265b810b8" providerId="ADAL" clId="{8604BD65-8997-4357-BA60-019791E2ED85}" dt="2024-06-12T10:55:09.079" v="2244"/>
          <ac:spMkLst>
            <pc:docMk/>
            <pc:sldMk cId="0" sldId="331"/>
            <ac:spMk id="17" creationId="{4257BB48-3675-1931-685E-99F74F5E285F}"/>
          </ac:spMkLst>
        </pc:spChg>
        <pc:spChg chg="mod">
          <ac:chgData name="Robert Lalhlimpuia [Chillibreeze]" userId="8fe5ebfe-980d-441d-bbff-8c5265b810b8" providerId="ADAL" clId="{8604BD65-8997-4357-BA60-019791E2ED85}" dt="2024-06-12T10:55:09.079" v="2244"/>
          <ac:spMkLst>
            <pc:docMk/>
            <pc:sldMk cId="0" sldId="331"/>
            <ac:spMk id="18" creationId="{96495BDA-6E34-4802-8930-414D7C7E1B91}"/>
          </ac:spMkLst>
        </pc:spChg>
        <pc:spChg chg="mod">
          <ac:chgData name="Robert Lalhlimpuia [Chillibreeze]" userId="8fe5ebfe-980d-441d-bbff-8c5265b810b8" providerId="ADAL" clId="{8604BD65-8997-4357-BA60-019791E2ED85}" dt="2024-06-12T10:55:09.079" v="2244"/>
          <ac:spMkLst>
            <pc:docMk/>
            <pc:sldMk cId="0" sldId="331"/>
            <ac:spMk id="19" creationId="{B507AE73-7EC9-8680-0F37-C1D4CB9E3931}"/>
          </ac:spMkLst>
        </pc:spChg>
        <pc:spChg chg="mod">
          <ac:chgData name="Robert Lalhlimpuia [Chillibreeze]" userId="8fe5ebfe-980d-441d-bbff-8c5265b810b8" providerId="ADAL" clId="{8604BD65-8997-4357-BA60-019791E2ED85}" dt="2024-06-12T10:55:09.079" v="2244"/>
          <ac:spMkLst>
            <pc:docMk/>
            <pc:sldMk cId="0" sldId="331"/>
            <ac:spMk id="20" creationId="{B1320483-6336-9694-4204-482D226558C9}"/>
          </ac:spMkLst>
        </pc:spChg>
        <pc:spChg chg="mod">
          <ac:chgData name="Robert Lalhlimpuia [Chillibreeze]" userId="8fe5ebfe-980d-441d-bbff-8c5265b810b8" providerId="ADAL" clId="{8604BD65-8997-4357-BA60-019791E2ED85}" dt="2024-06-12T10:55:09.079" v="2244"/>
          <ac:spMkLst>
            <pc:docMk/>
            <pc:sldMk cId="0" sldId="331"/>
            <ac:spMk id="21" creationId="{96647491-83B0-C9BD-C2C9-38FBCBB46616}"/>
          </ac:spMkLst>
        </pc:spChg>
        <pc:spChg chg="mod">
          <ac:chgData name="Robert Lalhlimpuia [Chillibreeze]" userId="8fe5ebfe-980d-441d-bbff-8c5265b810b8" providerId="ADAL" clId="{8604BD65-8997-4357-BA60-019791E2ED85}" dt="2024-06-12T10:55:09.079" v="2244"/>
          <ac:spMkLst>
            <pc:docMk/>
            <pc:sldMk cId="0" sldId="331"/>
            <ac:spMk id="22" creationId="{2397DCA6-F036-6CA7-88F0-E5604A453FB8}"/>
          </ac:spMkLst>
        </pc:spChg>
        <pc:spChg chg="mod">
          <ac:chgData name="Robert Lalhlimpuia [Chillibreeze]" userId="8fe5ebfe-980d-441d-bbff-8c5265b810b8" providerId="ADAL" clId="{8604BD65-8997-4357-BA60-019791E2ED85}" dt="2024-06-12T10:55:09.079" v="2244"/>
          <ac:spMkLst>
            <pc:docMk/>
            <pc:sldMk cId="0" sldId="331"/>
            <ac:spMk id="23" creationId="{7CB2533A-42E1-F257-6C75-DFA09A8D5E81}"/>
          </ac:spMkLst>
        </pc:spChg>
        <pc:spChg chg="mod">
          <ac:chgData name="Robert Lalhlimpuia [Chillibreeze]" userId="8fe5ebfe-980d-441d-bbff-8c5265b810b8" providerId="ADAL" clId="{8604BD65-8997-4357-BA60-019791E2ED85}" dt="2024-06-12T10:55:09.079" v="2244"/>
          <ac:spMkLst>
            <pc:docMk/>
            <pc:sldMk cId="0" sldId="331"/>
            <ac:spMk id="24" creationId="{D3241D35-D403-0971-3767-DBE306419B93}"/>
          </ac:spMkLst>
        </pc:spChg>
        <pc:spChg chg="mod">
          <ac:chgData name="Robert Lalhlimpuia [Chillibreeze]" userId="8fe5ebfe-980d-441d-bbff-8c5265b810b8" providerId="ADAL" clId="{8604BD65-8997-4357-BA60-019791E2ED85}" dt="2024-06-12T10:55:09.079" v="2244"/>
          <ac:spMkLst>
            <pc:docMk/>
            <pc:sldMk cId="0" sldId="331"/>
            <ac:spMk id="25" creationId="{5491A297-F821-F4FF-039D-3903D610CD74}"/>
          </ac:spMkLst>
        </pc:spChg>
        <pc:spChg chg="mod">
          <ac:chgData name="Robert Lalhlimpuia [Chillibreeze]" userId="8fe5ebfe-980d-441d-bbff-8c5265b810b8" providerId="ADAL" clId="{8604BD65-8997-4357-BA60-019791E2ED85}" dt="2024-06-12T10:55:09.079" v="2244"/>
          <ac:spMkLst>
            <pc:docMk/>
            <pc:sldMk cId="0" sldId="331"/>
            <ac:spMk id="26" creationId="{CD518745-7A59-72C6-5554-388E171DE7D6}"/>
          </ac:spMkLst>
        </pc:spChg>
        <pc:spChg chg="mod">
          <ac:chgData name="Robert Lalhlimpuia [Chillibreeze]" userId="8fe5ebfe-980d-441d-bbff-8c5265b810b8" providerId="ADAL" clId="{8604BD65-8997-4357-BA60-019791E2ED85}" dt="2024-06-12T10:55:09.079" v="2244"/>
          <ac:spMkLst>
            <pc:docMk/>
            <pc:sldMk cId="0" sldId="331"/>
            <ac:spMk id="27" creationId="{3112A6EA-04F5-D3B9-FA6E-AD55A80E6872}"/>
          </ac:spMkLst>
        </pc:spChg>
        <pc:spChg chg="add del mod modVis">
          <ac:chgData name="Robert Lalhlimpuia [Chillibreeze]" userId="8fe5ebfe-980d-441d-bbff-8c5265b810b8" providerId="ADAL" clId="{8604BD65-8997-4357-BA60-019791E2ED85}" dt="2024-06-12T10:55:14.084" v="2298" actId="962"/>
          <ac:spMkLst>
            <pc:docMk/>
            <pc:sldMk cId="0" sldId="331"/>
            <ac:spMk id="28" creationId="{0D6569F0-A6E1-74BD-8B5E-66C3ED706765}"/>
          </ac:spMkLst>
        </pc:spChg>
        <pc:spChg chg="mod">
          <ac:chgData name="Robert Lalhlimpuia [Chillibreeze]" userId="8fe5ebfe-980d-441d-bbff-8c5265b810b8" providerId="ADAL" clId="{8604BD65-8997-4357-BA60-019791E2ED85}" dt="2024-06-12T11:00:57.990" v="2831" actId="207"/>
          <ac:spMkLst>
            <pc:docMk/>
            <pc:sldMk cId="0" sldId="331"/>
            <ac:spMk id="30" creationId="{F4B1018B-27FD-7963-1270-21E8EC2EDC8D}"/>
          </ac:spMkLst>
        </pc:spChg>
        <pc:spChg chg="mod">
          <ac:chgData name="Robert Lalhlimpuia [Chillibreeze]" userId="8fe5ebfe-980d-441d-bbff-8c5265b810b8" providerId="ADAL" clId="{8604BD65-8997-4357-BA60-019791E2ED85}" dt="2024-06-12T11:00:57.990" v="2831" actId="207"/>
          <ac:spMkLst>
            <pc:docMk/>
            <pc:sldMk cId="0" sldId="331"/>
            <ac:spMk id="31" creationId="{172AB6B5-D40B-BE23-966E-21F63A2676BB}"/>
          </ac:spMkLst>
        </pc:spChg>
        <pc:spChg chg="mod">
          <ac:chgData name="Robert Lalhlimpuia [Chillibreeze]" userId="8fe5ebfe-980d-441d-bbff-8c5265b810b8" providerId="ADAL" clId="{8604BD65-8997-4357-BA60-019791E2ED85}" dt="2024-06-12T11:00:57.990" v="2831" actId="207"/>
          <ac:spMkLst>
            <pc:docMk/>
            <pc:sldMk cId="0" sldId="331"/>
            <ac:spMk id="32" creationId="{CF4B115E-EE58-0E96-94D2-149E4C3499D2}"/>
          </ac:spMkLst>
        </pc:spChg>
        <pc:spChg chg="mod">
          <ac:chgData name="Robert Lalhlimpuia [Chillibreeze]" userId="8fe5ebfe-980d-441d-bbff-8c5265b810b8" providerId="ADAL" clId="{8604BD65-8997-4357-BA60-019791E2ED85}" dt="2024-06-12T11:00:57.990" v="2831" actId="207"/>
          <ac:spMkLst>
            <pc:docMk/>
            <pc:sldMk cId="0" sldId="331"/>
            <ac:spMk id="33" creationId="{F096B980-A76E-C558-0D1B-163AAA26BDAA}"/>
          </ac:spMkLst>
        </pc:spChg>
        <pc:spChg chg="mod">
          <ac:chgData name="Robert Lalhlimpuia [Chillibreeze]" userId="8fe5ebfe-980d-441d-bbff-8c5265b810b8" providerId="ADAL" clId="{8604BD65-8997-4357-BA60-019791E2ED85}" dt="2024-06-12T11:00:57.990" v="2831" actId="207"/>
          <ac:spMkLst>
            <pc:docMk/>
            <pc:sldMk cId="0" sldId="331"/>
            <ac:spMk id="34" creationId="{BC8E74F9-1236-85A9-ACD8-B45ED56CB3E5}"/>
          </ac:spMkLst>
        </pc:spChg>
        <pc:spChg chg="mod">
          <ac:chgData name="Robert Lalhlimpuia [Chillibreeze]" userId="8fe5ebfe-980d-441d-bbff-8c5265b810b8" providerId="ADAL" clId="{8604BD65-8997-4357-BA60-019791E2ED85}" dt="2024-06-12T11:00:57.990" v="2831" actId="207"/>
          <ac:spMkLst>
            <pc:docMk/>
            <pc:sldMk cId="0" sldId="331"/>
            <ac:spMk id="35" creationId="{D0B12924-CDD3-5A15-6A17-B6DEA0C97FB8}"/>
          </ac:spMkLst>
        </pc:spChg>
        <pc:spChg chg="mod">
          <ac:chgData name="Robert Lalhlimpuia [Chillibreeze]" userId="8fe5ebfe-980d-441d-bbff-8c5265b810b8" providerId="ADAL" clId="{8604BD65-8997-4357-BA60-019791E2ED85}" dt="2024-06-12T11:00:57.990" v="2831" actId="207"/>
          <ac:spMkLst>
            <pc:docMk/>
            <pc:sldMk cId="0" sldId="331"/>
            <ac:spMk id="36" creationId="{3F5B9773-8F4B-3090-7E20-B3B0ABE8E437}"/>
          </ac:spMkLst>
        </pc:spChg>
        <pc:spChg chg="mod">
          <ac:chgData name="Robert Lalhlimpuia [Chillibreeze]" userId="8fe5ebfe-980d-441d-bbff-8c5265b810b8" providerId="ADAL" clId="{8604BD65-8997-4357-BA60-019791E2ED85}" dt="2024-06-12T11:00:57.990" v="2831" actId="207"/>
          <ac:spMkLst>
            <pc:docMk/>
            <pc:sldMk cId="0" sldId="331"/>
            <ac:spMk id="37" creationId="{445852D0-A883-D67A-464E-E986D6CE65BE}"/>
          </ac:spMkLst>
        </pc:spChg>
        <pc:spChg chg="mod">
          <ac:chgData name="Robert Lalhlimpuia [Chillibreeze]" userId="8fe5ebfe-980d-441d-bbff-8c5265b810b8" providerId="ADAL" clId="{8604BD65-8997-4357-BA60-019791E2ED85}" dt="2024-06-12T11:00:57.990" v="2831" actId="207"/>
          <ac:spMkLst>
            <pc:docMk/>
            <pc:sldMk cId="0" sldId="331"/>
            <ac:spMk id="38" creationId="{F541748A-0E8D-B7B0-0F5F-6CFBB7E12674}"/>
          </ac:spMkLst>
        </pc:spChg>
        <pc:spChg chg="mod">
          <ac:chgData name="Robert Lalhlimpuia [Chillibreeze]" userId="8fe5ebfe-980d-441d-bbff-8c5265b810b8" providerId="ADAL" clId="{8604BD65-8997-4357-BA60-019791E2ED85}" dt="2024-06-12T11:00:57.990" v="2831" actId="207"/>
          <ac:spMkLst>
            <pc:docMk/>
            <pc:sldMk cId="0" sldId="331"/>
            <ac:spMk id="39" creationId="{90D651E3-2C6F-26D8-3D51-B426D37869E4}"/>
          </ac:spMkLst>
        </pc:spChg>
        <pc:spChg chg="mod">
          <ac:chgData name="Robert Lalhlimpuia [Chillibreeze]" userId="8fe5ebfe-980d-441d-bbff-8c5265b810b8" providerId="ADAL" clId="{8604BD65-8997-4357-BA60-019791E2ED85}" dt="2024-06-12T11:00:57.990" v="2831" actId="207"/>
          <ac:spMkLst>
            <pc:docMk/>
            <pc:sldMk cId="0" sldId="331"/>
            <ac:spMk id="40" creationId="{1DD7BBF3-DF38-38EE-BA17-3D0C746EB2A6}"/>
          </ac:spMkLst>
        </pc:spChg>
        <pc:spChg chg="mod">
          <ac:chgData name="Robert Lalhlimpuia [Chillibreeze]" userId="8fe5ebfe-980d-441d-bbff-8c5265b810b8" providerId="ADAL" clId="{8604BD65-8997-4357-BA60-019791E2ED85}" dt="2024-06-12T11:00:57.990" v="2831" actId="207"/>
          <ac:spMkLst>
            <pc:docMk/>
            <pc:sldMk cId="0" sldId="331"/>
            <ac:spMk id="41" creationId="{95434897-617F-FF6F-9D02-9D24F8036C95}"/>
          </ac:spMkLst>
        </pc:spChg>
        <pc:spChg chg="mod">
          <ac:chgData name="Robert Lalhlimpuia [Chillibreeze]" userId="8fe5ebfe-980d-441d-bbff-8c5265b810b8" providerId="ADAL" clId="{8604BD65-8997-4357-BA60-019791E2ED85}" dt="2024-06-12T11:00:57.990" v="2831" actId="207"/>
          <ac:spMkLst>
            <pc:docMk/>
            <pc:sldMk cId="0" sldId="331"/>
            <ac:spMk id="42" creationId="{09F7E6AE-5E2D-8D7B-69E1-B4E481E39184}"/>
          </ac:spMkLst>
        </pc:spChg>
        <pc:spChg chg="mod">
          <ac:chgData name="Robert Lalhlimpuia [Chillibreeze]" userId="8fe5ebfe-980d-441d-bbff-8c5265b810b8" providerId="ADAL" clId="{8604BD65-8997-4357-BA60-019791E2ED85}" dt="2024-06-12T11:00:57.990" v="2831" actId="207"/>
          <ac:spMkLst>
            <pc:docMk/>
            <pc:sldMk cId="0" sldId="331"/>
            <ac:spMk id="43" creationId="{59551C29-53D0-6259-0D44-A402BCB03D8D}"/>
          </ac:spMkLst>
        </pc:spChg>
        <pc:spChg chg="mod">
          <ac:chgData name="Robert Lalhlimpuia [Chillibreeze]" userId="8fe5ebfe-980d-441d-bbff-8c5265b810b8" providerId="ADAL" clId="{8604BD65-8997-4357-BA60-019791E2ED85}" dt="2024-06-12T11:00:57.990" v="2831" actId="207"/>
          <ac:spMkLst>
            <pc:docMk/>
            <pc:sldMk cId="0" sldId="331"/>
            <ac:spMk id="44" creationId="{9A4D09D1-7BFF-6D82-33A5-E5A8E389B32E}"/>
          </ac:spMkLst>
        </pc:spChg>
        <pc:spChg chg="mod">
          <ac:chgData name="Robert Lalhlimpuia [Chillibreeze]" userId="8fe5ebfe-980d-441d-bbff-8c5265b810b8" providerId="ADAL" clId="{8604BD65-8997-4357-BA60-019791E2ED85}" dt="2024-06-12T11:00:57.990" v="2831" actId="207"/>
          <ac:spMkLst>
            <pc:docMk/>
            <pc:sldMk cId="0" sldId="331"/>
            <ac:spMk id="45" creationId="{3CD62CDB-70EB-DAE6-A209-F735EA8EDFA5}"/>
          </ac:spMkLst>
        </pc:spChg>
        <pc:spChg chg="mod">
          <ac:chgData name="Robert Lalhlimpuia [Chillibreeze]" userId="8fe5ebfe-980d-441d-bbff-8c5265b810b8" providerId="ADAL" clId="{8604BD65-8997-4357-BA60-019791E2ED85}" dt="2024-06-12T11:00:57.990" v="2831" actId="207"/>
          <ac:spMkLst>
            <pc:docMk/>
            <pc:sldMk cId="0" sldId="331"/>
            <ac:spMk id="46" creationId="{99A3E4C1-A99F-68B0-A644-02EF2AAE7029}"/>
          </ac:spMkLst>
        </pc:spChg>
        <pc:spChg chg="mod">
          <ac:chgData name="Robert Lalhlimpuia [Chillibreeze]" userId="8fe5ebfe-980d-441d-bbff-8c5265b810b8" providerId="ADAL" clId="{8604BD65-8997-4357-BA60-019791E2ED85}" dt="2024-06-12T11:00:57.990" v="2831" actId="207"/>
          <ac:spMkLst>
            <pc:docMk/>
            <pc:sldMk cId="0" sldId="331"/>
            <ac:spMk id="47" creationId="{399CD351-4086-1E39-805E-174EEC2DA477}"/>
          </ac:spMkLst>
        </pc:spChg>
        <pc:spChg chg="add del mod ord">
          <ac:chgData name="Robert Lalhlimpuia [Chillibreeze]" userId="8fe5ebfe-980d-441d-bbff-8c5265b810b8" providerId="ADAL" clId="{8604BD65-8997-4357-BA60-019791E2ED85}" dt="2024-06-12T10:58:02.849" v="2423" actId="6264"/>
          <ac:spMkLst>
            <pc:docMk/>
            <pc:sldMk cId="0" sldId="331"/>
            <ac:spMk id="49" creationId="{AE89AB83-7DC8-E0CC-810F-F646665E4684}"/>
          </ac:spMkLst>
        </pc:spChg>
        <pc:spChg chg="add del mod modVis">
          <ac:chgData name="Robert Lalhlimpuia [Chillibreeze]" userId="8fe5ebfe-980d-441d-bbff-8c5265b810b8" providerId="ADAL" clId="{8604BD65-8997-4357-BA60-019791E2ED85}" dt="2024-06-12T10:56:40.729" v="2340"/>
          <ac:spMkLst>
            <pc:docMk/>
            <pc:sldMk cId="0" sldId="331"/>
            <ac:spMk id="50" creationId="{08D4760B-ACF9-25A9-6A47-8B5E700C0BBE}"/>
          </ac:spMkLst>
        </pc:spChg>
        <pc:spChg chg="add del mod ord">
          <ac:chgData name="Robert Lalhlimpuia [Chillibreeze]" userId="8fe5ebfe-980d-441d-bbff-8c5265b810b8" providerId="ADAL" clId="{8604BD65-8997-4357-BA60-019791E2ED85}" dt="2024-06-12T10:57:22.231" v="2418" actId="478"/>
          <ac:spMkLst>
            <pc:docMk/>
            <pc:sldMk cId="0" sldId="331"/>
            <ac:spMk id="51" creationId="{AE82083A-3A01-A80A-2577-DB0CA2E279B8}"/>
          </ac:spMkLst>
        </pc:spChg>
        <pc:spChg chg="add del mod">
          <ac:chgData name="Robert Lalhlimpuia [Chillibreeze]" userId="8fe5ebfe-980d-441d-bbff-8c5265b810b8" providerId="ADAL" clId="{8604BD65-8997-4357-BA60-019791E2ED85}" dt="2024-06-12T10:58:02.849" v="2423" actId="6264"/>
          <ac:spMkLst>
            <pc:docMk/>
            <pc:sldMk cId="0" sldId="331"/>
            <ac:spMk id="52" creationId="{20B71FC5-183F-CA45-DDC9-4D50385DC982}"/>
          </ac:spMkLst>
        </pc:spChg>
        <pc:spChg chg="add del mod ord">
          <ac:chgData name="Robert Lalhlimpuia [Chillibreeze]" userId="8fe5ebfe-980d-441d-bbff-8c5265b810b8" providerId="ADAL" clId="{8604BD65-8997-4357-BA60-019791E2ED85}" dt="2024-06-12T10:58:03.008" v="2424" actId="6264"/>
          <ac:spMkLst>
            <pc:docMk/>
            <pc:sldMk cId="0" sldId="331"/>
            <ac:spMk id="53" creationId="{A57124F8-5ADD-75FE-B9C7-052953B4F48C}"/>
          </ac:spMkLst>
        </pc:spChg>
        <pc:spChg chg="add del mod">
          <ac:chgData name="Robert Lalhlimpuia [Chillibreeze]" userId="8fe5ebfe-980d-441d-bbff-8c5265b810b8" providerId="ADAL" clId="{8604BD65-8997-4357-BA60-019791E2ED85}" dt="2024-06-12T10:58:03.008" v="2424" actId="6264"/>
          <ac:spMkLst>
            <pc:docMk/>
            <pc:sldMk cId="0" sldId="331"/>
            <ac:spMk id="54" creationId="{6024DBFC-EA27-BBE7-5423-BB5337D94E65}"/>
          </ac:spMkLst>
        </pc:spChg>
        <pc:spChg chg="add mod ord">
          <ac:chgData name="Robert Lalhlimpuia [Chillibreeze]" userId="8fe5ebfe-980d-441d-bbff-8c5265b810b8" providerId="ADAL" clId="{8604BD65-8997-4357-BA60-019791E2ED85}" dt="2024-06-12T11:01:39.728" v="3147" actId="1076"/>
          <ac:spMkLst>
            <pc:docMk/>
            <pc:sldMk cId="0" sldId="331"/>
            <ac:spMk id="55" creationId="{0CA5BD7A-16A8-1B03-BA7A-6D3128807332}"/>
          </ac:spMkLst>
        </pc:spChg>
        <pc:spChg chg="add del mod modVis">
          <ac:chgData name="Robert Lalhlimpuia [Chillibreeze]" userId="8fe5ebfe-980d-441d-bbff-8c5265b810b8" providerId="ADAL" clId="{8604BD65-8997-4357-BA60-019791E2ED85}" dt="2024-06-12T10:58:03.566" v="2451"/>
          <ac:spMkLst>
            <pc:docMk/>
            <pc:sldMk cId="0" sldId="331"/>
            <ac:spMk id="56" creationId="{2C588033-C1EE-7DCC-29C8-A8EAB81D2B65}"/>
          </ac:spMkLst>
        </pc:spChg>
        <pc:spChg chg="add del mod">
          <ac:chgData name="Robert Lalhlimpuia [Chillibreeze]" userId="8fe5ebfe-980d-441d-bbff-8c5265b810b8" providerId="ADAL" clId="{8604BD65-8997-4357-BA60-019791E2ED85}" dt="2024-06-12T10:58:14.016" v="2457" actId="6264"/>
          <ac:spMkLst>
            <pc:docMk/>
            <pc:sldMk cId="0" sldId="331"/>
            <ac:spMk id="57" creationId="{A65A5021-3F55-3720-AC5C-46F1ACEB3CB6}"/>
          </ac:spMkLst>
        </pc:spChg>
        <pc:spChg chg="add del mod">
          <ac:chgData name="Robert Lalhlimpuia [Chillibreeze]" userId="8fe5ebfe-980d-441d-bbff-8c5265b810b8" providerId="ADAL" clId="{8604BD65-8997-4357-BA60-019791E2ED85}" dt="2024-06-12T10:58:14.016" v="2457" actId="6264"/>
          <ac:spMkLst>
            <pc:docMk/>
            <pc:sldMk cId="0" sldId="331"/>
            <ac:spMk id="58" creationId="{B5C2BB9C-15B9-1009-5ABA-1AA6D930B287}"/>
          </ac:spMkLst>
        </pc:spChg>
        <pc:spChg chg="add del mod">
          <ac:chgData name="Robert Lalhlimpuia [Chillibreeze]" userId="8fe5ebfe-980d-441d-bbff-8c5265b810b8" providerId="ADAL" clId="{8604BD65-8997-4357-BA60-019791E2ED85}" dt="2024-06-12T10:58:14.236" v="2458" actId="6264"/>
          <ac:spMkLst>
            <pc:docMk/>
            <pc:sldMk cId="0" sldId="331"/>
            <ac:spMk id="59" creationId="{CB0D1F80-59EF-B1AA-CDD9-ECC15DD279F6}"/>
          </ac:spMkLst>
        </pc:spChg>
        <pc:spChg chg="add del mod">
          <ac:chgData name="Robert Lalhlimpuia [Chillibreeze]" userId="8fe5ebfe-980d-441d-bbff-8c5265b810b8" providerId="ADAL" clId="{8604BD65-8997-4357-BA60-019791E2ED85}" dt="2024-06-12T10:58:14.236" v="2458" actId="6264"/>
          <ac:spMkLst>
            <pc:docMk/>
            <pc:sldMk cId="0" sldId="331"/>
            <ac:spMk id="60" creationId="{47C5887B-34B6-C244-2123-7CF7FD749501}"/>
          </ac:spMkLst>
        </pc:spChg>
        <pc:spChg chg="add del mod">
          <ac:chgData name="Robert Lalhlimpuia [Chillibreeze]" userId="8fe5ebfe-980d-441d-bbff-8c5265b810b8" providerId="ADAL" clId="{8604BD65-8997-4357-BA60-019791E2ED85}" dt="2024-06-12T10:58:14.386" v="2459" actId="6264"/>
          <ac:spMkLst>
            <pc:docMk/>
            <pc:sldMk cId="0" sldId="331"/>
            <ac:spMk id="61" creationId="{A17C1882-368D-DA2B-B74B-FA4317B394B2}"/>
          </ac:spMkLst>
        </pc:spChg>
        <pc:spChg chg="add del mod">
          <ac:chgData name="Robert Lalhlimpuia [Chillibreeze]" userId="8fe5ebfe-980d-441d-bbff-8c5265b810b8" providerId="ADAL" clId="{8604BD65-8997-4357-BA60-019791E2ED85}" dt="2024-06-12T10:58:14.386" v="2459" actId="6264"/>
          <ac:spMkLst>
            <pc:docMk/>
            <pc:sldMk cId="0" sldId="331"/>
            <ac:spMk id="62" creationId="{0DF2EB79-8EC9-2DBC-030B-468B9C0D9106}"/>
          </ac:spMkLst>
        </pc:spChg>
        <pc:spChg chg="add del mod">
          <ac:chgData name="Robert Lalhlimpuia [Chillibreeze]" userId="8fe5ebfe-980d-441d-bbff-8c5265b810b8" providerId="ADAL" clId="{8604BD65-8997-4357-BA60-019791E2ED85}" dt="2024-06-12T10:58:14.516" v="2460" actId="6264"/>
          <ac:spMkLst>
            <pc:docMk/>
            <pc:sldMk cId="0" sldId="331"/>
            <ac:spMk id="63" creationId="{433B99CA-8988-9BC5-2639-920F7813C242}"/>
          </ac:spMkLst>
        </pc:spChg>
        <pc:spChg chg="add del mod">
          <ac:chgData name="Robert Lalhlimpuia [Chillibreeze]" userId="8fe5ebfe-980d-441d-bbff-8c5265b810b8" providerId="ADAL" clId="{8604BD65-8997-4357-BA60-019791E2ED85}" dt="2024-06-12T10:58:14.516" v="2460" actId="6264"/>
          <ac:spMkLst>
            <pc:docMk/>
            <pc:sldMk cId="0" sldId="331"/>
            <ac:spMk id="5504" creationId="{4E1C0C8A-E7CB-9C40-87BF-BB76C118B373}"/>
          </ac:spMkLst>
        </pc:spChg>
        <pc:spChg chg="add del mod modVis">
          <ac:chgData name="Robert Lalhlimpuia [Chillibreeze]" userId="8fe5ebfe-980d-441d-bbff-8c5265b810b8" providerId="ADAL" clId="{8604BD65-8997-4357-BA60-019791E2ED85}" dt="2024-06-12T10:58:17.861" v="2513" actId="962"/>
          <ac:spMkLst>
            <pc:docMk/>
            <pc:sldMk cId="0" sldId="331"/>
            <ac:spMk id="5505" creationId="{EA65B119-D7C1-0987-F040-21F2348185A2}"/>
          </ac:spMkLst>
        </pc:spChg>
        <pc:spChg chg="add del mod">
          <ac:chgData name="Robert Lalhlimpuia [Chillibreeze]" userId="8fe5ebfe-980d-441d-bbff-8c5265b810b8" providerId="ADAL" clId="{8604BD65-8997-4357-BA60-019791E2ED85}" dt="2024-06-12T10:58:18.921" v="2517" actId="6264"/>
          <ac:spMkLst>
            <pc:docMk/>
            <pc:sldMk cId="0" sldId="331"/>
            <ac:spMk id="5506" creationId="{643CD68D-AB20-84C8-6119-CDC06297D569}"/>
          </ac:spMkLst>
        </pc:spChg>
        <pc:spChg chg="add del mod">
          <ac:chgData name="Robert Lalhlimpuia [Chillibreeze]" userId="8fe5ebfe-980d-441d-bbff-8c5265b810b8" providerId="ADAL" clId="{8604BD65-8997-4357-BA60-019791E2ED85}" dt="2024-06-12T10:58:18.921" v="2517" actId="6264"/>
          <ac:spMkLst>
            <pc:docMk/>
            <pc:sldMk cId="0" sldId="331"/>
            <ac:spMk id="5507" creationId="{A2CDC686-4A5C-95AE-6B34-4BE7DF20171F}"/>
          </ac:spMkLst>
        </pc:spChg>
        <pc:spChg chg="add del mod">
          <ac:chgData name="Robert Lalhlimpuia [Chillibreeze]" userId="8fe5ebfe-980d-441d-bbff-8c5265b810b8" providerId="ADAL" clId="{8604BD65-8997-4357-BA60-019791E2ED85}" dt="2024-06-12T10:58:19.057" v="2518" actId="6264"/>
          <ac:spMkLst>
            <pc:docMk/>
            <pc:sldMk cId="0" sldId="331"/>
            <ac:spMk id="5508" creationId="{FB967304-7BE3-CBE1-5547-979A9FCDA868}"/>
          </ac:spMkLst>
        </pc:spChg>
        <pc:spChg chg="add del mod">
          <ac:chgData name="Robert Lalhlimpuia [Chillibreeze]" userId="8fe5ebfe-980d-441d-bbff-8c5265b810b8" providerId="ADAL" clId="{8604BD65-8997-4357-BA60-019791E2ED85}" dt="2024-06-12T10:58:19.057" v="2518" actId="6264"/>
          <ac:spMkLst>
            <pc:docMk/>
            <pc:sldMk cId="0" sldId="331"/>
            <ac:spMk id="5509" creationId="{A5258417-50F5-13CD-468A-3FA54EAB3324}"/>
          </ac:spMkLst>
        </pc:spChg>
        <pc:spChg chg="add del mod">
          <ac:chgData name="Robert Lalhlimpuia [Chillibreeze]" userId="8fe5ebfe-980d-441d-bbff-8c5265b810b8" providerId="ADAL" clId="{8604BD65-8997-4357-BA60-019791E2ED85}" dt="2024-06-12T10:58:19.196" v="2519" actId="6264"/>
          <ac:spMkLst>
            <pc:docMk/>
            <pc:sldMk cId="0" sldId="331"/>
            <ac:spMk id="5510" creationId="{30CC540C-E7C6-A5FE-7A0A-FE2CAC6AD99C}"/>
          </ac:spMkLst>
        </pc:spChg>
        <pc:spChg chg="add del mod">
          <ac:chgData name="Robert Lalhlimpuia [Chillibreeze]" userId="8fe5ebfe-980d-441d-bbff-8c5265b810b8" providerId="ADAL" clId="{8604BD65-8997-4357-BA60-019791E2ED85}" dt="2024-06-12T10:58:19.196" v="2519" actId="6264"/>
          <ac:spMkLst>
            <pc:docMk/>
            <pc:sldMk cId="0" sldId="331"/>
            <ac:spMk id="5511" creationId="{6FBEC0CD-81D0-73C2-B9BD-2F390110AD24}"/>
          </ac:spMkLst>
        </pc:spChg>
        <pc:spChg chg="add del mod modVis">
          <ac:chgData name="Robert Lalhlimpuia [Chillibreeze]" userId="8fe5ebfe-980d-441d-bbff-8c5265b810b8" providerId="ADAL" clId="{8604BD65-8997-4357-BA60-019791E2ED85}" dt="2024-06-12T10:58:19.746" v="2546"/>
          <ac:spMkLst>
            <pc:docMk/>
            <pc:sldMk cId="0" sldId="331"/>
            <ac:spMk id="5512" creationId="{510B9BE7-0CCB-737C-C8A7-DC11BB489716}"/>
          </ac:spMkLst>
        </pc:spChg>
        <pc:spChg chg="add del mod modVis">
          <ac:chgData name="Robert Lalhlimpuia [Chillibreeze]" userId="8fe5ebfe-980d-441d-bbff-8c5265b810b8" providerId="ADAL" clId="{8604BD65-8997-4357-BA60-019791E2ED85}" dt="2024-06-12T10:58:39.596" v="2582"/>
          <ac:spMkLst>
            <pc:docMk/>
            <pc:sldMk cId="0" sldId="331"/>
            <ac:spMk id="5513" creationId="{D5974D08-1473-B01F-458D-86A60FBFEF31}"/>
          </ac:spMkLst>
        </pc:spChg>
        <pc:spChg chg="add del mod modVis">
          <ac:chgData name="Robert Lalhlimpuia [Chillibreeze]" userId="8fe5ebfe-980d-441d-bbff-8c5265b810b8" providerId="ADAL" clId="{8604BD65-8997-4357-BA60-019791E2ED85}" dt="2024-06-12T10:58:42.971" v="2612"/>
          <ac:spMkLst>
            <pc:docMk/>
            <pc:sldMk cId="0" sldId="331"/>
            <ac:spMk id="5514" creationId="{EDAA06CB-5CE1-3B1B-4A78-47F3C4E65F7E}"/>
          </ac:spMkLst>
        </pc:spChg>
        <pc:spChg chg="add del mod modVis">
          <ac:chgData name="Robert Lalhlimpuia [Chillibreeze]" userId="8fe5ebfe-980d-441d-bbff-8c5265b810b8" providerId="ADAL" clId="{8604BD65-8997-4357-BA60-019791E2ED85}" dt="2024-06-12T11:00:57.990" v="2829" actId="962"/>
          <ac:spMkLst>
            <pc:docMk/>
            <pc:sldMk cId="0" sldId="331"/>
            <ac:spMk id="5517" creationId="{9AC39BE1-427B-63DA-0721-AC065616EB30}"/>
          </ac:spMkLst>
        </pc:spChg>
        <pc:spChg chg="add del mod modVis">
          <ac:chgData name="Robert Lalhlimpuia [Chillibreeze]" userId="8fe5ebfe-980d-441d-bbff-8c5265b810b8" providerId="ADAL" clId="{8604BD65-8997-4357-BA60-019791E2ED85}" dt="2024-06-12T11:01:00.325" v="2920"/>
          <ac:spMkLst>
            <pc:docMk/>
            <pc:sldMk cId="0" sldId="331"/>
            <ac:spMk id="5518" creationId="{75D4319B-17FB-4E2B-4812-72F9ED2F4BDF}"/>
          </ac:spMkLst>
        </pc:spChg>
        <pc:spChg chg="mod ord topLvl">
          <ac:chgData name="Robert Lalhlimpuia [Chillibreeze]" userId="8fe5ebfe-980d-441d-bbff-8c5265b810b8" providerId="ADAL" clId="{8604BD65-8997-4357-BA60-019791E2ED85}" dt="2024-06-12T11:03:42.188" v="3172" actId="12789"/>
          <ac:spMkLst>
            <pc:docMk/>
            <pc:sldMk cId="0" sldId="331"/>
            <ac:spMk id="5553" creationId="{00000000-0000-0000-0000-000000000000}"/>
          </ac:spMkLst>
        </pc:spChg>
        <pc:spChg chg="mod ord topLvl">
          <ac:chgData name="Robert Lalhlimpuia [Chillibreeze]" userId="8fe5ebfe-980d-441d-bbff-8c5265b810b8" providerId="ADAL" clId="{8604BD65-8997-4357-BA60-019791E2ED85}" dt="2024-06-12T11:19:31.511" v="3682" actId="1037"/>
          <ac:spMkLst>
            <pc:docMk/>
            <pc:sldMk cId="0" sldId="331"/>
            <ac:spMk id="5554" creationId="{00000000-0000-0000-0000-000000000000}"/>
          </ac:spMkLst>
        </pc:spChg>
        <pc:spChg chg="mod ord topLvl">
          <ac:chgData name="Robert Lalhlimpuia [Chillibreeze]" userId="8fe5ebfe-980d-441d-bbff-8c5265b810b8" providerId="ADAL" clId="{8604BD65-8997-4357-BA60-019791E2ED85}" dt="2024-06-12T11:03:38.973" v="3171" actId="12789"/>
          <ac:spMkLst>
            <pc:docMk/>
            <pc:sldMk cId="0" sldId="331"/>
            <ac:spMk id="5555" creationId="{00000000-0000-0000-0000-000000000000}"/>
          </ac:spMkLst>
        </pc:spChg>
        <pc:spChg chg="del">
          <ac:chgData name="Robert Lalhlimpuia [Chillibreeze]" userId="8fe5ebfe-980d-441d-bbff-8c5265b810b8" providerId="ADAL" clId="{8604BD65-8997-4357-BA60-019791E2ED85}" dt="2024-06-12T10:54:59.404" v="2212" actId="21"/>
          <ac:spMkLst>
            <pc:docMk/>
            <pc:sldMk cId="0" sldId="331"/>
            <ac:spMk id="5556" creationId="{00000000-0000-0000-0000-000000000000}"/>
          </ac:spMkLst>
        </pc:spChg>
        <pc:spChg chg="del">
          <ac:chgData name="Robert Lalhlimpuia [Chillibreeze]" userId="8fe5ebfe-980d-441d-bbff-8c5265b810b8" providerId="ADAL" clId="{8604BD65-8997-4357-BA60-019791E2ED85}" dt="2024-06-12T10:54:58.177" v="2210" actId="21"/>
          <ac:spMkLst>
            <pc:docMk/>
            <pc:sldMk cId="0" sldId="331"/>
            <ac:spMk id="5557" creationId="{00000000-0000-0000-0000-000000000000}"/>
          </ac:spMkLst>
        </pc:spChg>
        <pc:spChg chg="del">
          <ac:chgData name="Robert Lalhlimpuia [Chillibreeze]" userId="8fe5ebfe-980d-441d-bbff-8c5265b810b8" providerId="ADAL" clId="{8604BD65-8997-4357-BA60-019791E2ED85}" dt="2024-06-12T10:56:00.929" v="2312" actId="21"/>
          <ac:spMkLst>
            <pc:docMk/>
            <pc:sldMk cId="0" sldId="331"/>
            <ac:spMk id="5577" creationId="{00000000-0000-0000-0000-000000000000}"/>
          </ac:spMkLst>
        </pc:spChg>
        <pc:spChg chg="mod ord topLvl">
          <ac:chgData name="Robert Lalhlimpuia [Chillibreeze]" userId="8fe5ebfe-980d-441d-bbff-8c5265b810b8" providerId="ADAL" clId="{8604BD65-8997-4357-BA60-019791E2ED85}" dt="2024-06-12T11:19:31.511" v="3682" actId="1037"/>
          <ac:spMkLst>
            <pc:docMk/>
            <pc:sldMk cId="0" sldId="331"/>
            <ac:spMk id="5578" creationId="{00000000-0000-0000-0000-000000000000}"/>
          </ac:spMkLst>
        </pc:spChg>
        <pc:spChg chg="mod ord topLvl">
          <ac:chgData name="Robert Lalhlimpuia [Chillibreeze]" userId="8fe5ebfe-980d-441d-bbff-8c5265b810b8" providerId="ADAL" clId="{8604BD65-8997-4357-BA60-019791E2ED85}" dt="2024-06-12T11:19:31.511" v="3682" actId="1037"/>
          <ac:spMkLst>
            <pc:docMk/>
            <pc:sldMk cId="0" sldId="331"/>
            <ac:spMk id="5579" creationId="{00000000-0000-0000-0000-000000000000}"/>
          </ac:spMkLst>
        </pc:spChg>
        <pc:spChg chg="mod ord topLvl">
          <ac:chgData name="Robert Lalhlimpuia [Chillibreeze]" userId="8fe5ebfe-980d-441d-bbff-8c5265b810b8" providerId="ADAL" clId="{8604BD65-8997-4357-BA60-019791E2ED85}" dt="2024-06-12T11:03:45.188" v="3173" actId="12789"/>
          <ac:spMkLst>
            <pc:docMk/>
            <pc:sldMk cId="0" sldId="331"/>
            <ac:spMk id="5580" creationId="{00000000-0000-0000-0000-000000000000}"/>
          </ac:spMkLst>
        </pc:spChg>
        <pc:spChg chg="mod ord topLvl">
          <ac:chgData name="Robert Lalhlimpuia [Chillibreeze]" userId="8fe5ebfe-980d-441d-bbff-8c5265b810b8" providerId="ADAL" clId="{8604BD65-8997-4357-BA60-019791E2ED85}" dt="2024-06-12T11:19:31.511" v="3682" actId="1037"/>
          <ac:spMkLst>
            <pc:docMk/>
            <pc:sldMk cId="0" sldId="331"/>
            <ac:spMk id="5581" creationId="{00000000-0000-0000-0000-000000000000}"/>
          </ac:spMkLst>
        </pc:spChg>
        <pc:spChg chg="mod ord topLvl">
          <ac:chgData name="Robert Lalhlimpuia [Chillibreeze]" userId="8fe5ebfe-980d-441d-bbff-8c5265b810b8" providerId="ADAL" clId="{8604BD65-8997-4357-BA60-019791E2ED85}" dt="2024-06-12T11:19:31.511" v="3682" actId="1037"/>
          <ac:spMkLst>
            <pc:docMk/>
            <pc:sldMk cId="0" sldId="331"/>
            <ac:spMk id="5582" creationId="{00000000-0000-0000-0000-000000000000}"/>
          </ac:spMkLst>
        </pc:spChg>
        <pc:spChg chg="mod ord topLvl">
          <ac:chgData name="Robert Lalhlimpuia [Chillibreeze]" userId="8fe5ebfe-980d-441d-bbff-8c5265b810b8" providerId="ADAL" clId="{8604BD65-8997-4357-BA60-019791E2ED85}" dt="2024-06-12T11:19:31.511" v="3682" actId="1037"/>
          <ac:spMkLst>
            <pc:docMk/>
            <pc:sldMk cId="0" sldId="331"/>
            <ac:spMk id="5583" creationId="{00000000-0000-0000-0000-000000000000}"/>
          </ac:spMkLst>
        </pc:spChg>
        <pc:spChg chg="del mod ord">
          <ac:chgData name="Robert Lalhlimpuia [Chillibreeze]" userId="8fe5ebfe-980d-441d-bbff-8c5265b810b8" providerId="ADAL" clId="{8604BD65-8997-4357-BA60-019791E2ED85}" dt="2024-06-12T10:58:30.708" v="2554" actId="21"/>
          <ac:spMkLst>
            <pc:docMk/>
            <pc:sldMk cId="0" sldId="331"/>
            <ac:spMk id="5587" creationId="{00000000-0000-0000-0000-000000000000}"/>
          </ac:spMkLst>
        </pc:spChg>
        <pc:spChg chg="mod ord topLvl">
          <ac:chgData name="Robert Lalhlimpuia [Chillibreeze]" userId="8fe5ebfe-980d-441d-bbff-8c5265b810b8" providerId="ADAL" clId="{8604BD65-8997-4357-BA60-019791E2ED85}" dt="2024-06-12T11:03:56.736" v="3174" actId="113"/>
          <ac:spMkLst>
            <pc:docMk/>
            <pc:sldMk cId="0" sldId="331"/>
            <ac:spMk id="5588" creationId="{00000000-0000-0000-0000-000000000000}"/>
          </ac:spMkLst>
        </pc:spChg>
        <pc:spChg chg="mod ord topLvl">
          <ac:chgData name="Robert Lalhlimpuia [Chillibreeze]" userId="8fe5ebfe-980d-441d-bbff-8c5265b810b8" providerId="ADAL" clId="{8604BD65-8997-4357-BA60-019791E2ED85}" dt="2024-06-12T11:04:02.348" v="3179" actId="113"/>
          <ac:spMkLst>
            <pc:docMk/>
            <pc:sldMk cId="0" sldId="331"/>
            <ac:spMk id="5589" creationId="{00000000-0000-0000-0000-000000000000}"/>
          </ac:spMkLst>
        </pc:spChg>
        <pc:spChg chg="mod ord topLvl">
          <ac:chgData name="Robert Lalhlimpuia [Chillibreeze]" userId="8fe5ebfe-980d-441d-bbff-8c5265b810b8" providerId="ADAL" clId="{8604BD65-8997-4357-BA60-019791E2ED85}" dt="2024-06-12T11:03:32.252" v="3170" actId="948"/>
          <ac:spMkLst>
            <pc:docMk/>
            <pc:sldMk cId="0" sldId="331"/>
            <ac:spMk id="5590" creationId="{00000000-0000-0000-0000-000000000000}"/>
          </ac:spMkLst>
        </pc:spChg>
        <pc:spChg chg="mod ord topLvl">
          <ac:chgData name="Robert Lalhlimpuia [Chillibreeze]" userId="8fe5ebfe-980d-441d-bbff-8c5265b810b8" providerId="ADAL" clId="{8604BD65-8997-4357-BA60-019791E2ED85}" dt="2024-06-12T11:03:57.769" v="3175" actId="113"/>
          <ac:spMkLst>
            <pc:docMk/>
            <pc:sldMk cId="0" sldId="331"/>
            <ac:spMk id="5592" creationId="{00000000-0000-0000-0000-000000000000}"/>
          </ac:spMkLst>
        </pc:spChg>
        <pc:spChg chg="mod ord topLvl">
          <ac:chgData name="Robert Lalhlimpuia [Chillibreeze]" userId="8fe5ebfe-980d-441d-bbff-8c5265b810b8" providerId="ADAL" clId="{8604BD65-8997-4357-BA60-019791E2ED85}" dt="2024-06-12T11:03:32.252" v="3170" actId="948"/>
          <ac:spMkLst>
            <pc:docMk/>
            <pc:sldMk cId="0" sldId="331"/>
            <ac:spMk id="5593" creationId="{00000000-0000-0000-0000-000000000000}"/>
          </ac:spMkLst>
        </pc:spChg>
        <pc:spChg chg="mod ord topLvl">
          <ac:chgData name="Robert Lalhlimpuia [Chillibreeze]" userId="8fe5ebfe-980d-441d-bbff-8c5265b810b8" providerId="ADAL" clId="{8604BD65-8997-4357-BA60-019791E2ED85}" dt="2024-06-12T11:03:58.838" v="3176" actId="113"/>
          <ac:spMkLst>
            <pc:docMk/>
            <pc:sldMk cId="0" sldId="331"/>
            <ac:spMk id="5595" creationId="{00000000-0000-0000-0000-000000000000}"/>
          </ac:spMkLst>
        </pc:spChg>
        <pc:spChg chg="mod ord topLvl">
          <ac:chgData name="Robert Lalhlimpuia [Chillibreeze]" userId="8fe5ebfe-980d-441d-bbff-8c5265b810b8" providerId="ADAL" clId="{8604BD65-8997-4357-BA60-019791E2ED85}" dt="2024-06-12T11:03:32.252" v="3170" actId="948"/>
          <ac:spMkLst>
            <pc:docMk/>
            <pc:sldMk cId="0" sldId="331"/>
            <ac:spMk id="5596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2T11:03:32.252" v="3170" actId="948"/>
          <ac:spMkLst>
            <pc:docMk/>
            <pc:sldMk cId="0" sldId="331"/>
            <ac:spMk id="5599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2T11:03:32.252" v="3170" actId="948"/>
          <ac:spMkLst>
            <pc:docMk/>
            <pc:sldMk cId="0" sldId="331"/>
            <ac:spMk id="5600" creationId="{00000000-0000-0000-0000-000000000000}"/>
          </ac:spMkLst>
        </pc:spChg>
        <pc:spChg chg="mod ord topLvl">
          <ac:chgData name="Robert Lalhlimpuia [Chillibreeze]" userId="8fe5ebfe-980d-441d-bbff-8c5265b810b8" providerId="ADAL" clId="{8604BD65-8997-4357-BA60-019791E2ED85}" dt="2024-06-12T11:04:01.288" v="3178" actId="113"/>
          <ac:spMkLst>
            <pc:docMk/>
            <pc:sldMk cId="0" sldId="331"/>
            <ac:spMk id="5601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2T11:03:32.252" v="3170" actId="948"/>
          <ac:spMkLst>
            <pc:docMk/>
            <pc:sldMk cId="0" sldId="331"/>
            <ac:spMk id="5603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2T11:03:32.252" v="3170" actId="948"/>
          <ac:spMkLst>
            <pc:docMk/>
            <pc:sldMk cId="0" sldId="331"/>
            <ac:spMk id="5604" creationId="{00000000-0000-0000-0000-000000000000}"/>
          </ac:spMkLst>
        </pc:spChg>
        <pc:spChg chg="mod ord topLvl">
          <ac:chgData name="Robert Lalhlimpuia [Chillibreeze]" userId="8fe5ebfe-980d-441d-bbff-8c5265b810b8" providerId="ADAL" clId="{8604BD65-8997-4357-BA60-019791E2ED85}" dt="2024-06-12T11:03:59.848" v="3177" actId="113"/>
          <ac:spMkLst>
            <pc:docMk/>
            <pc:sldMk cId="0" sldId="331"/>
            <ac:spMk id="5605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2T11:03:32.252" v="3170" actId="948"/>
          <ac:spMkLst>
            <pc:docMk/>
            <pc:sldMk cId="0" sldId="331"/>
            <ac:spMk id="5607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2T11:03:32.252" v="3170" actId="948"/>
          <ac:spMkLst>
            <pc:docMk/>
            <pc:sldMk cId="0" sldId="331"/>
            <ac:spMk id="5608" creationId="{00000000-0000-0000-0000-000000000000}"/>
          </ac:spMkLst>
        </pc:spChg>
        <pc:grpChg chg="add mod">
          <ac:chgData name="Robert Lalhlimpuia [Chillibreeze]" userId="8fe5ebfe-980d-441d-bbff-8c5265b810b8" providerId="ADAL" clId="{8604BD65-8997-4357-BA60-019791E2ED85}" dt="2024-06-12T10:55:09.079" v="2244"/>
          <ac:grpSpMkLst>
            <pc:docMk/>
            <pc:sldMk cId="0" sldId="331"/>
            <ac:grpSpMk id="9" creationId="{08BE66E8-6C18-3712-2967-E2790D0E4845}"/>
          </ac:grpSpMkLst>
        </pc:grpChg>
        <pc:grpChg chg="add mod ord">
          <ac:chgData name="Robert Lalhlimpuia [Chillibreeze]" userId="8fe5ebfe-980d-441d-bbff-8c5265b810b8" providerId="ADAL" clId="{8604BD65-8997-4357-BA60-019791E2ED85}" dt="2024-06-12T11:01:00.695" v="3113"/>
          <ac:grpSpMkLst>
            <pc:docMk/>
            <pc:sldMk cId="0" sldId="331"/>
            <ac:grpSpMk id="29" creationId="{7B66AD3D-F4CC-A722-E9FA-70B4FEBA1E4C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0:58:55.481" v="2620" actId="165"/>
          <ac:grpSpMkLst>
            <pc:docMk/>
            <pc:sldMk cId="0" sldId="331"/>
            <ac:grpSpMk id="5515" creationId="{771A49FE-F297-E4FE-2358-C86FE85E6D63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0:59:14.296" v="2623" actId="165"/>
          <ac:grpSpMkLst>
            <pc:docMk/>
            <pc:sldMk cId="0" sldId="331"/>
            <ac:grpSpMk id="5516" creationId="{8675222F-E9B0-416C-790C-D21D78031BA7}"/>
          </ac:grpSpMkLst>
        </pc:grpChg>
        <pc:grpChg chg="del">
          <ac:chgData name="Robert Lalhlimpuia [Chillibreeze]" userId="8fe5ebfe-980d-441d-bbff-8c5265b810b8" providerId="ADAL" clId="{8604BD65-8997-4357-BA60-019791E2ED85}" dt="2024-06-12T10:54:58.806" v="2211" actId="21"/>
          <ac:grpSpMkLst>
            <pc:docMk/>
            <pc:sldMk cId="0" sldId="331"/>
            <ac:grpSpMk id="5558" creationId="{00000000-0000-0000-0000-000000000000}"/>
          </ac:grpSpMkLst>
        </pc:grpChg>
        <pc:grpChg chg="mod ord topLvl">
          <ac:chgData name="Robert Lalhlimpuia [Chillibreeze]" userId="8fe5ebfe-980d-441d-bbff-8c5265b810b8" providerId="ADAL" clId="{8604BD65-8997-4357-BA60-019791E2ED85}" dt="2024-06-12T11:02:30.208" v="3159" actId="1076"/>
          <ac:grpSpMkLst>
            <pc:docMk/>
            <pc:sldMk cId="0" sldId="331"/>
            <ac:grpSpMk id="5598" creationId="{00000000-0000-0000-0000-000000000000}"/>
          </ac:grpSpMkLst>
        </pc:grpChg>
        <pc:grpChg chg="mod ord topLvl">
          <ac:chgData name="Robert Lalhlimpuia [Chillibreeze]" userId="8fe5ebfe-980d-441d-bbff-8c5265b810b8" providerId="ADAL" clId="{8604BD65-8997-4357-BA60-019791E2ED85}" dt="2024-06-12T11:02:30.208" v="3159" actId="1076"/>
          <ac:grpSpMkLst>
            <pc:docMk/>
            <pc:sldMk cId="0" sldId="331"/>
            <ac:grpSpMk id="5602" creationId="{00000000-0000-0000-0000-000000000000}"/>
          </ac:grpSpMkLst>
        </pc:grpChg>
        <pc:grpChg chg="mod ord topLvl">
          <ac:chgData name="Robert Lalhlimpuia [Chillibreeze]" userId="8fe5ebfe-980d-441d-bbff-8c5265b810b8" providerId="ADAL" clId="{8604BD65-8997-4357-BA60-019791E2ED85}" dt="2024-06-12T11:02:30.208" v="3159" actId="1076"/>
          <ac:grpSpMkLst>
            <pc:docMk/>
            <pc:sldMk cId="0" sldId="331"/>
            <ac:grpSpMk id="5606" creationId="{00000000-0000-0000-0000-000000000000}"/>
          </ac:grpSpMkLst>
        </pc:grpChg>
        <pc:graphicFrameChg chg="add mod ord modVis replST">
          <ac:chgData name="Robert Lalhlimpuia [Chillibreeze]" userId="8fe5ebfe-980d-441d-bbff-8c5265b810b8" providerId="ADAL" clId="{8604BD65-8997-4357-BA60-019791E2ED85}" dt="2024-06-12T11:01:00.706" v="3117"/>
          <ac:graphicFrameMkLst>
            <pc:docMk/>
            <pc:sldMk cId="0" sldId="331"/>
            <ac:graphicFrameMk id="3" creationId="{DB32229E-C48B-F32F-5D55-35B126D9C846}"/>
          </ac:graphicFrameMkLst>
        </pc:graphicFrameChg>
        <pc:picChg chg="add del mod">
          <ac:chgData name="Robert Lalhlimpuia [Chillibreeze]" userId="8fe5ebfe-980d-441d-bbff-8c5265b810b8" providerId="ADAL" clId="{8604BD65-8997-4357-BA60-019791E2ED85}" dt="2024-06-12T10:56:47.246" v="2343" actId="21"/>
          <ac:picMkLst>
            <pc:docMk/>
            <pc:sldMk cId="0" sldId="331"/>
            <ac:picMk id="48" creationId="{3AFC49B6-3EAB-5FCA-A39B-61BBB9F99B93}"/>
          </ac:picMkLst>
        </pc:picChg>
        <pc:cxnChg chg="mod ord topLvl">
          <ac:chgData name="Robert Lalhlimpuia [Chillibreeze]" userId="8fe5ebfe-980d-441d-bbff-8c5265b810b8" providerId="ADAL" clId="{8604BD65-8997-4357-BA60-019791E2ED85}" dt="2024-06-12T11:01:00.695" v="3073"/>
          <ac:cxnSpMkLst>
            <pc:docMk/>
            <pc:sldMk cId="0" sldId="331"/>
            <ac:cxnSpMk id="5584" creationId="{00000000-0000-0000-0000-000000000000}"/>
          </ac:cxnSpMkLst>
        </pc:cxnChg>
        <pc:cxnChg chg="mod ord topLvl">
          <ac:chgData name="Robert Lalhlimpuia [Chillibreeze]" userId="8fe5ebfe-980d-441d-bbff-8c5265b810b8" providerId="ADAL" clId="{8604BD65-8997-4357-BA60-019791E2ED85}" dt="2024-06-12T11:01:00.695" v="3075"/>
          <ac:cxnSpMkLst>
            <pc:docMk/>
            <pc:sldMk cId="0" sldId="331"/>
            <ac:cxnSpMk id="5585" creationId="{00000000-0000-0000-0000-000000000000}"/>
          </ac:cxnSpMkLst>
        </pc:cxnChg>
        <pc:cxnChg chg="mod ord topLvl">
          <ac:chgData name="Robert Lalhlimpuia [Chillibreeze]" userId="8fe5ebfe-980d-441d-bbff-8c5265b810b8" providerId="ADAL" clId="{8604BD65-8997-4357-BA60-019791E2ED85}" dt="2024-06-12T11:01:00.695" v="3077"/>
          <ac:cxnSpMkLst>
            <pc:docMk/>
            <pc:sldMk cId="0" sldId="331"/>
            <ac:cxnSpMk id="5586" creationId="{00000000-0000-0000-0000-000000000000}"/>
          </ac:cxnSpMkLst>
        </pc:cxnChg>
        <pc:cxnChg chg="mod ord topLvl">
          <ac:chgData name="Robert Lalhlimpuia [Chillibreeze]" userId="8fe5ebfe-980d-441d-bbff-8c5265b810b8" providerId="ADAL" clId="{8604BD65-8997-4357-BA60-019791E2ED85}" dt="2024-06-12T11:02:36.094" v="3160" actId="1076"/>
          <ac:cxnSpMkLst>
            <pc:docMk/>
            <pc:sldMk cId="0" sldId="331"/>
            <ac:cxnSpMk id="5591" creationId="{00000000-0000-0000-0000-000000000000}"/>
          </ac:cxnSpMkLst>
        </pc:cxnChg>
        <pc:cxnChg chg="mod ord topLvl">
          <ac:chgData name="Robert Lalhlimpuia [Chillibreeze]" userId="8fe5ebfe-980d-441d-bbff-8c5265b810b8" providerId="ADAL" clId="{8604BD65-8997-4357-BA60-019791E2ED85}" dt="2024-06-12T11:02:36.094" v="3160" actId="1076"/>
          <ac:cxnSpMkLst>
            <pc:docMk/>
            <pc:sldMk cId="0" sldId="331"/>
            <ac:cxnSpMk id="5594" creationId="{00000000-0000-0000-0000-000000000000}"/>
          </ac:cxnSpMkLst>
        </pc:cxnChg>
        <pc:cxnChg chg="mod ord topLvl">
          <ac:chgData name="Robert Lalhlimpuia [Chillibreeze]" userId="8fe5ebfe-980d-441d-bbff-8c5265b810b8" providerId="ADAL" clId="{8604BD65-8997-4357-BA60-019791E2ED85}" dt="2024-06-12T11:02:36.094" v="3160" actId="1076"/>
          <ac:cxnSpMkLst>
            <pc:docMk/>
            <pc:sldMk cId="0" sldId="331"/>
            <ac:cxnSpMk id="5597" creationId="{00000000-0000-0000-0000-000000000000}"/>
          </ac:cxnSpMkLst>
        </pc:cxnChg>
      </pc:sldChg>
      <pc:sldChg chg="addSp delSp modSp mod setBg modClrScheme delAnim modAnim chgLayout">
        <pc:chgData name="Robert Lalhlimpuia [Chillibreeze]" userId="8fe5ebfe-980d-441d-bbff-8c5265b810b8" providerId="ADAL" clId="{8604BD65-8997-4357-BA60-019791E2ED85}" dt="2024-06-12T10:54:36.122" v="2131" actId="21"/>
        <pc:sldMkLst>
          <pc:docMk/>
          <pc:sldMk cId="0" sldId="332"/>
        </pc:sldMkLst>
        <pc:spChg chg="del">
          <ac:chgData name="Robert Lalhlimpuia [Chillibreeze]" userId="8fe5ebfe-980d-441d-bbff-8c5265b810b8" providerId="ADAL" clId="{8604BD65-8997-4357-BA60-019791E2ED85}" dt="2024-06-12T10:27:38.115" v="649" actId="700"/>
          <ac:spMkLst>
            <pc:docMk/>
            <pc:sldMk cId="0" sldId="332"/>
            <ac:spMk id="2" creationId="{A5B268C4-DF99-EDF2-548A-4B5C5E173FE4}"/>
          </ac:spMkLst>
        </pc:spChg>
        <pc:spChg chg="add del mod">
          <ac:chgData name="Robert Lalhlimpuia [Chillibreeze]" userId="8fe5ebfe-980d-441d-bbff-8c5265b810b8" providerId="ADAL" clId="{8604BD65-8997-4357-BA60-019791E2ED85}" dt="2024-06-12T10:28:46.911" v="948" actId="21"/>
          <ac:spMkLst>
            <pc:docMk/>
            <pc:sldMk cId="0" sldId="332"/>
            <ac:spMk id="4" creationId="{BD2B1E38-1090-88CB-E386-7B1BADB244E5}"/>
          </ac:spMkLst>
        </pc:spChg>
        <pc:spChg chg="add del mod">
          <ac:chgData name="Robert Lalhlimpuia [Chillibreeze]" userId="8fe5ebfe-980d-441d-bbff-8c5265b810b8" providerId="ADAL" clId="{8604BD65-8997-4357-BA60-019791E2ED85}" dt="2024-06-12T10:29:53.042" v="973" actId="21"/>
          <ac:spMkLst>
            <pc:docMk/>
            <pc:sldMk cId="0" sldId="332"/>
            <ac:spMk id="6" creationId="{07210BDC-8ABD-65B0-735B-33EA4D06E344}"/>
          </ac:spMkLst>
        </pc:spChg>
        <pc:spChg chg="add mod ord">
          <ac:chgData name="Robert Lalhlimpuia [Chillibreeze]" userId="8fe5ebfe-980d-441d-bbff-8c5265b810b8" providerId="ADAL" clId="{8604BD65-8997-4357-BA60-019791E2ED85}" dt="2024-06-12T10:53:20.340" v="2104"/>
          <ac:spMkLst>
            <pc:docMk/>
            <pc:sldMk cId="0" sldId="332"/>
            <ac:spMk id="8" creationId="{B4E62F2B-7C71-DCFD-A58B-CDB26B26FDC0}"/>
          </ac:spMkLst>
        </pc:spChg>
        <pc:spChg chg="add mod ord">
          <ac:chgData name="Robert Lalhlimpuia [Chillibreeze]" userId="8fe5ebfe-980d-441d-bbff-8c5265b810b8" providerId="ADAL" clId="{8604BD65-8997-4357-BA60-019791E2ED85}" dt="2024-06-12T10:52:57.300" v="2015" actId="14100"/>
          <ac:spMkLst>
            <pc:docMk/>
            <pc:sldMk cId="0" sldId="332"/>
            <ac:spMk id="9" creationId="{2E1448B3-1090-5D85-E052-C45D0E95763C}"/>
          </ac:spMkLst>
        </pc:spChg>
        <pc:spChg chg="add mod ord">
          <ac:chgData name="Robert Lalhlimpuia [Chillibreeze]" userId="8fe5ebfe-980d-441d-bbff-8c5265b810b8" providerId="ADAL" clId="{8604BD65-8997-4357-BA60-019791E2ED85}" dt="2024-06-12T10:52:57.300" v="2015" actId="14100"/>
          <ac:spMkLst>
            <pc:docMk/>
            <pc:sldMk cId="0" sldId="332"/>
            <ac:spMk id="10" creationId="{EFFA300C-EEB9-8E3D-86E9-7A27EA730B4C}"/>
          </ac:spMkLst>
        </pc:spChg>
        <pc:spChg chg="add del mod">
          <ac:chgData name="Robert Lalhlimpuia [Chillibreeze]" userId="8fe5ebfe-980d-441d-bbff-8c5265b810b8" providerId="ADAL" clId="{8604BD65-8997-4357-BA60-019791E2ED85}" dt="2024-06-12T10:32:08.123" v="1364" actId="21"/>
          <ac:spMkLst>
            <pc:docMk/>
            <pc:sldMk cId="0" sldId="332"/>
            <ac:spMk id="11" creationId="{0BD85883-6102-41AF-F9F0-F807843A6342}"/>
          </ac:spMkLst>
        </pc:spChg>
        <pc:spChg chg="add mod">
          <ac:chgData name="Robert Lalhlimpuia [Chillibreeze]" userId="8fe5ebfe-980d-441d-bbff-8c5265b810b8" providerId="ADAL" clId="{8604BD65-8997-4357-BA60-019791E2ED85}" dt="2024-06-12T10:53:54.001" v="2116"/>
          <ac:spMkLst>
            <pc:docMk/>
            <pc:sldMk cId="0" sldId="332"/>
            <ac:spMk id="12" creationId="{D6E904ED-6C3B-4411-49D4-26501CA293E8}"/>
          </ac:spMkLst>
        </pc:spChg>
        <pc:spChg chg="add mod">
          <ac:chgData name="Robert Lalhlimpuia [Chillibreeze]" userId="8fe5ebfe-980d-441d-bbff-8c5265b810b8" providerId="ADAL" clId="{8604BD65-8997-4357-BA60-019791E2ED85}" dt="2024-06-12T10:53:57.092" v="2119"/>
          <ac:spMkLst>
            <pc:docMk/>
            <pc:sldMk cId="0" sldId="332"/>
            <ac:spMk id="13" creationId="{96A1525D-CA10-E546-6EBD-AA43C35C7BE5}"/>
          </ac:spMkLst>
        </pc:spChg>
        <pc:spChg chg="del mod ord">
          <ac:chgData name="Robert Lalhlimpuia [Chillibreeze]" userId="8fe5ebfe-980d-441d-bbff-8c5265b810b8" providerId="ADAL" clId="{8604BD65-8997-4357-BA60-019791E2ED85}" dt="2024-06-12T10:54:36.122" v="2131" actId="21"/>
          <ac:spMkLst>
            <pc:docMk/>
            <pc:sldMk cId="0" sldId="332"/>
            <ac:spMk id="5613" creationId="{00000000-0000-0000-0000-000000000000}"/>
          </ac:spMkLst>
        </pc:spChg>
        <pc:spChg chg="del mod ord">
          <ac:chgData name="Robert Lalhlimpuia [Chillibreeze]" userId="8fe5ebfe-980d-441d-bbff-8c5265b810b8" providerId="ADAL" clId="{8604BD65-8997-4357-BA60-019791E2ED85}" dt="2024-06-12T10:30:52.792" v="1041" actId="21"/>
          <ac:spMkLst>
            <pc:docMk/>
            <pc:sldMk cId="0" sldId="332"/>
            <ac:spMk id="5614" creationId="{00000000-0000-0000-0000-000000000000}"/>
          </ac:spMkLst>
        </pc:spChg>
        <pc:spChg chg="mod ord topLvl">
          <ac:chgData name="Robert Lalhlimpuia [Chillibreeze]" userId="8fe5ebfe-980d-441d-bbff-8c5265b810b8" providerId="ADAL" clId="{8604BD65-8997-4357-BA60-019791E2ED85}" dt="2024-06-12T10:51:25.665" v="1985" actId="1076"/>
          <ac:spMkLst>
            <pc:docMk/>
            <pc:sldMk cId="0" sldId="332"/>
            <ac:spMk id="5615" creationId="{00000000-0000-0000-0000-000000000000}"/>
          </ac:spMkLst>
        </pc:spChg>
        <pc:spChg chg="mod ord topLvl">
          <ac:chgData name="Robert Lalhlimpuia [Chillibreeze]" userId="8fe5ebfe-980d-441d-bbff-8c5265b810b8" providerId="ADAL" clId="{8604BD65-8997-4357-BA60-019791E2ED85}" dt="2024-06-12T10:45:24.691" v="1443" actId="1076"/>
          <ac:spMkLst>
            <pc:docMk/>
            <pc:sldMk cId="0" sldId="332"/>
            <ac:spMk id="5616" creationId="{00000000-0000-0000-0000-000000000000}"/>
          </ac:spMkLst>
        </pc:spChg>
        <pc:spChg chg="mod ord topLvl">
          <ac:chgData name="Robert Lalhlimpuia [Chillibreeze]" userId="8fe5ebfe-980d-441d-bbff-8c5265b810b8" providerId="ADAL" clId="{8604BD65-8997-4357-BA60-019791E2ED85}" dt="2024-06-12T10:32:54.617" v="1379" actId="1076"/>
          <ac:spMkLst>
            <pc:docMk/>
            <pc:sldMk cId="0" sldId="332"/>
            <ac:spMk id="5617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45:00.242" v="1389" actId="108"/>
          <ac:spMkLst>
            <pc:docMk/>
            <pc:sldMk cId="0" sldId="332"/>
            <ac:spMk id="5618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33:05.515" v="1384" actId="1076"/>
          <ac:spMkLst>
            <pc:docMk/>
            <pc:sldMk cId="0" sldId="332"/>
            <ac:spMk id="5619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46:10.633" v="1499" actId="207"/>
          <ac:spMkLst>
            <pc:docMk/>
            <pc:sldMk cId="0" sldId="332"/>
            <ac:spMk id="5620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45:01.924" v="1390" actId="108"/>
          <ac:spMkLst>
            <pc:docMk/>
            <pc:sldMk cId="0" sldId="332"/>
            <ac:spMk id="5621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33:05.515" v="1384" actId="1076"/>
          <ac:spMkLst>
            <pc:docMk/>
            <pc:sldMk cId="0" sldId="332"/>
            <ac:spMk id="5622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45:02.790" v="1391" actId="108"/>
          <ac:spMkLst>
            <pc:docMk/>
            <pc:sldMk cId="0" sldId="332"/>
            <ac:spMk id="5623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33:05.515" v="1384" actId="1076"/>
          <ac:spMkLst>
            <pc:docMk/>
            <pc:sldMk cId="0" sldId="332"/>
            <ac:spMk id="5624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48:42.532" v="1503" actId="207"/>
          <ac:spMkLst>
            <pc:docMk/>
            <pc:sldMk cId="0" sldId="332"/>
            <ac:spMk id="5625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47:24.091" v="1500" actId="207"/>
          <ac:spMkLst>
            <pc:docMk/>
            <pc:sldMk cId="0" sldId="332"/>
            <ac:spMk id="5626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51:55.695" v="1986" actId="1076"/>
          <ac:spMkLst>
            <pc:docMk/>
            <pc:sldMk cId="0" sldId="332"/>
            <ac:spMk id="5627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51:55.695" v="1986" actId="1076"/>
          <ac:spMkLst>
            <pc:docMk/>
            <pc:sldMk cId="0" sldId="332"/>
            <ac:spMk id="5628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51:55.695" v="1986" actId="1076"/>
          <ac:spMkLst>
            <pc:docMk/>
            <pc:sldMk cId="0" sldId="332"/>
            <ac:spMk id="5629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53:20.340" v="2103"/>
          <ac:spMkLst>
            <pc:docMk/>
            <pc:sldMk cId="0" sldId="332"/>
            <ac:spMk id="5630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54:15.296" v="2129"/>
          <ac:spMkLst>
            <pc:docMk/>
            <pc:sldMk cId="0" sldId="332"/>
            <ac:spMk id="5631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54:15.296" v="2129"/>
          <ac:spMkLst>
            <pc:docMk/>
            <pc:sldMk cId="0" sldId="332"/>
            <ac:spMk id="5632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54:15.296" v="2129"/>
          <ac:spMkLst>
            <pc:docMk/>
            <pc:sldMk cId="0" sldId="332"/>
            <ac:spMk id="5633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54:15.296" v="2129"/>
          <ac:spMkLst>
            <pc:docMk/>
            <pc:sldMk cId="0" sldId="332"/>
            <ac:spMk id="5634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45:52.712" v="1498" actId="207"/>
          <ac:spMkLst>
            <pc:docMk/>
            <pc:sldMk cId="0" sldId="332"/>
            <ac:spMk id="5635" creationId="{00000000-0000-0000-0000-000000000000}"/>
          </ac:spMkLst>
        </pc:spChg>
        <pc:spChg chg="del mod ord">
          <ac:chgData name="Robert Lalhlimpuia [Chillibreeze]" userId="8fe5ebfe-980d-441d-bbff-8c5265b810b8" providerId="ADAL" clId="{8604BD65-8997-4357-BA60-019791E2ED85}" dt="2024-06-12T10:53:51.629" v="2113" actId="21"/>
          <ac:spMkLst>
            <pc:docMk/>
            <pc:sldMk cId="0" sldId="332"/>
            <ac:spMk id="5636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54:15.296" v="2129"/>
          <ac:spMkLst>
            <pc:docMk/>
            <pc:sldMk cId="0" sldId="332"/>
            <ac:spMk id="5637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54:15.296" v="2129"/>
          <ac:spMkLst>
            <pc:docMk/>
            <pc:sldMk cId="0" sldId="332"/>
            <ac:spMk id="5638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54:15.296" v="2129"/>
          <ac:spMkLst>
            <pc:docMk/>
            <pc:sldMk cId="0" sldId="332"/>
            <ac:spMk id="5639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54:15.296" v="2129"/>
          <ac:spMkLst>
            <pc:docMk/>
            <pc:sldMk cId="0" sldId="332"/>
            <ac:spMk id="5640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45:45.691" v="1497"/>
          <ac:spMkLst>
            <pc:docMk/>
            <pc:sldMk cId="0" sldId="332"/>
            <ac:spMk id="5641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54:15.296" v="2129"/>
          <ac:spMkLst>
            <pc:docMk/>
            <pc:sldMk cId="0" sldId="332"/>
            <ac:spMk id="5642" creationId="{00000000-0000-0000-0000-000000000000}"/>
          </ac:spMkLst>
        </pc:spChg>
        <pc:spChg chg="del mod ord">
          <ac:chgData name="Robert Lalhlimpuia [Chillibreeze]" userId="8fe5ebfe-980d-441d-bbff-8c5265b810b8" providerId="ADAL" clId="{8604BD65-8997-4357-BA60-019791E2ED85}" dt="2024-06-12T10:53:51.629" v="2113" actId="21"/>
          <ac:spMkLst>
            <pc:docMk/>
            <pc:sldMk cId="0" sldId="332"/>
            <ac:spMk id="5643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54:15.296" v="2129"/>
          <ac:spMkLst>
            <pc:docMk/>
            <pc:sldMk cId="0" sldId="332"/>
            <ac:spMk id="5644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54:15.296" v="2129"/>
          <ac:spMkLst>
            <pc:docMk/>
            <pc:sldMk cId="0" sldId="332"/>
            <ac:spMk id="5645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54:15.296" v="2129"/>
          <ac:spMkLst>
            <pc:docMk/>
            <pc:sldMk cId="0" sldId="332"/>
            <ac:spMk id="5646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54:15.296" v="2129"/>
          <ac:spMkLst>
            <pc:docMk/>
            <pc:sldMk cId="0" sldId="332"/>
            <ac:spMk id="5647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48:48.024" v="1504" actId="207"/>
          <ac:spMkLst>
            <pc:docMk/>
            <pc:sldMk cId="0" sldId="332"/>
            <ac:spMk id="5648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54:15.296" v="2129"/>
          <ac:spMkLst>
            <pc:docMk/>
            <pc:sldMk cId="0" sldId="332"/>
            <ac:spMk id="5649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53:02.807" v="2025" actId="1036"/>
          <ac:spMkLst>
            <pc:docMk/>
            <pc:sldMk cId="0" sldId="332"/>
            <ac:spMk id="5650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53:02.807" v="2025" actId="1036"/>
          <ac:spMkLst>
            <pc:docMk/>
            <pc:sldMk cId="0" sldId="332"/>
            <ac:spMk id="5652" creationId="{00000000-0000-0000-0000-000000000000}"/>
          </ac:spMkLst>
        </pc:spChg>
        <pc:spChg chg="mod ord">
          <ac:chgData name="Robert Lalhlimpuia [Chillibreeze]" userId="8fe5ebfe-980d-441d-bbff-8c5265b810b8" providerId="ADAL" clId="{8604BD65-8997-4357-BA60-019791E2ED85}" dt="2024-06-12T10:53:02.807" v="2025" actId="1036"/>
          <ac:spMkLst>
            <pc:docMk/>
            <pc:sldMk cId="0" sldId="332"/>
            <ac:spMk id="5654" creationId="{00000000-0000-0000-0000-000000000000}"/>
          </ac:spMkLst>
        </pc:spChg>
        <pc:grpChg chg="add del mod">
          <ac:chgData name="Robert Lalhlimpuia [Chillibreeze]" userId="8fe5ebfe-980d-441d-bbff-8c5265b810b8" providerId="ADAL" clId="{8604BD65-8997-4357-BA60-019791E2ED85}" dt="2024-06-12T10:29:42.409" v="959" actId="165"/>
          <ac:grpSpMkLst>
            <pc:docMk/>
            <pc:sldMk cId="0" sldId="332"/>
            <ac:grpSpMk id="5" creationId="{5D2C9AB6-5126-F859-14A8-6A805BCE6CD9}"/>
          </ac:grpSpMkLst>
        </pc:grpChg>
        <pc:grpChg chg="add del mod">
          <ac:chgData name="Robert Lalhlimpuia [Chillibreeze]" userId="8fe5ebfe-980d-441d-bbff-8c5265b810b8" providerId="ADAL" clId="{8604BD65-8997-4357-BA60-019791E2ED85}" dt="2024-06-12T10:30:07.301" v="976" actId="165"/>
          <ac:grpSpMkLst>
            <pc:docMk/>
            <pc:sldMk cId="0" sldId="332"/>
            <ac:grpSpMk id="7" creationId="{80874B09-C11B-EE5B-A9AD-CA647504A0DE}"/>
          </ac:grpSpMkLst>
        </pc:grpChg>
        <pc:graphicFrameChg chg="add mod ord modVis replST">
          <ac:chgData name="Robert Lalhlimpuia [Chillibreeze]" userId="8fe5ebfe-980d-441d-bbff-8c5265b810b8" providerId="ADAL" clId="{8604BD65-8997-4357-BA60-019791E2ED85}" dt="2024-06-12T10:31:37.046" v="1345"/>
          <ac:graphicFrameMkLst>
            <pc:docMk/>
            <pc:sldMk cId="0" sldId="332"/>
            <ac:graphicFrameMk id="3" creationId="{3C05C607-8783-9EC0-DE4F-DC71FAEF0823}"/>
          </ac:graphicFrameMkLst>
        </pc:graphicFrameChg>
        <pc:picChg chg="add mod">
          <ac:chgData name="Robert Lalhlimpuia [Chillibreeze]" userId="8fe5ebfe-980d-441d-bbff-8c5265b810b8" providerId="ADAL" clId="{8604BD65-8997-4357-BA60-019791E2ED85}" dt="2024-06-12T10:54:33.747" v="2130"/>
          <ac:picMkLst>
            <pc:docMk/>
            <pc:sldMk cId="0" sldId="332"/>
            <ac:picMk id="14" creationId="{6ADC5EE6-73AE-5BB5-9235-595990433E91}"/>
          </ac:picMkLst>
        </pc:picChg>
        <pc:picChg chg="add mod">
          <ac:chgData name="Robert Lalhlimpuia [Chillibreeze]" userId="8fe5ebfe-980d-441d-bbff-8c5265b810b8" providerId="ADAL" clId="{8604BD65-8997-4357-BA60-019791E2ED85}" dt="2024-06-12T10:54:33.747" v="2130"/>
          <ac:picMkLst>
            <pc:docMk/>
            <pc:sldMk cId="0" sldId="332"/>
            <ac:picMk id="15" creationId="{6C2FFBDE-02A4-169F-44CC-89712B2FF06A}"/>
          </ac:picMkLst>
        </pc:picChg>
        <pc:cxnChg chg="del mod ord">
          <ac:chgData name="Robert Lalhlimpuia [Chillibreeze]" userId="8fe5ebfe-980d-441d-bbff-8c5265b810b8" providerId="ADAL" clId="{8604BD65-8997-4357-BA60-019791E2ED85}" dt="2024-06-12T10:31:38.856" v="1346" actId="21"/>
          <ac:cxnSpMkLst>
            <pc:docMk/>
            <pc:sldMk cId="0" sldId="332"/>
            <ac:cxnSpMk id="5651" creationId="{00000000-0000-0000-0000-000000000000}"/>
          </ac:cxnSpMkLst>
        </pc:cxnChg>
        <pc:cxnChg chg="del mod ord">
          <ac:chgData name="Robert Lalhlimpuia [Chillibreeze]" userId="8fe5ebfe-980d-441d-bbff-8c5265b810b8" providerId="ADAL" clId="{8604BD65-8997-4357-BA60-019791E2ED85}" dt="2024-06-12T10:31:38.856" v="1346" actId="21"/>
          <ac:cxnSpMkLst>
            <pc:docMk/>
            <pc:sldMk cId="0" sldId="332"/>
            <ac:cxnSpMk id="5653" creationId="{00000000-0000-0000-0000-000000000000}"/>
          </ac:cxnSpMkLst>
        </pc:cxnChg>
        <pc:cxnChg chg="del mod ord">
          <ac:chgData name="Robert Lalhlimpuia [Chillibreeze]" userId="8fe5ebfe-980d-441d-bbff-8c5265b810b8" providerId="ADAL" clId="{8604BD65-8997-4357-BA60-019791E2ED85}" dt="2024-06-12T10:31:38.856" v="1346" actId="21"/>
          <ac:cxnSpMkLst>
            <pc:docMk/>
            <pc:sldMk cId="0" sldId="332"/>
            <ac:cxnSpMk id="5655" creationId="{00000000-0000-0000-0000-000000000000}"/>
          </ac:cxnSpMkLst>
        </pc:cxnChg>
      </pc:sldChg>
      <pc:sldChg chg="addSp delSp modSp mod modClrScheme chgLayout">
        <pc:chgData name="Robert Lalhlimpuia [Chillibreeze]" userId="8fe5ebfe-980d-441d-bbff-8c5265b810b8" providerId="ADAL" clId="{8604BD65-8997-4357-BA60-019791E2ED85}" dt="2024-06-12T10:26:31.707" v="647" actId="21"/>
        <pc:sldMkLst>
          <pc:docMk/>
          <pc:sldMk cId="0" sldId="333"/>
        </pc:sldMkLst>
        <pc:spChg chg="add del mod ord">
          <ac:chgData name="Robert Lalhlimpuia [Chillibreeze]" userId="8fe5ebfe-980d-441d-bbff-8c5265b810b8" providerId="ADAL" clId="{8604BD65-8997-4357-BA60-019791E2ED85}" dt="2024-06-12T10:18:33.255" v="151" actId="700"/>
          <ac:spMkLst>
            <pc:docMk/>
            <pc:sldMk cId="0" sldId="333"/>
            <ac:spMk id="4" creationId="{C260754D-FB1A-2B48-6D38-7A1A33D2079B}"/>
          </ac:spMkLst>
        </pc:spChg>
        <pc:spChg chg="add del mod ord">
          <ac:chgData name="Robert Lalhlimpuia [Chillibreeze]" userId="8fe5ebfe-980d-441d-bbff-8c5265b810b8" providerId="ADAL" clId="{8604BD65-8997-4357-BA60-019791E2ED85}" dt="2024-06-12T10:18:34.680" v="156" actId="6264"/>
          <ac:spMkLst>
            <pc:docMk/>
            <pc:sldMk cId="0" sldId="333"/>
            <ac:spMk id="5" creationId="{AB94620B-536B-C10B-4AEB-84849C088613}"/>
          </ac:spMkLst>
        </pc:spChg>
        <pc:spChg chg="add del mod ord">
          <ac:chgData name="Robert Lalhlimpuia [Chillibreeze]" userId="8fe5ebfe-980d-441d-bbff-8c5265b810b8" providerId="ADAL" clId="{8604BD65-8997-4357-BA60-019791E2ED85}" dt="2024-06-12T10:18:34.837" v="157" actId="6264"/>
          <ac:spMkLst>
            <pc:docMk/>
            <pc:sldMk cId="0" sldId="333"/>
            <ac:spMk id="6" creationId="{604BC1C4-6CAA-A441-E362-3FF2A81DB421}"/>
          </ac:spMkLst>
        </pc:spChg>
        <pc:spChg chg="add del mod ord">
          <ac:chgData name="Robert Lalhlimpuia [Chillibreeze]" userId="8fe5ebfe-980d-441d-bbff-8c5265b810b8" providerId="ADAL" clId="{8604BD65-8997-4357-BA60-019791E2ED85}" dt="2024-06-12T10:18:34.993" v="158" actId="6264"/>
          <ac:spMkLst>
            <pc:docMk/>
            <pc:sldMk cId="0" sldId="333"/>
            <ac:spMk id="7" creationId="{D57C718A-C052-EFF2-ABA2-87B5BE11E928}"/>
          </ac:spMkLst>
        </pc:spChg>
        <pc:spChg chg="add del mod ord">
          <ac:chgData name="Robert Lalhlimpuia [Chillibreeze]" userId="8fe5ebfe-980d-441d-bbff-8c5265b810b8" providerId="ADAL" clId="{8604BD65-8997-4357-BA60-019791E2ED85}" dt="2024-06-12T10:18:46.554" v="164" actId="6264"/>
          <ac:spMkLst>
            <pc:docMk/>
            <pc:sldMk cId="0" sldId="333"/>
            <ac:spMk id="8" creationId="{DC08328F-7736-AC9E-2C3C-9C8C59323AE6}"/>
          </ac:spMkLst>
        </pc:spChg>
        <pc:spChg chg="add del mod">
          <ac:chgData name="Robert Lalhlimpuia [Chillibreeze]" userId="8fe5ebfe-980d-441d-bbff-8c5265b810b8" providerId="ADAL" clId="{8604BD65-8997-4357-BA60-019791E2ED85}" dt="2024-06-12T10:20:37.052" v="177" actId="21"/>
          <ac:spMkLst>
            <pc:docMk/>
            <pc:sldMk cId="0" sldId="333"/>
            <ac:spMk id="9" creationId="{9E861E1C-942A-D067-0092-4E3AD7EFA574}"/>
          </ac:spMkLst>
        </pc:spChg>
        <pc:spChg chg="add del mod ord">
          <ac:chgData name="Robert Lalhlimpuia [Chillibreeze]" userId="8fe5ebfe-980d-441d-bbff-8c5265b810b8" providerId="ADAL" clId="{8604BD65-8997-4357-BA60-019791E2ED85}" dt="2024-06-12T10:18:46.696" v="165" actId="6264"/>
          <ac:spMkLst>
            <pc:docMk/>
            <pc:sldMk cId="0" sldId="333"/>
            <ac:spMk id="10" creationId="{9EBA4E49-AA4E-6C8D-01B5-0F8E0C11A7FA}"/>
          </ac:spMkLst>
        </pc:spChg>
        <pc:spChg chg="add del mod ord">
          <ac:chgData name="Robert Lalhlimpuia [Chillibreeze]" userId="8fe5ebfe-980d-441d-bbff-8c5265b810b8" providerId="ADAL" clId="{8604BD65-8997-4357-BA60-019791E2ED85}" dt="2024-06-12T10:18:46.806" v="166" actId="6264"/>
          <ac:spMkLst>
            <pc:docMk/>
            <pc:sldMk cId="0" sldId="333"/>
            <ac:spMk id="11" creationId="{65C729FC-C31D-4A4C-6206-005EA5F05C1A}"/>
          </ac:spMkLst>
        </pc:spChg>
        <pc:spChg chg="add mod ord">
          <ac:chgData name="Robert Lalhlimpuia [Chillibreeze]" userId="8fe5ebfe-980d-441d-bbff-8c5265b810b8" providerId="ADAL" clId="{8604BD65-8997-4357-BA60-019791E2ED85}" dt="2024-06-12T10:26:23.846" v="633"/>
          <ac:spMkLst>
            <pc:docMk/>
            <pc:sldMk cId="0" sldId="333"/>
            <ac:spMk id="12" creationId="{F5F16749-375D-C1A6-DF95-A21FC54A2B0E}"/>
          </ac:spMkLst>
        </pc:spChg>
        <pc:spChg chg="add mod ord">
          <ac:chgData name="Robert Lalhlimpuia [Chillibreeze]" userId="8fe5ebfe-980d-441d-bbff-8c5265b810b8" providerId="ADAL" clId="{8604BD65-8997-4357-BA60-019791E2ED85}" dt="2024-06-12T10:26:23.846" v="635"/>
          <ac:spMkLst>
            <pc:docMk/>
            <pc:sldMk cId="0" sldId="333"/>
            <ac:spMk id="13" creationId="{19851D40-3552-358A-4BB1-5E8F1306BD0F}"/>
          </ac:spMkLst>
        </pc:spChg>
        <pc:spChg chg="add mod ord">
          <ac:chgData name="Robert Lalhlimpuia [Chillibreeze]" userId="8fe5ebfe-980d-441d-bbff-8c5265b810b8" providerId="ADAL" clId="{8604BD65-8997-4357-BA60-019791E2ED85}" dt="2024-06-12T10:26:23.846" v="637"/>
          <ac:spMkLst>
            <pc:docMk/>
            <pc:sldMk cId="0" sldId="333"/>
            <ac:spMk id="14" creationId="{78E91FA5-D854-222C-CF5D-A5AB743B2993}"/>
          </ac:spMkLst>
        </pc:spChg>
        <pc:spChg chg="add del mod modVis">
          <ac:chgData name="Robert Lalhlimpuia [Chillibreeze]" userId="8fe5ebfe-980d-441d-bbff-8c5265b810b8" providerId="ADAL" clId="{8604BD65-8997-4357-BA60-019791E2ED85}" dt="2024-06-12T10:21:44.721" v="246"/>
          <ac:spMkLst>
            <pc:docMk/>
            <pc:sldMk cId="0" sldId="333"/>
            <ac:spMk id="15" creationId="{E1C3B7F0-2D3A-2AB6-F8BA-EF02A44CA74C}"/>
          </ac:spMkLst>
        </pc:spChg>
        <pc:spChg chg="add del mod modVis">
          <ac:chgData name="Robert Lalhlimpuia [Chillibreeze]" userId="8fe5ebfe-980d-441d-bbff-8c5265b810b8" providerId="ADAL" clId="{8604BD65-8997-4357-BA60-019791E2ED85}" dt="2024-06-12T10:21:51.107" v="276"/>
          <ac:spMkLst>
            <pc:docMk/>
            <pc:sldMk cId="0" sldId="333"/>
            <ac:spMk id="16" creationId="{6BB5E909-F597-A264-C3CB-E73EF5C6A81A}"/>
          </ac:spMkLst>
        </pc:spChg>
        <pc:spChg chg="add del mod modVis">
          <ac:chgData name="Robert Lalhlimpuia [Chillibreeze]" userId="8fe5ebfe-980d-441d-bbff-8c5265b810b8" providerId="ADAL" clId="{8604BD65-8997-4357-BA60-019791E2ED85}" dt="2024-06-12T10:21:59.393" v="306"/>
          <ac:spMkLst>
            <pc:docMk/>
            <pc:sldMk cId="0" sldId="333"/>
            <ac:spMk id="17" creationId="{0D66CEA2-84A4-65A6-FA91-4351C1E06806}"/>
          </ac:spMkLst>
        </pc:spChg>
        <pc:spChg chg="mod">
          <ac:chgData name="Robert Lalhlimpuia [Chillibreeze]" userId="8fe5ebfe-980d-441d-bbff-8c5265b810b8" providerId="ADAL" clId="{8604BD65-8997-4357-BA60-019791E2ED85}" dt="2024-06-12T10:22:16.917" v="309"/>
          <ac:spMkLst>
            <pc:docMk/>
            <pc:sldMk cId="0" sldId="333"/>
            <ac:spMk id="19" creationId="{E744694C-E99B-89C7-5EC5-6EE5AA515C5B}"/>
          </ac:spMkLst>
        </pc:spChg>
        <pc:spChg chg="mod">
          <ac:chgData name="Robert Lalhlimpuia [Chillibreeze]" userId="8fe5ebfe-980d-441d-bbff-8c5265b810b8" providerId="ADAL" clId="{8604BD65-8997-4357-BA60-019791E2ED85}" dt="2024-06-12T10:22:16.917" v="309"/>
          <ac:spMkLst>
            <pc:docMk/>
            <pc:sldMk cId="0" sldId="333"/>
            <ac:spMk id="20" creationId="{7D99B680-A2C1-92D1-ADEB-D84BD6C8A3B6}"/>
          </ac:spMkLst>
        </pc:spChg>
        <pc:spChg chg="mod">
          <ac:chgData name="Robert Lalhlimpuia [Chillibreeze]" userId="8fe5ebfe-980d-441d-bbff-8c5265b810b8" providerId="ADAL" clId="{8604BD65-8997-4357-BA60-019791E2ED85}" dt="2024-06-12T10:22:16.917" v="309"/>
          <ac:spMkLst>
            <pc:docMk/>
            <pc:sldMk cId="0" sldId="333"/>
            <ac:spMk id="21" creationId="{139B617C-1FA9-AA82-BDE1-9AC684A2CDAB}"/>
          </ac:spMkLst>
        </pc:spChg>
        <pc:spChg chg="mod">
          <ac:chgData name="Robert Lalhlimpuia [Chillibreeze]" userId="8fe5ebfe-980d-441d-bbff-8c5265b810b8" providerId="ADAL" clId="{8604BD65-8997-4357-BA60-019791E2ED85}" dt="2024-06-12T10:22:16.917" v="309"/>
          <ac:spMkLst>
            <pc:docMk/>
            <pc:sldMk cId="0" sldId="333"/>
            <ac:spMk id="22" creationId="{C26C83AB-BA54-6D67-1377-1B99B1F3D309}"/>
          </ac:spMkLst>
        </pc:spChg>
        <pc:spChg chg="mod">
          <ac:chgData name="Robert Lalhlimpuia [Chillibreeze]" userId="8fe5ebfe-980d-441d-bbff-8c5265b810b8" providerId="ADAL" clId="{8604BD65-8997-4357-BA60-019791E2ED85}" dt="2024-06-12T10:22:16.917" v="309"/>
          <ac:spMkLst>
            <pc:docMk/>
            <pc:sldMk cId="0" sldId="333"/>
            <ac:spMk id="23" creationId="{5633288F-56E1-65A8-5272-98130E5A1DF4}"/>
          </ac:spMkLst>
        </pc:spChg>
        <pc:spChg chg="mod">
          <ac:chgData name="Robert Lalhlimpuia [Chillibreeze]" userId="8fe5ebfe-980d-441d-bbff-8c5265b810b8" providerId="ADAL" clId="{8604BD65-8997-4357-BA60-019791E2ED85}" dt="2024-06-12T10:22:16.917" v="309"/>
          <ac:spMkLst>
            <pc:docMk/>
            <pc:sldMk cId="0" sldId="333"/>
            <ac:spMk id="24" creationId="{BED3946E-ADEF-44A4-3BA6-4DDB5B4FE179}"/>
          </ac:spMkLst>
        </pc:spChg>
        <pc:spChg chg="mod">
          <ac:chgData name="Robert Lalhlimpuia [Chillibreeze]" userId="8fe5ebfe-980d-441d-bbff-8c5265b810b8" providerId="ADAL" clId="{8604BD65-8997-4357-BA60-019791E2ED85}" dt="2024-06-12T10:22:16.917" v="309"/>
          <ac:spMkLst>
            <pc:docMk/>
            <pc:sldMk cId="0" sldId="333"/>
            <ac:spMk id="25" creationId="{C03FD0A6-1801-D2AA-A3E5-55CBAD7DC09E}"/>
          </ac:spMkLst>
        </pc:spChg>
        <pc:spChg chg="mod">
          <ac:chgData name="Robert Lalhlimpuia [Chillibreeze]" userId="8fe5ebfe-980d-441d-bbff-8c5265b810b8" providerId="ADAL" clId="{8604BD65-8997-4357-BA60-019791E2ED85}" dt="2024-06-12T10:22:16.917" v="309"/>
          <ac:spMkLst>
            <pc:docMk/>
            <pc:sldMk cId="0" sldId="333"/>
            <ac:spMk id="26" creationId="{738A5988-AF24-3D9C-3532-26C5388A9A2E}"/>
          </ac:spMkLst>
        </pc:spChg>
        <pc:spChg chg="mod">
          <ac:chgData name="Robert Lalhlimpuia [Chillibreeze]" userId="8fe5ebfe-980d-441d-bbff-8c5265b810b8" providerId="ADAL" clId="{8604BD65-8997-4357-BA60-019791E2ED85}" dt="2024-06-12T10:22:16.917" v="309"/>
          <ac:spMkLst>
            <pc:docMk/>
            <pc:sldMk cId="0" sldId="333"/>
            <ac:spMk id="27" creationId="{848D4F15-E2F6-9F72-4850-38FDAC229A19}"/>
          </ac:spMkLst>
        </pc:spChg>
        <pc:spChg chg="mod">
          <ac:chgData name="Robert Lalhlimpuia [Chillibreeze]" userId="8fe5ebfe-980d-441d-bbff-8c5265b810b8" providerId="ADAL" clId="{8604BD65-8997-4357-BA60-019791E2ED85}" dt="2024-06-12T10:22:16.917" v="309"/>
          <ac:spMkLst>
            <pc:docMk/>
            <pc:sldMk cId="0" sldId="333"/>
            <ac:spMk id="28" creationId="{F4CB2F67-E48C-3A59-C76E-1FD74D66D9B1}"/>
          </ac:spMkLst>
        </pc:spChg>
        <pc:spChg chg="mod">
          <ac:chgData name="Robert Lalhlimpuia [Chillibreeze]" userId="8fe5ebfe-980d-441d-bbff-8c5265b810b8" providerId="ADAL" clId="{8604BD65-8997-4357-BA60-019791E2ED85}" dt="2024-06-12T10:22:16.917" v="309"/>
          <ac:spMkLst>
            <pc:docMk/>
            <pc:sldMk cId="0" sldId="333"/>
            <ac:spMk id="29" creationId="{A4A2F984-1093-6605-FF16-EBAE0703F6B7}"/>
          </ac:spMkLst>
        </pc:spChg>
        <pc:spChg chg="mod">
          <ac:chgData name="Robert Lalhlimpuia [Chillibreeze]" userId="8fe5ebfe-980d-441d-bbff-8c5265b810b8" providerId="ADAL" clId="{8604BD65-8997-4357-BA60-019791E2ED85}" dt="2024-06-12T10:22:16.917" v="309"/>
          <ac:spMkLst>
            <pc:docMk/>
            <pc:sldMk cId="0" sldId="333"/>
            <ac:spMk id="30" creationId="{0A50CBA4-9031-EEBE-3BE8-4A40651290A7}"/>
          </ac:spMkLst>
        </pc:spChg>
        <pc:spChg chg="mod">
          <ac:chgData name="Robert Lalhlimpuia [Chillibreeze]" userId="8fe5ebfe-980d-441d-bbff-8c5265b810b8" providerId="ADAL" clId="{8604BD65-8997-4357-BA60-019791E2ED85}" dt="2024-06-12T10:22:16.917" v="309"/>
          <ac:spMkLst>
            <pc:docMk/>
            <pc:sldMk cId="0" sldId="333"/>
            <ac:spMk id="31" creationId="{A84082CE-2765-CFB9-5439-1A88359E93FD}"/>
          </ac:spMkLst>
        </pc:spChg>
        <pc:spChg chg="mod">
          <ac:chgData name="Robert Lalhlimpuia [Chillibreeze]" userId="8fe5ebfe-980d-441d-bbff-8c5265b810b8" providerId="ADAL" clId="{8604BD65-8997-4357-BA60-019791E2ED85}" dt="2024-06-12T10:22:16.917" v="309"/>
          <ac:spMkLst>
            <pc:docMk/>
            <pc:sldMk cId="0" sldId="333"/>
            <ac:spMk id="32" creationId="{A6C1E7C5-F8B5-8548-869F-D63D93D6C6C9}"/>
          </ac:spMkLst>
        </pc:spChg>
        <pc:spChg chg="mod">
          <ac:chgData name="Robert Lalhlimpuia [Chillibreeze]" userId="8fe5ebfe-980d-441d-bbff-8c5265b810b8" providerId="ADAL" clId="{8604BD65-8997-4357-BA60-019791E2ED85}" dt="2024-06-12T10:22:16.917" v="309"/>
          <ac:spMkLst>
            <pc:docMk/>
            <pc:sldMk cId="0" sldId="333"/>
            <ac:spMk id="33" creationId="{EF78AD68-B301-2604-9630-E56B0DA702B7}"/>
          </ac:spMkLst>
        </pc:spChg>
        <pc:spChg chg="mod">
          <ac:chgData name="Robert Lalhlimpuia [Chillibreeze]" userId="8fe5ebfe-980d-441d-bbff-8c5265b810b8" providerId="ADAL" clId="{8604BD65-8997-4357-BA60-019791E2ED85}" dt="2024-06-12T10:22:16.917" v="309"/>
          <ac:spMkLst>
            <pc:docMk/>
            <pc:sldMk cId="0" sldId="333"/>
            <ac:spMk id="34" creationId="{F19CC34C-065A-4D7A-F203-65FDD0ED5331}"/>
          </ac:spMkLst>
        </pc:spChg>
        <pc:spChg chg="mod">
          <ac:chgData name="Robert Lalhlimpuia [Chillibreeze]" userId="8fe5ebfe-980d-441d-bbff-8c5265b810b8" providerId="ADAL" clId="{8604BD65-8997-4357-BA60-019791E2ED85}" dt="2024-06-12T10:22:16.917" v="309"/>
          <ac:spMkLst>
            <pc:docMk/>
            <pc:sldMk cId="0" sldId="333"/>
            <ac:spMk id="35" creationId="{6B177614-1FEE-C973-51D1-ECF07A137CA6}"/>
          </ac:spMkLst>
        </pc:spChg>
        <pc:spChg chg="mod">
          <ac:chgData name="Robert Lalhlimpuia [Chillibreeze]" userId="8fe5ebfe-980d-441d-bbff-8c5265b810b8" providerId="ADAL" clId="{8604BD65-8997-4357-BA60-019791E2ED85}" dt="2024-06-12T10:22:16.917" v="309"/>
          <ac:spMkLst>
            <pc:docMk/>
            <pc:sldMk cId="0" sldId="333"/>
            <ac:spMk id="36" creationId="{EA73A478-D437-3A41-1948-772B9BF293CD}"/>
          </ac:spMkLst>
        </pc:spChg>
        <pc:spChg chg="add del mod modVis">
          <ac:chgData name="Robert Lalhlimpuia [Chillibreeze]" userId="8fe5ebfe-980d-441d-bbff-8c5265b810b8" providerId="ADAL" clId="{8604BD65-8997-4357-BA60-019791E2ED85}" dt="2024-06-12T10:22:40.601" v="350"/>
          <ac:spMkLst>
            <pc:docMk/>
            <pc:sldMk cId="0" sldId="333"/>
            <ac:spMk id="37" creationId="{5DE4062D-D84F-EE3D-7410-E46EE5AD2590}"/>
          </ac:spMkLst>
        </pc:spChg>
        <pc:spChg chg="add mod ord">
          <ac:chgData name="Robert Lalhlimpuia [Chillibreeze]" userId="8fe5ebfe-980d-441d-bbff-8c5265b810b8" providerId="ADAL" clId="{8604BD65-8997-4357-BA60-019791E2ED85}" dt="2024-06-12T10:26:23.846" v="641"/>
          <ac:spMkLst>
            <pc:docMk/>
            <pc:sldMk cId="0" sldId="333"/>
            <ac:spMk id="38" creationId="{7D1AD4BA-3712-DF34-0BBC-8D60E1A59990}"/>
          </ac:spMkLst>
        </pc:spChg>
        <pc:spChg chg="add del mod">
          <ac:chgData name="Robert Lalhlimpuia [Chillibreeze]" userId="8fe5ebfe-980d-441d-bbff-8c5265b810b8" providerId="ADAL" clId="{8604BD65-8997-4357-BA60-019791E2ED85}" dt="2024-06-12T10:24:23.670" v="468" actId="6264"/>
          <ac:spMkLst>
            <pc:docMk/>
            <pc:sldMk cId="0" sldId="333"/>
            <ac:spMk id="40" creationId="{9CCD2A6A-443B-E83E-5F5E-197454BF376C}"/>
          </ac:spMkLst>
        </pc:spChg>
        <pc:spChg chg="add del mod">
          <ac:chgData name="Robert Lalhlimpuia [Chillibreeze]" userId="8fe5ebfe-980d-441d-bbff-8c5265b810b8" providerId="ADAL" clId="{8604BD65-8997-4357-BA60-019791E2ED85}" dt="2024-06-12T10:24:24.016" v="469" actId="6264"/>
          <ac:spMkLst>
            <pc:docMk/>
            <pc:sldMk cId="0" sldId="333"/>
            <ac:spMk id="41" creationId="{D158269F-68EC-E6E6-4572-DEBA040EDA2E}"/>
          </ac:spMkLst>
        </pc:spChg>
        <pc:spChg chg="add del mod">
          <ac:chgData name="Robert Lalhlimpuia [Chillibreeze]" userId="8fe5ebfe-980d-441d-bbff-8c5265b810b8" providerId="ADAL" clId="{8604BD65-8997-4357-BA60-019791E2ED85}" dt="2024-06-12T10:24:24.031" v="470" actId="6264"/>
          <ac:spMkLst>
            <pc:docMk/>
            <pc:sldMk cId="0" sldId="333"/>
            <ac:spMk id="42" creationId="{1DC2BEC1-9397-401E-E18D-A4212646C4DD}"/>
          </ac:spMkLst>
        </pc:spChg>
        <pc:spChg chg="add del mod">
          <ac:chgData name="Robert Lalhlimpuia [Chillibreeze]" userId="8fe5ebfe-980d-441d-bbff-8c5265b810b8" providerId="ADAL" clId="{8604BD65-8997-4357-BA60-019791E2ED85}" dt="2024-06-12T10:24:24.378" v="471" actId="6264"/>
          <ac:spMkLst>
            <pc:docMk/>
            <pc:sldMk cId="0" sldId="333"/>
            <ac:spMk id="43" creationId="{26EA4AFB-77C0-6F3E-C7DC-9EC4D66A4791}"/>
          </ac:spMkLst>
        </pc:spChg>
        <pc:spChg chg="add del mod">
          <ac:chgData name="Robert Lalhlimpuia [Chillibreeze]" userId="8fe5ebfe-980d-441d-bbff-8c5265b810b8" providerId="ADAL" clId="{8604BD65-8997-4357-BA60-019791E2ED85}" dt="2024-06-12T10:24:24.378" v="472" actId="6264"/>
          <ac:spMkLst>
            <pc:docMk/>
            <pc:sldMk cId="0" sldId="333"/>
            <ac:spMk id="44" creationId="{6F500E8E-1CC8-E793-A2AC-021B3409EEFC}"/>
          </ac:spMkLst>
        </pc:spChg>
        <pc:spChg chg="add del mod">
          <ac:chgData name="Robert Lalhlimpuia [Chillibreeze]" userId="8fe5ebfe-980d-441d-bbff-8c5265b810b8" providerId="ADAL" clId="{8604BD65-8997-4357-BA60-019791E2ED85}" dt="2024-06-12T10:24:24.488" v="473" actId="6264"/>
          <ac:spMkLst>
            <pc:docMk/>
            <pc:sldMk cId="0" sldId="333"/>
            <ac:spMk id="45" creationId="{022C7C81-0CF1-A6F1-20CE-D5BAFCFAD499}"/>
          </ac:spMkLst>
        </pc:spChg>
        <pc:spChg chg="add del mod">
          <ac:chgData name="Robert Lalhlimpuia [Chillibreeze]" userId="8fe5ebfe-980d-441d-bbff-8c5265b810b8" providerId="ADAL" clId="{8604BD65-8997-4357-BA60-019791E2ED85}" dt="2024-06-12T10:24:24.665" v="474" actId="6264"/>
          <ac:spMkLst>
            <pc:docMk/>
            <pc:sldMk cId="0" sldId="333"/>
            <ac:spMk id="46" creationId="{8BBF2BF0-D22E-0BB4-EA7F-2C7A49F160FD}"/>
          </ac:spMkLst>
        </pc:spChg>
        <pc:spChg chg="add del mod">
          <ac:chgData name="Robert Lalhlimpuia [Chillibreeze]" userId="8fe5ebfe-980d-441d-bbff-8c5265b810b8" providerId="ADAL" clId="{8604BD65-8997-4357-BA60-019791E2ED85}" dt="2024-06-12T10:24:24.834" v="475" actId="6264"/>
          <ac:spMkLst>
            <pc:docMk/>
            <pc:sldMk cId="0" sldId="333"/>
            <ac:spMk id="47" creationId="{435432C9-D86D-78ED-0CFE-664DB6574887}"/>
          </ac:spMkLst>
        </pc:spChg>
        <pc:spChg chg="add del mod modVis">
          <ac:chgData name="Robert Lalhlimpuia [Chillibreeze]" userId="8fe5ebfe-980d-441d-bbff-8c5265b810b8" providerId="ADAL" clId="{8604BD65-8997-4357-BA60-019791E2ED85}" dt="2024-06-12T10:24:25.466" v="502"/>
          <ac:spMkLst>
            <pc:docMk/>
            <pc:sldMk cId="0" sldId="333"/>
            <ac:spMk id="48" creationId="{37974E82-A8CB-589E-C8C2-5A8FF477FFB3}"/>
          </ac:spMkLst>
        </pc:spChg>
        <pc:spChg chg="add del mod modVis">
          <ac:chgData name="Robert Lalhlimpuia [Chillibreeze]" userId="8fe5ebfe-980d-441d-bbff-8c5265b810b8" providerId="ADAL" clId="{8604BD65-8997-4357-BA60-019791E2ED85}" dt="2024-06-12T10:24:28.227" v="532"/>
          <ac:spMkLst>
            <pc:docMk/>
            <pc:sldMk cId="0" sldId="333"/>
            <ac:spMk id="49" creationId="{9E1B80B0-D8CE-3650-9974-2914ECE092F7}"/>
          </ac:spMkLst>
        </pc:spChg>
        <pc:spChg chg="add del mod modVis">
          <ac:chgData name="Robert Lalhlimpuia [Chillibreeze]" userId="8fe5ebfe-980d-441d-bbff-8c5265b810b8" providerId="ADAL" clId="{8604BD65-8997-4357-BA60-019791E2ED85}" dt="2024-06-12T10:24:34.403" v="563"/>
          <ac:spMkLst>
            <pc:docMk/>
            <pc:sldMk cId="0" sldId="333"/>
            <ac:spMk id="50" creationId="{55F32E31-E6CF-FBAF-F452-F5FBABF62F58}"/>
          </ac:spMkLst>
        </pc:spChg>
        <pc:spChg chg="add del mod modVis">
          <ac:chgData name="Robert Lalhlimpuia [Chillibreeze]" userId="8fe5ebfe-980d-441d-bbff-8c5265b810b8" providerId="ADAL" clId="{8604BD65-8997-4357-BA60-019791E2ED85}" dt="2024-06-12T10:24:39.287" v="593"/>
          <ac:spMkLst>
            <pc:docMk/>
            <pc:sldMk cId="0" sldId="333"/>
            <ac:spMk id="51" creationId="{16B7B77E-2B3C-1D0C-B48A-983BC1CF914E}"/>
          </ac:spMkLst>
        </pc:spChg>
        <pc:spChg chg="add del mod modVis">
          <ac:chgData name="Robert Lalhlimpuia [Chillibreeze]" userId="8fe5ebfe-980d-441d-bbff-8c5265b810b8" providerId="ADAL" clId="{8604BD65-8997-4357-BA60-019791E2ED85}" dt="2024-06-12T10:24:41.879" v="623"/>
          <ac:spMkLst>
            <pc:docMk/>
            <pc:sldMk cId="0" sldId="333"/>
            <ac:spMk id="52" creationId="{3C8FDBB0-33DF-4696-E5D2-97A4F407A377}"/>
          </ac:spMkLst>
        </pc:spChg>
        <pc:spChg chg="add del mod ord">
          <ac:chgData name="Robert Lalhlimpuia [Chillibreeze]" userId="8fe5ebfe-980d-441d-bbff-8c5265b810b8" providerId="ADAL" clId="{8604BD65-8997-4357-BA60-019791E2ED85}" dt="2024-06-12T10:26:31.707" v="647" actId="21"/>
          <ac:spMkLst>
            <pc:docMk/>
            <pc:sldMk cId="0" sldId="333"/>
            <ac:spMk id="53" creationId="{33F775AC-5EA6-5997-6E79-825547C7BE5D}"/>
          </ac:spMkLst>
        </pc:spChg>
        <pc:spChg chg="del">
          <ac:chgData name="Robert Lalhlimpuia [Chillibreeze]" userId="8fe5ebfe-980d-441d-bbff-8c5265b810b8" providerId="ADAL" clId="{8604BD65-8997-4357-BA60-019791E2ED85}" dt="2024-06-12T10:18:28.595" v="150" actId="21"/>
          <ac:spMkLst>
            <pc:docMk/>
            <pc:sldMk cId="0" sldId="333"/>
            <ac:spMk id="5660" creationId="{00000000-0000-0000-0000-000000000000}"/>
          </ac:spMkLst>
        </pc:spChg>
        <pc:spChg chg="del">
          <ac:chgData name="Robert Lalhlimpuia [Chillibreeze]" userId="8fe5ebfe-980d-441d-bbff-8c5265b810b8" providerId="ADAL" clId="{8604BD65-8997-4357-BA60-019791E2ED85}" dt="2024-06-12T10:18:28.595" v="150" actId="21"/>
          <ac:spMkLst>
            <pc:docMk/>
            <pc:sldMk cId="0" sldId="333"/>
            <ac:spMk id="5661" creationId="{00000000-0000-0000-0000-000000000000}"/>
          </ac:spMkLst>
        </pc:spChg>
        <pc:spChg chg="del">
          <ac:chgData name="Robert Lalhlimpuia [Chillibreeze]" userId="8fe5ebfe-980d-441d-bbff-8c5265b810b8" providerId="ADAL" clId="{8604BD65-8997-4357-BA60-019791E2ED85}" dt="2024-06-12T10:18:28.595" v="150" actId="21"/>
          <ac:spMkLst>
            <pc:docMk/>
            <pc:sldMk cId="0" sldId="333"/>
            <ac:spMk id="5662" creationId="{00000000-0000-0000-0000-000000000000}"/>
          </ac:spMkLst>
        </pc:spChg>
        <pc:spChg chg="del">
          <ac:chgData name="Robert Lalhlimpuia [Chillibreeze]" userId="8fe5ebfe-980d-441d-bbff-8c5265b810b8" providerId="ADAL" clId="{8604BD65-8997-4357-BA60-019791E2ED85}" dt="2024-06-12T10:18:28.595" v="150" actId="21"/>
          <ac:spMkLst>
            <pc:docMk/>
            <pc:sldMk cId="0" sldId="333"/>
            <ac:spMk id="5663" creationId="{00000000-0000-0000-0000-000000000000}"/>
          </ac:spMkLst>
        </pc:spChg>
        <pc:spChg chg="del">
          <ac:chgData name="Robert Lalhlimpuia [Chillibreeze]" userId="8fe5ebfe-980d-441d-bbff-8c5265b810b8" providerId="ADAL" clId="{8604BD65-8997-4357-BA60-019791E2ED85}" dt="2024-06-12T10:18:28.595" v="150" actId="21"/>
          <ac:spMkLst>
            <pc:docMk/>
            <pc:sldMk cId="0" sldId="333"/>
            <ac:spMk id="5683" creationId="{00000000-0000-0000-0000-000000000000}"/>
          </ac:spMkLst>
        </pc:spChg>
        <pc:grpChg chg="add mod ord">
          <ac:chgData name="Robert Lalhlimpuia [Chillibreeze]" userId="8fe5ebfe-980d-441d-bbff-8c5265b810b8" providerId="ADAL" clId="{8604BD65-8997-4357-BA60-019791E2ED85}" dt="2024-06-12T10:26:23.846" v="639"/>
          <ac:grpSpMkLst>
            <pc:docMk/>
            <pc:sldMk cId="0" sldId="333"/>
            <ac:grpSpMk id="18" creationId="{472502EA-2CE1-324B-922A-A9EC26D055A8}"/>
          </ac:grpSpMkLst>
        </pc:grpChg>
        <pc:grpChg chg="del">
          <ac:chgData name="Robert Lalhlimpuia [Chillibreeze]" userId="8fe5ebfe-980d-441d-bbff-8c5265b810b8" providerId="ADAL" clId="{8604BD65-8997-4357-BA60-019791E2ED85}" dt="2024-06-12T10:18:28.595" v="150" actId="21"/>
          <ac:grpSpMkLst>
            <pc:docMk/>
            <pc:sldMk cId="0" sldId="333"/>
            <ac:grpSpMk id="5664" creationId="{00000000-0000-0000-0000-000000000000}"/>
          </ac:grpSpMkLst>
        </pc:grpChg>
        <pc:graphicFrameChg chg="add mod ord modVis replST">
          <ac:chgData name="Robert Lalhlimpuia [Chillibreeze]" userId="8fe5ebfe-980d-441d-bbff-8c5265b810b8" providerId="ADAL" clId="{8604BD65-8997-4357-BA60-019791E2ED85}" dt="2024-06-12T10:26:23.846" v="645"/>
          <ac:graphicFrameMkLst>
            <pc:docMk/>
            <pc:sldMk cId="0" sldId="333"/>
            <ac:graphicFrameMk id="2" creationId="{EF4EDFA3-7321-C153-2058-9119CFE683F1}"/>
          </ac:graphicFrameMkLst>
        </pc:graphicFrameChg>
        <pc:picChg chg="add del mod ord">
          <ac:chgData name="Robert Lalhlimpuia [Chillibreeze]" userId="8fe5ebfe-980d-441d-bbff-8c5265b810b8" providerId="ADAL" clId="{8604BD65-8997-4357-BA60-019791E2ED85}" dt="2024-06-12T10:23:49.168" v="447" actId="21"/>
          <ac:picMkLst>
            <pc:docMk/>
            <pc:sldMk cId="0" sldId="333"/>
            <ac:picMk id="39" creationId="{49D67273-94C5-C972-333C-52F712C3C512}"/>
          </ac:picMkLst>
        </pc:picChg>
      </pc:sldChg>
      <pc:sldChg chg="addSp delSp modSp mod modClrScheme chgLayout">
        <pc:chgData name="Robert Lalhlimpuia [Chillibreeze]" userId="8fe5ebfe-980d-441d-bbff-8c5265b810b8" providerId="ADAL" clId="{8604BD65-8997-4357-BA60-019791E2ED85}" dt="2024-06-12T10:14:02.457" v="147"/>
        <pc:sldMkLst>
          <pc:docMk/>
          <pc:sldMk cId="0" sldId="334"/>
        </pc:sldMkLst>
        <pc:spChg chg="del">
          <ac:chgData name="Robert Lalhlimpuia [Chillibreeze]" userId="8fe5ebfe-980d-441d-bbff-8c5265b810b8" providerId="ADAL" clId="{8604BD65-8997-4357-BA60-019791E2ED85}" dt="2024-06-12T10:13:32.517" v="59" actId="21"/>
          <ac:spMkLst>
            <pc:docMk/>
            <pc:sldMk cId="0" sldId="334"/>
            <ac:spMk id="2" creationId="{49FE86DB-1789-AB82-20EB-7C7BE908C3D8}"/>
          </ac:spMkLst>
        </pc:spChg>
        <pc:spChg chg="add del mod ord">
          <ac:chgData name="Robert Lalhlimpuia [Chillibreeze]" userId="8fe5ebfe-980d-441d-bbff-8c5265b810b8" providerId="ADAL" clId="{8604BD65-8997-4357-BA60-019791E2ED85}" dt="2024-06-12T10:13:42.018" v="78" actId="700"/>
          <ac:spMkLst>
            <pc:docMk/>
            <pc:sldMk cId="0" sldId="334"/>
            <ac:spMk id="3" creationId="{707DD394-0C6B-60C4-9A9E-66CDADFF0ED4}"/>
          </ac:spMkLst>
        </pc:spChg>
        <pc:spChg chg="add del mod ord">
          <ac:chgData name="Robert Lalhlimpuia [Chillibreeze]" userId="8fe5ebfe-980d-441d-bbff-8c5265b810b8" providerId="ADAL" clId="{8604BD65-8997-4357-BA60-019791E2ED85}" dt="2024-06-12T10:13:42.018" v="78" actId="700"/>
          <ac:spMkLst>
            <pc:docMk/>
            <pc:sldMk cId="0" sldId="334"/>
            <ac:spMk id="4" creationId="{F0182AA3-C5E9-EC3A-2828-360DB47727E5}"/>
          </ac:spMkLst>
        </pc:spChg>
        <pc:spChg chg="add del mod ord">
          <ac:chgData name="Robert Lalhlimpuia [Chillibreeze]" userId="8fe5ebfe-980d-441d-bbff-8c5265b810b8" providerId="ADAL" clId="{8604BD65-8997-4357-BA60-019791E2ED85}" dt="2024-06-12T10:13:59.093" v="83" actId="700"/>
          <ac:spMkLst>
            <pc:docMk/>
            <pc:sldMk cId="0" sldId="334"/>
            <ac:spMk id="6" creationId="{317C7EE0-5223-F5FB-2371-8D0FE92F182D}"/>
          </ac:spMkLst>
        </pc:spChg>
        <pc:spChg chg="add del mod ord">
          <ac:chgData name="Robert Lalhlimpuia [Chillibreeze]" userId="8fe5ebfe-980d-441d-bbff-8c5265b810b8" providerId="ADAL" clId="{8604BD65-8997-4357-BA60-019791E2ED85}" dt="2024-06-12T10:13:59.093" v="83" actId="700"/>
          <ac:spMkLst>
            <pc:docMk/>
            <pc:sldMk cId="0" sldId="334"/>
            <ac:spMk id="7" creationId="{FCE92C9C-E2AD-D918-9B4E-7E1A8C949BF5}"/>
          </ac:spMkLst>
        </pc:spChg>
        <pc:spChg chg="add mod ord">
          <ac:chgData name="Robert Lalhlimpuia [Chillibreeze]" userId="8fe5ebfe-980d-441d-bbff-8c5265b810b8" providerId="ADAL" clId="{8604BD65-8997-4357-BA60-019791E2ED85}" dt="2024-06-12T10:14:02.441" v="119" actId="948"/>
          <ac:spMkLst>
            <pc:docMk/>
            <pc:sldMk cId="0" sldId="334"/>
            <ac:spMk id="8" creationId="{F201CFC5-90E2-A6E9-2747-07AC8C856B5F}"/>
          </ac:spMkLst>
        </pc:spChg>
        <pc:spChg chg="add mod ord">
          <ac:chgData name="Robert Lalhlimpuia [Chillibreeze]" userId="8fe5ebfe-980d-441d-bbff-8c5265b810b8" providerId="ADAL" clId="{8604BD65-8997-4357-BA60-019791E2ED85}" dt="2024-06-12T10:13:59.093" v="83" actId="700"/>
          <ac:spMkLst>
            <pc:docMk/>
            <pc:sldMk cId="0" sldId="334"/>
            <ac:spMk id="9" creationId="{37365CEA-59DE-850A-73E9-780FBC5A502A}"/>
          </ac:spMkLst>
        </pc:spChg>
        <pc:spChg chg="add del mod modVis">
          <ac:chgData name="Robert Lalhlimpuia [Chillibreeze]" userId="8fe5ebfe-980d-441d-bbff-8c5265b810b8" providerId="ADAL" clId="{8604BD65-8997-4357-BA60-019791E2ED85}" dt="2024-06-12T10:14:00.759" v="115"/>
          <ac:spMkLst>
            <pc:docMk/>
            <pc:sldMk cId="0" sldId="334"/>
            <ac:spMk id="10" creationId="{BE5E8D8E-14ED-0F51-5A5B-8D92B7293803}"/>
          </ac:spMkLst>
        </pc:spChg>
        <pc:spChg chg="add del mod modVis">
          <ac:chgData name="Robert Lalhlimpuia [Chillibreeze]" userId="8fe5ebfe-980d-441d-bbff-8c5265b810b8" providerId="ADAL" clId="{8604BD65-8997-4357-BA60-019791E2ED85}" dt="2024-06-12T10:14:02.441" v="145"/>
          <ac:spMkLst>
            <pc:docMk/>
            <pc:sldMk cId="0" sldId="334"/>
            <ac:spMk id="11" creationId="{D3C69BA7-B133-E781-B0A9-43A27FCB755B}"/>
          </ac:spMkLst>
        </pc:spChg>
        <pc:spChg chg="del">
          <ac:chgData name="Robert Lalhlimpuia [Chillibreeze]" userId="8fe5ebfe-980d-441d-bbff-8c5265b810b8" providerId="ADAL" clId="{8604BD65-8997-4357-BA60-019791E2ED85}" dt="2024-06-12T10:13:32.517" v="59" actId="21"/>
          <ac:spMkLst>
            <pc:docMk/>
            <pc:sldMk cId="0" sldId="334"/>
            <ac:spMk id="5688" creationId="{00000000-0000-0000-0000-000000000000}"/>
          </ac:spMkLst>
        </pc:spChg>
        <pc:spChg chg="del">
          <ac:chgData name="Robert Lalhlimpuia [Chillibreeze]" userId="8fe5ebfe-980d-441d-bbff-8c5265b810b8" providerId="ADAL" clId="{8604BD65-8997-4357-BA60-019791E2ED85}" dt="2024-06-12T10:13:32.517" v="59" actId="21"/>
          <ac:spMkLst>
            <pc:docMk/>
            <pc:sldMk cId="0" sldId="334"/>
            <ac:spMk id="5689" creationId="{00000000-0000-0000-0000-000000000000}"/>
          </ac:spMkLst>
        </pc:spChg>
        <pc:graphicFrameChg chg="add mod ord modVis replST">
          <ac:chgData name="Robert Lalhlimpuia [Chillibreeze]" userId="8fe5ebfe-980d-441d-bbff-8c5265b810b8" providerId="ADAL" clId="{8604BD65-8997-4357-BA60-019791E2ED85}" dt="2024-06-12T10:14:02.457" v="147"/>
          <ac:graphicFrameMkLst>
            <pc:docMk/>
            <pc:sldMk cId="0" sldId="334"/>
            <ac:graphicFrameMk id="5" creationId="{F70C039E-A95A-5EFF-04B4-272B8402E898}"/>
          </ac:graphicFrameMkLst>
        </pc:graphicFrameChg>
        <pc:picChg chg="del">
          <ac:chgData name="Robert Lalhlimpuia [Chillibreeze]" userId="8fe5ebfe-980d-441d-bbff-8c5265b810b8" providerId="ADAL" clId="{8604BD65-8997-4357-BA60-019791E2ED85}" dt="2024-06-12T10:13:32.517" v="59" actId="21"/>
          <ac:picMkLst>
            <pc:docMk/>
            <pc:sldMk cId="0" sldId="334"/>
            <ac:picMk id="5690" creationId="{00000000-0000-0000-0000-000000000000}"/>
          </ac:picMkLst>
        </pc:picChg>
      </pc:sldChg>
      <pc:sldChg chg="add del">
        <pc:chgData name="Robert Lalhlimpuia [Chillibreeze]" userId="8fe5ebfe-980d-441d-bbff-8c5265b810b8" providerId="ADAL" clId="{8604BD65-8997-4357-BA60-019791E2ED85}" dt="2024-06-12T10:26:38.826" v="648" actId="2696"/>
        <pc:sldMkLst>
          <pc:docMk/>
          <pc:sldMk cId="916038440" sldId="335"/>
        </pc:sldMkLst>
      </pc:sldChg>
      <pc:sldChg chg="add del">
        <pc:chgData name="Robert Lalhlimpuia [Chillibreeze]" userId="8fe5ebfe-980d-441d-bbff-8c5265b810b8" providerId="ADAL" clId="{8604BD65-8997-4357-BA60-019791E2ED85}" dt="2024-06-12T10:14:09.642" v="148" actId="2696"/>
        <pc:sldMkLst>
          <pc:docMk/>
          <pc:sldMk cId="2778917172" sldId="335"/>
        </pc:sldMkLst>
      </pc:sldChg>
      <pc:sldChg chg="addSp delSp modSp add del mod">
        <pc:chgData name="Robert Lalhlimpuia [Chillibreeze]" userId="8fe5ebfe-980d-441d-bbff-8c5265b810b8" providerId="ADAL" clId="{8604BD65-8997-4357-BA60-019791E2ED85}" dt="2024-06-12T13:24:46.044" v="5829" actId="2696"/>
        <pc:sldMkLst>
          <pc:docMk/>
          <pc:sldMk cId="3074128025" sldId="335"/>
        </pc:sldMkLst>
        <pc:spChg chg="add del mod">
          <ac:chgData name="Robert Lalhlimpuia [Chillibreeze]" userId="8fe5ebfe-980d-441d-bbff-8c5265b810b8" providerId="ADAL" clId="{8604BD65-8997-4357-BA60-019791E2ED85}" dt="2024-06-12T11:51:32.831" v="4518" actId="21"/>
          <ac:spMkLst>
            <pc:docMk/>
            <pc:sldMk cId="3074128025" sldId="335"/>
            <ac:spMk id="2" creationId="{FF15BDD2-BBFD-7561-9EDF-2F26C572311F}"/>
          </ac:spMkLst>
        </pc:spChg>
        <pc:spChg chg="mod">
          <ac:chgData name="Robert Lalhlimpuia [Chillibreeze]" userId="8fe5ebfe-980d-441d-bbff-8c5265b810b8" providerId="ADAL" clId="{8604BD65-8997-4357-BA60-019791E2ED85}" dt="2024-06-12T13:04:48.279" v="5382" actId="165"/>
          <ac:spMkLst>
            <pc:docMk/>
            <pc:sldMk cId="3074128025" sldId="335"/>
            <ac:spMk id="5427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2T13:04:48.279" v="5382" actId="165"/>
          <ac:spMkLst>
            <pc:docMk/>
            <pc:sldMk cId="3074128025" sldId="335"/>
            <ac:spMk id="5429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2T13:04:48.279" v="5382" actId="165"/>
          <ac:spMkLst>
            <pc:docMk/>
            <pc:sldMk cId="3074128025" sldId="335"/>
            <ac:spMk id="5430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2T13:04:48.279" v="5382" actId="165"/>
          <ac:spMkLst>
            <pc:docMk/>
            <pc:sldMk cId="3074128025" sldId="335"/>
            <ac:spMk id="5432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2T13:04:48.279" v="5382" actId="165"/>
          <ac:spMkLst>
            <pc:docMk/>
            <pc:sldMk cId="3074128025" sldId="335"/>
            <ac:spMk id="5433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2T13:04:48.279" v="5382" actId="165"/>
          <ac:spMkLst>
            <pc:docMk/>
            <pc:sldMk cId="3074128025" sldId="335"/>
            <ac:spMk id="5434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2T13:04:48.279" v="5382" actId="165"/>
          <ac:spMkLst>
            <pc:docMk/>
            <pc:sldMk cId="3074128025" sldId="335"/>
            <ac:spMk id="5435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2T13:04:48.279" v="5382" actId="165"/>
          <ac:spMkLst>
            <pc:docMk/>
            <pc:sldMk cId="3074128025" sldId="335"/>
            <ac:spMk id="5436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2T13:04:48.279" v="5382" actId="165"/>
          <ac:spMkLst>
            <pc:docMk/>
            <pc:sldMk cId="3074128025" sldId="335"/>
            <ac:spMk id="5437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2T13:04:48.279" v="5382" actId="165"/>
          <ac:spMkLst>
            <pc:docMk/>
            <pc:sldMk cId="3074128025" sldId="335"/>
            <ac:spMk id="5438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2T13:04:48.279" v="5382" actId="165"/>
          <ac:spMkLst>
            <pc:docMk/>
            <pc:sldMk cId="3074128025" sldId="335"/>
            <ac:spMk id="5439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2T13:04:48.279" v="5382" actId="165"/>
          <ac:spMkLst>
            <pc:docMk/>
            <pc:sldMk cId="3074128025" sldId="335"/>
            <ac:spMk id="5440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2T13:04:48.279" v="5382" actId="165"/>
          <ac:spMkLst>
            <pc:docMk/>
            <pc:sldMk cId="3074128025" sldId="335"/>
            <ac:spMk id="5441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2T13:04:48.279" v="5382" actId="165"/>
          <ac:spMkLst>
            <pc:docMk/>
            <pc:sldMk cId="3074128025" sldId="335"/>
            <ac:spMk id="5442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2T13:04:48.279" v="5382" actId="165"/>
          <ac:spMkLst>
            <pc:docMk/>
            <pc:sldMk cId="3074128025" sldId="335"/>
            <ac:spMk id="5443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2T13:04:48.279" v="5382" actId="165"/>
          <ac:spMkLst>
            <pc:docMk/>
            <pc:sldMk cId="3074128025" sldId="335"/>
            <ac:spMk id="5444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2T13:04:48.279" v="5382" actId="165"/>
          <ac:spMkLst>
            <pc:docMk/>
            <pc:sldMk cId="3074128025" sldId="335"/>
            <ac:spMk id="5445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2T13:04:48.279" v="5382" actId="165"/>
          <ac:spMkLst>
            <pc:docMk/>
            <pc:sldMk cId="3074128025" sldId="335"/>
            <ac:spMk id="5446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2T13:04:48.279" v="5382" actId="165"/>
          <ac:spMkLst>
            <pc:docMk/>
            <pc:sldMk cId="3074128025" sldId="335"/>
            <ac:spMk id="5447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2T13:04:48.279" v="5382" actId="165"/>
          <ac:spMkLst>
            <pc:docMk/>
            <pc:sldMk cId="3074128025" sldId="335"/>
            <ac:spMk id="5448" creationId="{00000000-0000-0000-0000-000000000000}"/>
          </ac:spMkLst>
        </pc:spChg>
        <pc:spChg chg="mod">
          <ac:chgData name="Robert Lalhlimpuia [Chillibreeze]" userId="8fe5ebfe-980d-441d-bbff-8c5265b810b8" providerId="ADAL" clId="{8604BD65-8997-4357-BA60-019791E2ED85}" dt="2024-06-12T13:04:48.279" v="5382" actId="165"/>
          <ac:spMkLst>
            <pc:docMk/>
            <pc:sldMk cId="3074128025" sldId="335"/>
            <ac:spMk id="5449" creationId="{00000000-0000-0000-0000-000000000000}"/>
          </ac:spMkLst>
        </pc:spChg>
        <pc:spChg chg="mod topLvl">
          <ac:chgData name="Robert Lalhlimpuia [Chillibreeze]" userId="8fe5ebfe-980d-441d-bbff-8c5265b810b8" providerId="ADAL" clId="{8604BD65-8997-4357-BA60-019791E2ED85}" dt="2024-06-12T13:04:48.279" v="5382" actId="165"/>
          <ac:spMkLst>
            <pc:docMk/>
            <pc:sldMk cId="3074128025" sldId="335"/>
            <ac:spMk id="5450" creationId="{00000000-0000-0000-0000-000000000000}"/>
          </ac:spMkLst>
        </pc:spChg>
        <pc:grpChg chg="del">
          <ac:chgData name="Robert Lalhlimpuia [Chillibreeze]" userId="8fe5ebfe-980d-441d-bbff-8c5265b810b8" providerId="ADAL" clId="{8604BD65-8997-4357-BA60-019791E2ED85}" dt="2024-06-12T13:04:48.279" v="5382" actId="165"/>
          <ac:grpSpMkLst>
            <pc:docMk/>
            <pc:sldMk cId="3074128025" sldId="335"/>
            <ac:grpSpMk id="5425" creationId="{00000000-0000-0000-0000-000000000000}"/>
          </ac:grpSpMkLst>
        </pc:grpChg>
        <pc:grpChg chg="mod topLvl">
          <ac:chgData name="Robert Lalhlimpuia [Chillibreeze]" userId="8fe5ebfe-980d-441d-bbff-8c5265b810b8" providerId="ADAL" clId="{8604BD65-8997-4357-BA60-019791E2ED85}" dt="2024-06-12T13:04:48.279" v="5382" actId="165"/>
          <ac:grpSpMkLst>
            <pc:docMk/>
            <pc:sldMk cId="3074128025" sldId="335"/>
            <ac:grpSpMk id="5426" creationId="{00000000-0000-0000-0000-000000000000}"/>
          </ac:grpSpMkLst>
        </pc:grpChg>
        <pc:grpChg chg="mod">
          <ac:chgData name="Robert Lalhlimpuia [Chillibreeze]" userId="8fe5ebfe-980d-441d-bbff-8c5265b810b8" providerId="ADAL" clId="{8604BD65-8997-4357-BA60-019791E2ED85}" dt="2024-06-12T13:04:48.279" v="5382" actId="165"/>
          <ac:grpSpMkLst>
            <pc:docMk/>
            <pc:sldMk cId="3074128025" sldId="335"/>
            <ac:grpSpMk id="5428" creationId="{00000000-0000-0000-0000-000000000000}"/>
          </ac:grpSpMkLst>
        </pc:grpChg>
        <pc:grpChg chg="mod topLvl">
          <ac:chgData name="Robert Lalhlimpuia [Chillibreeze]" userId="8fe5ebfe-980d-441d-bbff-8c5265b810b8" providerId="ADAL" clId="{8604BD65-8997-4357-BA60-019791E2ED85}" dt="2024-06-12T13:04:48.279" v="5382" actId="165"/>
          <ac:grpSpMkLst>
            <pc:docMk/>
            <pc:sldMk cId="3074128025" sldId="335"/>
            <ac:grpSpMk id="5431" creationId="{00000000-0000-0000-0000-000000000000}"/>
          </ac:grpSpMkLst>
        </pc:grpChg>
        <pc:picChg chg="mod">
          <ac:chgData name="Robert Lalhlimpuia [Chillibreeze]" userId="8fe5ebfe-980d-441d-bbff-8c5265b810b8" providerId="ADAL" clId="{8604BD65-8997-4357-BA60-019791E2ED85}" dt="2024-06-12T13:22:50.952" v="5788" actId="1076"/>
          <ac:picMkLst>
            <pc:docMk/>
            <pc:sldMk cId="3074128025" sldId="335"/>
            <ac:picMk id="28" creationId="{00000000-0000-0000-0000-000000000000}"/>
          </ac:picMkLst>
        </pc:picChg>
        <pc:picChg chg="del mod topLvl">
          <ac:chgData name="Robert Lalhlimpuia [Chillibreeze]" userId="8fe5ebfe-980d-441d-bbff-8c5265b810b8" providerId="ADAL" clId="{8604BD65-8997-4357-BA60-019791E2ED85}" dt="2024-06-12T13:04:50.334" v="5383" actId="21"/>
          <ac:picMkLst>
            <pc:docMk/>
            <pc:sldMk cId="3074128025" sldId="335"/>
            <ac:picMk id="5451" creationId="{00000000-0000-0000-0000-000000000000}"/>
          </ac:picMkLst>
        </pc:picChg>
      </pc:sldChg>
      <pc:sldChg chg="add del ord">
        <pc:chgData name="Robert Lalhlimpuia [Chillibreeze]" userId="8fe5ebfe-980d-441d-bbff-8c5265b810b8" providerId="ADAL" clId="{8604BD65-8997-4357-BA60-019791E2ED85}" dt="2024-06-12T11:30:08.403" v="4274" actId="2696"/>
        <pc:sldMkLst>
          <pc:docMk/>
          <pc:sldMk cId="3845425000" sldId="335"/>
        </pc:sldMkLst>
      </pc:sldChg>
      <pc:sldChg chg="add del">
        <pc:chgData name="Robert Lalhlimpuia [Chillibreeze]" userId="8fe5ebfe-980d-441d-bbff-8c5265b810b8" providerId="ADAL" clId="{8604BD65-8997-4357-BA60-019791E2ED85}" dt="2024-06-12T12:33:06.975" v="4539" actId="2890"/>
        <pc:sldMkLst>
          <pc:docMk/>
          <pc:sldMk cId="1555603825" sldId="337"/>
        </pc:sldMkLst>
      </pc:sldChg>
      <pc:sldMasterChg chg="addSp delSp modSp mod modSldLayout">
        <pc:chgData name="Robert Lalhlimpuia [Chillibreeze]" userId="8fe5ebfe-980d-441d-bbff-8c5265b810b8" providerId="ADAL" clId="{8604BD65-8997-4357-BA60-019791E2ED85}" dt="2024-06-12T10:57:58.636" v="2422" actId="1076"/>
        <pc:sldMasterMkLst>
          <pc:docMk/>
          <pc:sldMasterMk cId="3812057535" sldId="2147484018"/>
        </pc:sldMasterMkLst>
        <pc:spChg chg="mod">
          <ac:chgData name="Robert Lalhlimpuia [Chillibreeze]" userId="8fe5ebfe-980d-441d-bbff-8c5265b810b8" providerId="ADAL" clId="{8604BD65-8997-4357-BA60-019791E2ED85}" dt="2024-06-12T09:43:37.468" v="1" actId="948"/>
          <ac:spMkLst>
            <pc:docMk/>
            <pc:sldMasterMk cId="3812057535" sldId="2147484018"/>
            <ac:spMk id="2" creationId="{00000000-0000-0000-0000-000000000000}"/>
          </ac:spMkLst>
        </pc:spChg>
        <pc:spChg chg="add del mod modVis">
          <ac:chgData name="Robert Lalhlimpuia [Chillibreeze]" userId="8fe5ebfe-980d-441d-bbff-8c5265b810b8" providerId="ADAL" clId="{8604BD65-8997-4357-BA60-019791E2ED85}" dt="2024-06-12T09:43:37.767" v="42"/>
          <ac:spMkLst>
            <pc:docMk/>
            <pc:sldMasterMk cId="3812057535" sldId="2147484018"/>
            <ac:spMk id="4" creationId="{DA170341-6048-7C56-7D6C-43F9D9958773}"/>
          </ac:spMkLst>
        </pc:spChg>
        <pc:graphicFrameChg chg="add mod ord modVis replST">
          <ac:chgData name="Robert Lalhlimpuia [Chillibreeze]" userId="8fe5ebfe-980d-441d-bbff-8c5265b810b8" providerId="ADAL" clId="{8604BD65-8997-4357-BA60-019791E2ED85}" dt="2024-06-12T09:43:37.928" v="57"/>
          <ac:graphicFrameMkLst>
            <pc:docMk/>
            <pc:sldMasterMk cId="3812057535" sldId="2147484018"/>
            <ac:graphicFrameMk id="5" creationId="{B4316AFC-6BD9-0FA2-F90B-B66F2327B7C5}"/>
          </ac:graphicFrameMkLst>
        </pc:graphicFrameChg>
        <pc:sldLayoutChg chg="modSp mod">
          <pc:chgData name="Robert Lalhlimpuia [Chillibreeze]" userId="8fe5ebfe-980d-441d-bbff-8c5265b810b8" providerId="ADAL" clId="{8604BD65-8997-4357-BA60-019791E2ED85}" dt="2024-06-12T10:57:58.636" v="2422" actId="1076"/>
          <pc:sldLayoutMkLst>
            <pc:docMk/>
            <pc:sldMasterMk cId="3812057535" sldId="2147484018"/>
            <pc:sldLayoutMk cId="3292565261" sldId="2147484020"/>
          </pc:sldLayoutMkLst>
          <pc:picChg chg="mod">
            <ac:chgData name="Robert Lalhlimpuia [Chillibreeze]" userId="8fe5ebfe-980d-441d-bbff-8c5265b810b8" providerId="ADAL" clId="{8604BD65-8997-4357-BA60-019791E2ED85}" dt="2024-06-12T10:57:58.636" v="2422" actId="1076"/>
            <ac:picMkLst>
              <pc:docMk/>
              <pc:sldMasterMk cId="3812057535" sldId="2147484018"/>
              <pc:sldLayoutMk cId="3292565261" sldId="2147484020"/>
              <ac:picMk id="72" creationId="{00000000-0000-0000-0000-000000000000}"/>
            </ac:picMkLst>
          </pc:picChg>
        </pc:sldLayoutChg>
      </pc:sldMasterChg>
    </pc:docChg>
  </pc:docChgLst>
  <pc:docChgLst>
    <pc:chgData name="Caleb McKee (Spur Reply LLC)" userId="S::v-calebmckee@microsoft.com::5145c54b-3bee-44b2-9bd9-11a2e34ae4b9" providerId="AD" clId="Web-{7BABCE05-7AFC-82A5-6C70-5B4C4FE1789A}"/>
    <pc:docChg chg="modSld">
      <pc:chgData name="Caleb McKee (Spur Reply LLC)" userId="S::v-calebmckee@microsoft.com::5145c54b-3bee-44b2-9bd9-11a2e34ae4b9" providerId="AD" clId="Web-{7BABCE05-7AFC-82A5-6C70-5B4C4FE1789A}" dt="2024-06-14T21:50:18.297" v="1"/>
      <pc:docMkLst>
        <pc:docMk/>
      </pc:docMkLst>
      <pc:sldChg chg="modSp">
        <pc:chgData name="Caleb McKee (Spur Reply LLC)" userId="S::v-calebmckee@microsoft.com::5145c54b-3bee-44b2-9bd9-11a2e34ae4b9" providerId="AD" clId="Web-{7BABCE05-7AFC-82A5-6C70-5B4C4FE1789A}" dt="2024-06-14T21:50:18.297" v="1"/>
        <pc:sldMkLst>
          <pc:docMk/>
          <pc:sldMk cId="2206910207" sldId="2147478516"/>
        </pc:sldMkLst>
        <pc:graphicFrameChg chg="mod modGraphic">
          <ac:chgData name="Caleb McKee (Spur Reply LLC)" userId="S::v-calebmckee@microsoft.com::5145c54b-3bee-44b2-9bd9-11a2e34ae4b9" providerId="AD" clId="Web-{7BABCE05-7AFC-82A5-6C70-5B4C4FE1789A}" dt="2024-06-14T21:50:18.297" v="1"/>
          <ac:graphicFrameMkLst>
            <pc:docMk/>
            <pc:sldMk cId="2206910207" sldId="2147478516"/>
            <ac:graphicFrameMk id="2" creationId="{2E68E14A-E4C7-AAED-C5E8-FD220EBC8A7C}"/>
          </ac:graphicFrameMkLst>
        </pc:graphicFrameChg>
      </pc:sldChg>
    </pc:docChg>
  </pc:docChgLst>
  <pc:docChgLst>
    <pc:chgData name="Deimonmi Nongrum [Chillibreeze]" userId="e937f645-8c95-42a9-a298-dfd645e9a76a" providerId="ADAL" clId="{750E9A50-ACEA-48D3-B2C6-355D5EC56876}"/>
    <pc:docChg chg="undo custSel addSld delSld modSld addMainMaster delMainMaster">
      <pc:chgData name="Deimonmi Nongrum [Chillibreeze]" userId="e937f645-8c95-42a9-a298-dfd645e9a76a" providerId="ADAL" clId="{750E9A50-ACEA-48D3-B2C6-355D5EC56876}" dt="2024-06-13T14:52:42.868" v="7379" actId="1036"/>
      <pc:docMkLst>
        <pc:docMk/>
      </pc:docMkLst>
      <pc:sldChg chg="addSp delSp modSp mod modClrScheme chgLayout">
        <pc:chgData name="Deimonmi Nongrum [Chillibreeze]" userId="e937f645-8c95-42a9-a298-dfd645e9a76a" providerId="ADAL" clId="{750E9A50-ACEA-48D3-B2C6-355D5EC56876}" dt="2024-06-13T12:07:34.855" v="4142" actId="962"/>
        <pc:sldMkLst>
          <pc:docMk/>
          <pc:sldMk cId="0" sldId="256"/>
        </pc:sldMkLst>
        <pc:spChg chg="add mod ord">
          <ac:chgData name="Deimonmi Nongrum [Chillibreeze]" userId="e937f645-8c95-42a9-a298-dfd645e9a76a" providerId="ADAL" clId="{750E9A50-ACEA-48D3-B2C6-355D5EC56876}" dt="2024-06-13T10:26:49.851" v="1892"/>
          <ac:spMkLst>
            <pc:docMk/>
            <pc:sldMk cId="0" sldId="256"/>
            <ac:spMk id="3" creationId="{105ADA02-9F91-6EEF-FBF2-14EBF7EEE4A2}"/>
          </ac:spMkLst>
        </pc:spChg>
        <pc:spChg chg="add mod ord">
          <ac:chgData name="Deimonmi Nongrum [Chillibreeze]" userId="e937f645-8c95-42a9-a298-dfd645e9a76a" providerId="ADAL" clId="{750E9A50-ACEA-48D3-B2C6-355D5EC56876}" dt="2024-06-13T10:22:38.370" v="1855" actId="167"/>
          <ac:spMkLst>
            <pc:docMk/>
            <pc:sldMk cId="0" sldId="256"/>
            <ac:spMk id="4" creationId="{FE3C6EE1-7AF0-6AFA-5446-20CB8CB66464}"/>
          </ac:spMkLst>
        </pc:spChg>
        <pc:spChg chg="add del mod topLvl">
          <ac:chgData name="Deimonmi Nongrum [Chillibreeze]" userId="e937f645-8c95-42a9-a298-dfd645e9a76a" providerId="ADAL" clId="{750E9A50-ACEA-48D3-B2C6-355D5EC56876}" dt="2024-06-13T03:24:15.863" v="430" actId="478"/>
          <ac:spMkLst>
            <pc:docMk/>
            <pc:sldMk cId="0" sldId="256"/>
            <ac:spMk id="5" creationId="{F25954CF-407B-6CD5-F74E-F9B5D2745AEF}"/>
          </ac:spMkLst>
        </pc:spChg>
        <pc:spChg chg="add del mod">
          <ac:chgData name="Deimonmi Nongrum [Chillibreeze]" userId="e937f645-8c95-42a9-a298-dfd645e9a76a" providerId="ADAL" clId="{750E9A50-ACEA-48D3-B2C6-355D5EC56876}" dt="2024-06-13T10:24:44.983" v="1868" actId="6264"/>
          <ac:spMkLst>
            <pc:docMk/>
            <pc:sldMk cId="0" sldId="256"/>
            <ac:spMk id="6" creationId="{20E2849C-9636-FA25-9C36-C70D5DCDE027}"/>
          </ac:spMkLst>
        </pc:spChg>
        <pc:spChg chg="add del mod topLvl">
          <ac:chgData name="Deimonmi Nongrum [Chillibreeze]" userId="e937f645-8c95-42a9-a298-dfd645e9a76a" providerId="ADAL" clId="{750E9A50-ACEA-48D3-B2C6-355D5EC56876}" dt="2024-06-13T03:24:15.863" v="430" actId="478"/>
          <ac:spMkLst>
            <pc:docMk/>
            <pc:sldMk cId="0" sldId="256"/>
            <ac:spMk id="7" creationId="{CE4FFB82-31C5-415D-99F6-97A334CBE861}"/>
          </ac:spMkLst>
        </pc:spChg>
        <pc:spChg chg="mod ord">
          <ac:chgData name="Deimonmi Nongrum [Chillibreeze]" userId="e937f645-8c95-42a9-a298-dfd645e9a76a" providerId="ADAL" clId="{750E9A50-ACEA-48D3-B2C6-355D5EC56876}" dt="2024-06-13T10:26:47.498" v="1890"/>
          <ac:spMkLst>
            <pc:docMk/>
            <pc:sldMk cId="0" sldId="256"/>
            <ac:spMk id="4108" creationId="{00000000-0000-0000-0000-000000000000}"/>
          </ac:spMkLst>
        </pc:spChg>
        <pc:spChg chg="del mod ord">
          <ac:chgData name="Deimonmi Nongrum [Chillibreeze]" userId="e937f645-8c95-42a9-a298-dfd645e9a76a" providerId="ADAL" clId="{750E9A50-ACEA-48D3-B2C6-355D5EC56876}" dt="2024-06-13T03:23:07.374" v="402" actId="478"/>
          <ac:spMkLst>
            <pc:docMk/>
            <pc:sldMk cId="0" sldId="256"/>
            <ac:spMk id="4109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0:26:50.614" v="1893"/>
          <ac:spMkLst>
            <pc:docMk/>
            <pc:sldMk cId="0" sldId="256"/>
            <ac:spMk id="4110" creationId="{00000000-0000-0000-0000-000000000000}"/>
          </ac:spMkLst>
        </pc:spChg>
        <pc:grpChg chg="add del mod">
          <ac:chgData name="Deimonmi Nongrum [Chillibreeze]" userId="e937f645-8c95-42a9-a298-dfd645e9a76a" providerId="ADAL" clId="{750E9A50-ACEA-48D3-B2C6-355D5EC56876}" dt="2024-06-13T03:24:07.449" v="426" actId="165"/>
          <ac:grpSpMkLst>
            <pc:docMk/>
            <pc:sldMk cId="0" sldId="256"/>
            <ac:grpSpMk id="8" creationId="{EEF65D89-24EB-D47D-42FB-3DA3CFE1E883}"/>
          </ac:grpSpMkLst>
        </pc:grpChg>
        <pc:graphicFrameChg chg="add del mod modVis">
          <ac:chgData name="Deimonmi Nongrum [Chillibreeze]" userId="e937f645-8c95-42a9-a298-dfd645e9a76a" providerId="ADAL" clId="{750E9A50-ACEA-48D3-B2C6-355D5EC56876}" dt="2024-06-13T10:26:03.686" v="1887" actId="478"/>
          <ac:graphicFrameMkLst>
            <pc:docMk/>
            <pc:sldMk cId="0" sldId="256"/>
            <ac:graphicFrameMk id="5" creationId="{A4DF6D04-A035-CA1D-BA60-D2AA17E2917D}"/>
          </ac:graphicFrameMkLst>
        </pc:graphicFrameChg>
        <pc:picChg chg="add mod ord">
          <ac:chgData name="Deimonmi Nongrum [Chillibreeze]" userId="e937f645-8c95-42a9-a298-dfd645e9a76a" providerId="ADAL" clId="{750E9A50-ACEA-48D3-B2C6-355D5EC56876}" dt="2024-06-13T12:07:34.855" v="4142" actId="962"/>
          <ac:picMkLst>
            <pc:docMk/>
            <pc:sldMk cId="0" sldId="256"/>
            <ac:picMk id="2" creationId="{E89F0A51-0288-2B7F-B226-5B86541DDFED}"/>
          </ac:picMkLst>
        </pc:picChg>
        <pc:picChg chg="add del mod topLvl">
          <ac:chgData name="Deimonmi Nongrum [Chillibreeze]" userId="e937f645-8c95-42a9-a298-dfd645e9a76a" providerId="ADAL" clId="{750E9A50-ACEA-48D3-B2C6-355D5EC56876}" dt="2024-06-13T03:24:15.863" v="430" actId="478"/>
          <ac:picMkLst>
            <pc:docMk/>
            <pc:sldMk cId="0" sldId="256"/>
            <ac:picMk id="6" creationId="{D280F827-0C79-01AA-BB4E-432FCBB40AF9}"/>
          </ac:picMkLst>
        </pc:picChg>
        <pc:picChg chg="del mod">
          <ac:chgData name="Deimonmi Nongrum [Chillibreeze]" userId="e937f645-8c95-42a9-a298-dfd645e9a76a" providerId="ADAL" clId="{750E9A50-ACEA-48D3-B2C6-355D5EC56876}" dt="2024-06-13T03:23:07.374" v="402" actId="478"/>
          <ac:picMkLst>
            <pc:docMk/>
            <pc:sldMk cId="0" sldId="256"/>
            <ac:picMk id="4111" creationId="{00000000-0000-0000-0000-000000000000}"/>
          </ac:picMkLst>
        </pc:picChg>
      </pc:sldChg>
      <pc:sldChg chg="modSp mod modClrScheme chgLayout">
        <pc:chgData name="Deimonmi Nongrum [Chillibreeze]" userId="e937f645-8c95-42a9-a298-dfd645e9a76a" providerId="ADAL" clId="{750E9A50-ACEA-48D3-B2C6-355D5EC56876}" dt="2024-06-13T10:24:19.212" v="1858" actId="14100"/>
        <pc:sldMkLst>
          <pc:docMk/>
          <pc:sldMk cId="0" sldId="257"/>
        </pc:sldMkLst>
        <pc:spChg chg="mod ord">
          <ac:chgData name="Deimonmi Nongrum [Chillibreeze]" userId="e937f645-8c95-42a9-a298-dfd645e9a76a" providerId="ADAL" clId="{750E9A50-ACEA-48D3-B2C6-355D5EC56876}" dt="2024-06-13T10:24:19.212" v="1858" actId="14100"/>
          <ac:spMkLst>
            <pc:docMk/>
            <pc:sldMk cId="0" sldId="257"/>
            <ac:spMk id="4116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57"/>
            <ac:spMk id="4117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57"/>
            <ac:spMk id="4118" creationId="{00000000-0000-0000-0000-000000000000}"/>
          </ac:spMkLst>
        </pc:spChg>
      </pc:sldChg>
      <pc:sldChg chg="modSp mod modClrScheme chgLayout">
        <pc:chgData name="Deimonmi Nongrum [Chillibreeze]" userId="e937f645-8c95-42a9-a298-dfd645e9a76a" providerId="ADAL" clId="{750E9A50-ACEA-48D3-B2C6-355D5EC56876}" dt="2024-06-12T09:43:22.507" v="153" actId="700"/>
        <pc:sldMkLst>
          <pc:docMk/>
          <pc:sldMk cId="0" sldId="258"/>
        </pc:sldMkLst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58"/>
            <ac:spMk id="4123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58"/>
            <ac:spMk id="4124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58"/>
            <ac:spMk id="4125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58"/>
            <ac:spMk id="4126" creationId="{00000000-0000-0000-0000-000000000000}"/>
          </ac:spMkLst>
        </pc:spChg>
      </pc:sldChg>
      <pc:sldChg chg="addSp delSp modSp mod modClrScheme chgLayout">
        <pc:chgData name="Deimonmi Nongrum [Chillibreeze]" userId="e937f645-8c95-42a9-a298-dfd645e9a76a" providerId="ADAL" clId="{750E9A50-ACEA-48D3-B2C6-355D5EC56876}" dt="2024-06-12T12:47:02.450" v="322" actId="1076"/>
        <pc:sldMkLst>
          <pc:docMk/>
          <pc:sldMk cId="0" sldId="259"/>
        </pc:sldMkLst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59"/>
            <ac:spMk id="2" creationId="{9FFA4850-7B5B-C782-C4AC-77467BF9DFB6}"/>
          </ac:spMkLst>
        </pc:spChg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259"/>
            <ac:spMk id="2" creationId="{C2279FEE-15A0-EB1C-A4A9-9A26D165C27A}"/>
          </ac:spMkLst>
        </pc:spChg>
        <pc:spChg chg="add mod">
          <ac:chgData name="Deimonmi Nongrum [Chillibreeze]" userId="e937f645-8c95-42a9-a298-dfd645e9a76a" providerId="ADAL" clId="{750E9A50-ACEA-48D3-B2C6-355D5EC56876}" dt="2024-06-12T12:47:02.450" v="322" actId="1076"/>
          <ac:spMkLst>
            <pc:docMk/>
            <pc:sldMk cId="0" sldId="259"/>
            <ac:spMk id="3" creationId="{2823A2C2-8B6D-088A-AFA5-7066E1EB817D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59"/>
            <ac:spMk id="4" creationId="{04BB4C05-4C9C-CE56-78D9-CC4C01A52BA5}"/>
          </ac:spMkLst>
        </pc:spChg>
      </pc:sldChg>
      <pc:sldChg chg="addSp delSp modSp mod modClrScheme chgLayout">
        <pc:chgData name="Deimonmi Nongrum [Chillibreeze]" userId="e937f645-8c95-42a9-a298-dfd645e9a76a" providerId="ADAL" clId="{750E9A50-ACEA-48D3-B2C6-355D5EC56876}" dt="2024-06-13T10:29:51.271" v="1921" actId="13244"/>
        <pc:sldMkLst>
          <pc:docMk/>
          <pc:sldMk cId="0" sldId="260"/>
        </pc:sldMkLst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60"/>
            <ac:spMk id="2" creationId="{B9A328F4-4CDD-8DDC-A30D-BC65EE6A7D46}"/>
          </ac:spMkLst>
        </pc:spChg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260"/>
            <ac:spMk id="2" creationId="{F243E50D-B350-455B-4E2D-64E4828E6F44}"/>
          </ac:spMkLst>
        </pc:spChg>
        <pc:spChg chg="add mod">
          <ac:chgData name="Deimonmi Nongrum [Chillibreeze]" userId="e937f645-8c95-42a9-a298-dfd645e9a76a" providerId="ADAL" clId="{750E9A50-ACEA-48D3-B2C6-355D5EC56876}" dt="2024-06-12T12:47:00.669" v="321" actId="1076"/>
          <ac:spMkLst>
            <pc:docMk/>
            <pc:sldMk cId="0" sldId="260"/>
            <ac:spMk id="3" creationId="{2BE60D4C-A1B8-A41B-DE70-04F4FC05DDBB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60"/>
            <ac:spMk id="4" creationId="{246CDE04-2E74-279D-0234-90ADC20A78D5}"/>
          </ac:spMkLst>
        </pc:spChg>
        <pc:spChg chg="ord">
          <ac:chgData name="Deimonmi Nongrum [Chillibreeze]" userId="e937f645-8c95-42a9-a298-dfd645e9a76a" providerId="ADAL" clId="{750E9A50-ACEA-48D3-B2C6-355D5EC56876}" dt="2024-06-13T10:29:29.146" v="1920" actId="13244"/>
          <ac:spMkLst>
            <pc:docMk/>
            <pc:sldMk cId="0" sldId="260"/>
            <ac:spMk id="4" creationId="{87A90B0D-B334-D8DA-EFB7-067027DDE438}"/>
          </ac:spMkLst>
        </pc:spChg>
        <pc:spChg chg="mod ord">
          <ac:chgData name="Deimonmi Nongrum [Chillibreeze]" userId="e937f645-8c95-42a9-a298-dfd645e9a76a" providerId="ADAL" clId="{750E9A50-ACEA-48D3-B2C6-355D5EC56876}" dt="2024-06-13T10:29:04.187" v="1901" actId="167"/>
          <ac:spMkLst>
            <pc:docMk/>
            <pc:sldMk cId="0" sldId="260"/>
            <ac:spMk id="12" creationId="{2EA900BF-0BCF-FF6D-EF12-18EA00B2A1A1}"/>
          </ac:spMkLst>
        </pc:spChg>
        <pc:spChg chg="mod ord">
          <ac:chgData name="Deimonmi Nongrum [Chillibreeze]" userId="e937f645-8c95-42a9-a298-dfd645e9a76a" providerId="ADAL" clId="{750E9A50-ACEA-48D3-B2C6-355D5EC56876}" dt="2024-06-13T10:29:11.138" v="1913"/>
          <ac:spMkLst>
            <pc:docMk/>
            <pc:sldMk cId="0" sldId="260"/>
            <ac:spMk id="13" creationId="{0C0B6502-9B44-9862-659D-B24A6902D8C7}"/>
          </ac:spMkLst>
        </pc:spChg>
        <pc:spChg chg="mod ord">
          <ac:chgData name="Deimonmi Nongrum [Chillibreeze]" userId="e937f645-8c95-42a9-a298-dfd645e9a76a" providerId="ADAL" clId="{750E9A50-ACEA-48D3-B2C6-355D5EC56876}" dt="2024-06-13T10:29:22.329" v="1918"/>
          <ac:spMkLst>
            <pc:docMk/>
            <pc:sldMk cId="0" sldId="260"/>
            <ac:spMk id="14" creationId="{3E15D9CA-5E8D-544F-F240-05CB32ABC961}"/>
          </ac:spMkLst>
        </pc:spChg>
        <pc:spChg chg="mod ord">
          <ac:chgData name="Deimonmi Nongrum [Chillibreeze]" userId="e937f645-8c95-42a9-a298-dfd645e9a76a" providerId="ADAL" clId="{750E9A50-ACEA-48D3-B2C6-355D5EC56876}" dt="2024-06-13T10:29:51.271" v="1921" actId="13244"/>
          <ac:spMkLst>
            <pc:docMk/>
            <pc:sldMk cId="0" sldId="260"/>
            <ac:spMk id="15" creationId="{7ED384CD-760D-2697-2EE9-A09A2A4C6FAB}"/>
          </ac:spMkLst>
        </pc:spChg>
        <pc:spChg chg="mod ord">
          <ac:chgData name="Deimonmi Nongrum [Chillibreeze]" userId="e937f645-8c95-42a9-a298-dfd645e9a76a" providerId="ADAL" clId="{750E9A50-ACEA-48D3-B2C6-355D5EC56876}" dt="2024-06-13T10:29:04.187" v="1901" actId="167"/>
          <ac:spMkLst>
            <pc:docMk/>
            <pc:sldMk cId="0" sldId="260"/>
            <ac:spMk id="16" creationId="{7E3E9DD1-C6D5-4694-6FA8-4F7D128647FB}"/>
          </ac:spMkLst>
        </pc:spChg>
        <pc:spChg chg="mod ord">
          <ac:chgData name="Deimonmi Nongrum [Chillibreeze]" userId="e937f645-8c95-42a9-a298-dfd645e9a76a" providerId="ADAL" clId="{750E9A50-ACEA-48D3-B2C6-355D5EC56876}" dt="2024-06-13T10:29:04.187" v="1901" actId="167"/>
          <ac:spMkLst>
            <pc:docMk/>
            <pc:sldMk cId="0" sldId="260"/>
            <ac:spMk id="17" creationId="{85003706-418F-563A-3E7A-BE84602AE7D1}"/>
          </ac:spMkLst>
        </pc:spChg>
        <pc:spChg chg="mod ord">
          <ac:chgData name="Deimonmi Nongrum [Chillibreeze]" userId="e937f645-8c95-42a9-a298-dfd645e9a76a" providerId="ADAL" clId="{750E9A50-ACEA-48D3-B2C6-355D5EC56876}" dt="2024-06-13T10:29:04.187" v="1901" actId="167"/>
          <ac:spMkLst>
            <pc:docMk/>
            <pc:sldMk cId="0" sldId="260"/>
            <ac:spMk id="18" creationId="{A0173F4B-659D-3C90-8012-D890AE141CE6}"/>
          </ac:spMkLst>
        </pc:spChg>
        <pc:spChg chg="mod ord">
          <ac:chgData name="Deimonmi Nongrum [Chillibreeze]" userId="e937f645-8c95-42a9-a298-dfd645e9a76a" providerId="ADAL" clId="{750E9A50-ACEA-48D3-B2C6-355D5EC56876}" dt="2024-06-13T10:29:10.773" v="1912"/>
          <ac:spMkLst>
            <pc:docMk/>
            <pc:sldMk cId="0" sldId="260"/>
            <ac:spMk id="19" creationId="{7B234106-A33C-030A-D0A3-72F2EE109C48}"/>
          </ac:spMkLst>
        </pc:spChg>
        <pc:spChg chg="mod ord">
          <ac:chgData name="Deimonmi Nongrum [Chillibreeze]" userId="e937f645-8c95-42a9-a298-dfd645e9a76a" providerId="ADAL" clId="{750E9A50-ACEA-48D3-B2C6-355D5EC56876}" dt="2024-06-13T10:29:18.241" v="1914" actId="166"/>
          <ac:spMkLst>
            <pc:docMk/>
            <pc:sldMk cId="0" sldId="260"/>
            <ac:spMk id="20" creationId="{CAE9DBBC-2A0B-0176-7419-D7B92DFE20FA}"/>
          </ac:spMkLst>
        </pc:spChg>
        <pc:spChg chg="mod ord">
          <ac:chgData name="Deimonmi Nongrum [Chillibreeze]" userId="e937f645-8c95-42a9-a298-dfd645e9a76a" providerId="ADAL" clId="{750E9A50-ACEA-48D3-B2C6-355D5EC56876}" dt="2024-06-13T10:29:20.783" v="1916"/>
          <ac:spMkLst>
            <pc:docMk/>
            <pc:sldMk cId="0" sldId="260"/>
            <ac:spMk id="21" creationId="{E11F7116-248E-36E0-CDF0-2319A262EC46}"/>
          </ac:spMkLst>
        </pc:spChg>
        <pc:spChg chg="mod ord">
          <ac:chgData name="Deimonmi Nongrum [Chillibreeze]" userId="e937f645-8c95-42a9-a298-dfd645e9a76a" providerId="ADAL" clId="{750E9A50-ACEA-48D3-B2C6-355D5EC56876}" dt="2024-06-13T10:29:23.716" v="1919"/>
          <ac:spMkLst>
            <pc:docMk/>
            <pc:sldMk cId="0" sldId="260"/>
            <ac:spMk id="22" creationId="{2D1BE9FB-6B2E-E2E1-D553-F7E98049D7BE}"/>
          </ac:spMkLst>
        </pc:spChg>
        <pc:spChg chg="mod ord">
          <ac:chgData name="Deimonmi Nongrum [Chillibreeze]" userId="e937f645-8c95-42a9-a298-dfd645e9a76a" providerId="ADAL" clId="{750E9A50-ACEA-48D3-B2C6-355D5EC56876}" dt="2024-06-13T10:29:19.524" v="1915"/>
          <ac:spMkLst>
            <pc:docMk/>
            <pc:sldMk cId="0" sldId="260"/>
            <ac:spMk id="23" creationId="{D8EA579C-05FD-DBA0-AF3F-638E722EEF4B}"/>
          </ac:spMkLst>
        </pc:spChg>
        <pc:spChg chg="mod ord">
          <ac:chgData name="Deimonmi Nongrum [Chillibreeze]" userId="e937f645-8c95-42a9-a298-dfd645e9a76a" providerId="ADAL" clId="{750E9A50-ACEA-48D3-B2C6-355D5EC56876}" dt="2024-06-13T10:29:21.695" v="1917"/>
          <ac:spMkLst>
            <pc:docMk/>
            <pc:sldMk cId="0" sldId="260"/>
            <ac:spMk id="24" creationId="{FC38592F-15DC-7391-6584-CF56B6179998}"/>
          </ac:spMkLst>
        </pc:spChg>
        <pc:spChg chg="mod ord">
          <ac:chgData name="Deimonmi Nongrum [Chillibreeze]" userId="e937f645-8c95-42a9-a298-dfd645e9a76a" providerId="ADAL" clId="{750E9A50-ACEA-48D3-B2C6-355D5EC56876}" dt="2024-06-13T10:29:04.187" v="1901" actId="167"/>
          <ac:spMkLst>
            <pc:docMk/>
            <pc:sldMk cId="0" sldId="260"/>
            <ac:spMk id="25" creationId="{C2ACC294-1D5F-7398-0CBD-08E98A7A9787}"/>
          </ac:spMkLst>
        </pc:spChg>
        <pc:picChg chg="mod ord">
          <ac:chgData name="Deimonmi Nongrum [Chillibreeze]" userId="e937f645-8c95-42a9-a298-dfd645e9a76a" providerId="ADAL" clId="{750E9A50-ACEA-48D3-B2C6-355D5EC56876}" dt="2024-06-13T10:29:04.187" v="1901" actId="167"/>
          <ac:picMkLst>
            <pc:docMk/>
            <pc:sldMk cId="0" sldId="260"/>
            <ac:picMk id="10" creationId="{12905013-8C95-0FDB-61EB-73894FB63983}"/>
          </ac:picMkLst>
        </pc:picChg>
      </pc:sldChg>
      <pc:sldChg chg="addSp modSp mod modClrScheme chgLayout">
        <pc:chgData name="Deimonmi Nongrum [Chillibreeze]" userId="e937f645-8c95-42a9-a298-dfd645e9a76a" providerId="ADAL" clId="{750E9A50-ACEA-48D3-B2C6-355D5EC56876}" dt="2024-06-13T10:30:47.200" v="1935"/>
        <pc:sldMkLst>
          <pc:docMk/>
          <pc:sldMk cId="0" sldId="261"/>
        </pc:sldMkLst>
        <pc:spChg chg="add mod">
          <ac:chgData name="Deimonmi Nongrum [Chillibreeze]" userId="e937f645-8c95-42a9-a298-dfd645e9a76a" providerId="ADAL" clId="{750E9A50-ACEA-48D3-B2C6-355D5EC56876}" dt="2024-06-12T03:54:38.936" v="12"/>
          <ac:spMkLst>
            <pc:docMk/>
            <pc:sldMk cId="0" sldId="261"/>
            <ac:spMk id="2" creationId="{4D20092F-2B05-6907-207E-3C4BADF4689A}"/>
          </ac:spMkLst>
        </pc:spChg>
        <pc:spChg chg="add mod ord">
          <ac:chgData name="Deimonmi Nongrum [Chillibreeze]" userId="e937f645-8c95-42a9-a298-dfd645e9a76a" providerId="ADAL" clId="{750E9A50-ACEA-48D3-B2C6-355D5EC56876}" dt="2024-06-13T10:30:44.673" v="1932"/>
          <ac:spMkLst>
            <pc:docMk/>
            <pc:sldMk cId="0" sldId="261"/>
            <ac:spMk id="4" creationId="{14E13CDE-397A-6910-FA76-73C5E1033D13}"/>
          </ac:spMkLst>
        </pc:spChg>
        <pc:spChg chg="ord">
          <ac:chgData name="Deimonmi Nongrum [Chillibreeze]" userId="e937f645-8c95-42a9-a298-dfd645e9a76a" providerId="ADAL" clId="{750E9A50-ACEA-48D3-B2C6-355D5EC56876}" dt="2024-06-13T10:30:40.841" v="1925" actId="167"/>
          <ac:spMkLst>
            <pc:docMk/>
            <pc:sldMk cId="0" sldId="261"/>
            <ac:spMk id="6" creationId="{D0362F05-4B15-0F33-E295-C14882AD842F}"/>
          </ac:spMkLst>
        </pc:spChg>
        <pc:spChg chg="ord">
          <ac:chgData name="Deimonmi Nongrum [Chillibreeze]" userId="e937f645-8c95-42a9-a298-dfd645e9a76a" providerId="ADAL" clId="{750E9A50-ACEA-48D3-B2C6-355D5EC56876}" dt="2024-06-13T10:30:40.841" v="1925" actId="167"/>
          <ac:spMkLst>
            <pc:docMk/>
            <pc:sldMk cId="0" sldId="261"/>
            <ac:spMk id="7" creationId="{61547119-BA17-D496-BD78-96AF34F29113}"/>
          </ac:spMkLst>
        </pc:spChg>
        <pc:spChg chg="ord">
          <ac:chgData name="Deimonmi Nongrum [Chillibreeze]" userId="e937f645-8c95-42a9-a298-dfd645e9a76a" providerId="ADAL" clId="{750E9A50-ACEA-48D3-B2C6-355D5EC56876}" dt="2024-06-13T10:30:40.841" v="1925" actId="167"/>
          <ac:spMkLst>
            <pc:docMk/>
            <pc:sldMk cId="0" sldId="261"/>
            <ac:spMk id="8" creationId="{5C9EAAC2-0E5E-95FF-2600-5A4C2B880C01}"/>
          </ac:spMkLst>
        </pc:spChg>
        <pc:spChg chg="ord">
          <ac:chgData name="Deimonmi Nongrum [Chillibreeze]" userId="e937f645-8c95-42a9-a298-dfd645e9a76a" providerId="ADAL" clId="{750E9A50-ACEA-48D3-B2C6-355D5EC56876}" dt="2024-06-13T10:30:46.045" v="1933"/>
          <ac:spMkLst>
            <pc:docMk/>
            <pc:sldMk cId="0" sldId="261"/>
            <ac:spMk id="12" creationId="{2F7AD0B3-62A3-A81C-C4C5-7AEE96013E65}"/>
          </ac:spMkLst>
        </pc:spChg>
        <pc:spChg chg="ord">
          <ac:chgData name="Deimonmi Nongrum [Chillibreeze]" userId="e937f645-8c95-42a9-a298-dfd645e9a76a" providerId="ADAL" clId="{750E9A50-ACEA-48D3-B2C6-355D5EC56876}" dt="2024-06-13T10:30:46.528" v="1934"/>
          <ac:spMkLst>
            <pc:docMk/>
            <pc:sldMk cId="0" sldId="261"/>
            <ac:spMk id="13" creationId="{A12EC51E-E13B-2510-FEDF-84F022D9D005}"/>
          </ac:spMkLst>
        </pc:spChg>
        <pc:spChg chg="mod ord">
          <ac:chgData name="Deimonmi Nongrum [Chillibreeze]" userId="e937f645-8c95-42a9-a298-dfd645e9a76a" providerId="ADAL" clId="{750E9A50-ACEA-48D3-B2C6-355D5EC56876}" dt="2024-06-13T10:30:43.944" v="1931"/>
          <ac:spMkLst>
            <pc:docMk/>
            <pc:sldMk cId="0" sldId="261"/>
            <ac:spMk id="4170" creationId="{00000000-0000-0000-0000-000000000000}"/>
          </ac:spMkLst>
        </pc:spChg>
        <pc:grpChg chg="ord">
          <ac:chgData name="Deimonmi Nongrum [Chillibreeze]" userId="e937f645-8c95-42a9-a298-dfd645e9a76a" providerId="ADAL" clId="{750E9A50-ACEA-48D3-B2C6-355D5EC56876}" dt="2024-06-13T10:30:40.841" v="1925" actId="167"/>
          <ac:grpSpMkLst>
            <pc:docMk/>
            <pc:sldMk cId="0" sldId="261"/>
            <ac:grpSpMk id="9" creationId="{1027C6C5-D5E0-6DD5-76AD-14C81AF8BC7F}"/>
          </ac:grpSpMkLst>
        </pc:grpChg>
        <pc:picChg chg="ord">
          <ac:chgData name="Deimonmi Nongrum [Chillibreeze]" userId="e937f645-8c95-42a9-a298-dfd645e9a76a" providerId="ADAL" clId="{750E9A50-ACEA-48D3-B2C6-355D5EC56876}" dt="2024-06-13T10:30:40.841" v="1925" actId="167"/>
          <ac:picMkLst>
            <pc:docMk/>
            <pc:sldMk cId="0" sldId="261"/>
            <ac:picMk id="5" creationId="{F45F7644-3789-D9D9-9D91-1FC048051E40}"/>
          </ac:picMkLst>
        </pc:picChg>
        <pc:picChg chg="ord">
          <ac:chgData name="Deimonmi Nongrum [Chillibreeze]" userId="e937f645-8c95-42a9-a298-dfd645e9a76a" providerId="ADAL" clId="{750E9A50-ACEA-48D3-B2C6-355D5EC56876}" dt="2024-06-13T10:30:47.200" v="1935"/>
          <ac:picMkLst>
            <pc:docMk/>
            <pc:sldMk cId="0" sldId="261"/>
            <ac:picMk id="14" creationId="{55648841-E3E7-EFA7-2B62-F044B60B8FA3}"/>
          </ac:picMkLst>
        </pc:picChg>
        <pc:cxnChg chg="add mod ord">
          <ac:chgData name="Deimonmi Nongrum [Chillibreeze]" userId="e937f645-8c95-42a9-a298-dfd645e9a76a" providerId="ADAL" clId="{750E9A50-ACEA-48D3-B2C6-355D5EC56876}" dt="2024-06-13T10:30:40.841" v="1925" actId="167"/>
          <ac:cxnSpMkLst>
            <pc:docMk/>
            <pc:sldMk cId="0" sldId="261"/>
            <ac:cxnSpMk id="3" creationId="{061C990D-85A2-8F7E-002F-4B4AEE7EA494}"/>
          </ac:cxnSpMkLst>
        </pc:cxnChg>
      </pc:sldChg>
      <pc:sldChg chg="addSp delSp modSp mod modClrScheme chgLayout">
        <pc:chgData name="Deimonmi Nongrum [Chillibreeze]" userId="e937f645-8c95-42a9-a298-dfd645e9a76a" providerId="ADAL" clId="{750E9A50-ACEA-48D3-B2C6-355D5EC56876}" dt="2024-06-13T11:03:21.011" v="3073" actId="478"/>
        <pc:sldMkLst>
          <pc:docMk/>
          <pc:sldMk cId="0" sldId="262"/>
        </pc:sldMkLst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262"/>
            <ac:spMk id="2" creationId="{0CA594F5-C790-185D-8738-C8C6C9A3D70D}"/>
          </ac:spMkLst>
        </pc:spChg>
        <pc:spChg chg="add mod ord">
          <ac:chgData name="Deimonmi Nongrum [Chillibreeze]" userId="e937f645-8c95-42a9-a298-dfd645e9a76a" providerId="ADAL" clId="{750E9A50-ACEA-48D3-B2C6-355D5EC56876}" dt="2024-06-13T10:31:06.717" v="1943"/>
          <ac:spMkLst>
            <pc:docMk/>
            <pc:sldMk cId="0" sldId="262"/>
            <ac:spMk id="2" creationId="{DA83D2E6-7B76-FC27-CD25-600EC9F3955B}"/>
          </ac:spMkLst>
        </pc:spChg>
        <pc:spChg chg="add mod">
          <ac:chgData name="Deimonmi Nongrum [Chillibreeze]" userId="e937f645-8c95-42a9-a298-dfd645e9a76a" providerId="ADAL" clId="{750E9A50-ACEA-48D3-B2C6-355D5EC56876}" dt="2024-06-12T03:54:39.896" v="13"/>
          <ac:spMkLst>
            <pc:docMk/>
            <pc:sldMk cId="0" sldId="262"/>
            <ac:spMk id="3" creationId="{D22BB94C-2949-CE08-1ECF-2F23E76B54DA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62"/>
            <ac:spMk id="4" creationId="{FE53374E-F003-0E11-8AC4-80C1B5EC2867}"/>
          </ac:spMkLst>
        </pc:spChg>
        <pc:spChg chg="ord">
          <ac:chgData name="Deimonmi Nongrum [Chillibreeze]" userId="e937f645-8c95-42a9-a298-dfd645e9a76a" providerId="ADAL" clId="{750E9A50-ACEA-48D3-B2C6-355D5EC56876}" dt="2024-06-13T10:31:03.377" v="1938" actId="167"/>
          <ac:spMkLst>
            <pc:docMk/>
            <pc:sldMk cId="0" sldId="262"/>
            <ac:spMk id="5" creationId="{423CAA25-EB5A-E80D-C071-A8FBBDBFE3ED}"/>
          </ac:spMkLst>
        </pc:spChg>
        <pc:spChg chg="ord">
          <ac:chgData name="Deimonmi Nongrum [Chillibreeze]" userId="e937f645-8c95-42a9-a298-dfd645e9a76a" providerId="ADAL" clId="{750E9A50-ACEA-48D3-B2C6-355D5EC56876}" dt="2024-06-13T10:31:03.377" v="1938" actId="167"/>
          <ac:spMkLst>
            <pc:docMk/>
            <pc:sldMk cId="0" sldId="262"/>
            <ac:spMk id="6" creationId="{8C9C5E70-8ACA-78C8-55D9-DC46F257848B}"/>
          </ac:spMkLst>
        </pc:spChg>
        <pc:spChg chg="ord">
          <ac:chgData name="Deimonmi Nongrum [Chillibreeze]" userId="e937f645-8c95-42a9-a298-dfd645e9a76a" providerId="ADAL" clId="{750E9A50-ACEA-48D3-B2C6-355D5EC56876}" dt="2024-06-13T10:31:03.377" v="1938" actId="167"/>
          <ac:spMkLst>
            <pc:docMk/>
            <pc:sldMk cId="0" sldId="262"/>
            <ac:spMk id="7" creationId="{BBF5973E-192E-EE1E-FD25-9DB0642E9FAD}"/>
          </ac:spMkLst>
        </pc:spChg>
        <pc:spChg chg="ord">
          <ac:chgData name="Deimonmi Nongrum [Chillibreeze]" userId="e937f645-8c95-42a9-a298-dfd645e9a76a" providerId="ADAL" clId="{750E9A50-ACEA-48D3-B2C6-355D5EC56876}" dt="2024-06-13T10:31:03.377" v="1938" actId="167"/>
          <ac:spMkLst>
            <pc:docMk/>
            <pc:sldMk cId="0" sldId="262"/>
            <ac:spMk id="8" creationId="{BCC4DEF5-5DAF-38AB-3685-7595A16B9C4C}"/>
          </ac:spMkLst>
        </pc:spChg>
        <pc:spChg chg="ord">
          <ac:chgData name="Deimonmi Nongrum [Chillibreeze]" userId="e937f645-8c95-42a9-a298-dfd645e9a76a" providerId="ADAL" clId="{750E9A50-ACEA-48D3-B2C6-355D5EC56876}" dt="2024-06-13T10:31:03.377" v="1938" actId="167"/>
          <ac:spMkLst>
            <pc:docMk/>
            <pc:sldMk cId="0" sldId="262"/>
            <ac:spMk id="9" creationId="{F10A8DAB-AAA2-E475-EE22-8E0D62454001}"/>
          </ac:spMkLst>
        </pc:spChg>
        <pc:spChg chg="ord">
          <ac:chgData name="Deimonmi Nongrum [Chillibreeze]" userId="e937f645-8c95-42a9-a298-dfd645e9a76a" providerId="ADAL" clId="{750E9A50-ACEA-48D3-B2C6-355D5EC56876}" dt="2024-06-13T10:31:03.377" v="1938" actId="167"/>
          <ac:spMkLst>
            <pc:docMk/>
            <pc:sldMk cId="0" sldId="262"/>
            <ac:spMk id="10" creationId="{6424A8F5-6CE4-6E4E-407B-5C2898B0A726}"/>
          </ac:spMkLst>
        </pc:spChg>
        <pc:spChg chg="ord">
          <ac:chgData name="Deimonmi Nongrum [Chillibreeze]" userId="e937f645-8c95-42a9-a298-dfd645e9a76a" providerId="ADAL" clId="{750E9A50-ACEA-48D3-B2C6-355D5EC56876}" dt="2024-06-13T10:31:03.377" v="1938" actId="167"/>
          <ac:spMkLst>
            <pc:docMk/>
            <pc:sldMk cId="0" sldId="262"/>
            <ac:spMk id="11" creationId="{897EA1E9-F2CD-0FA0-9E2F-A23240550C05}"/>
          </ac:spMkLst>
        </pc:spChg>
        <pc:spChg chg="ord">
          <ac:chgData name="Deimonmi Nongrum [Chillibreeze]" userId="e937f645-8c95-42a9-a298-dfd645e9a76a" providerId="ADAL" clId="{750E9A50-ACEA-48D3-B2C6-355D5EC56876}" dt="2024-06-13T10:31:03.377" v="1938" actId="167"/>
          <ac:spMkLst>
            <pc:docMk/>
            <pc:sldMk cId="0" sldId="262"/>
            <ac:spMk id="12" creationId="{55CF9975-230E-5D78-2615-CE680B9934F9}"/>
          </ac:spMkLst>
        </pc:spChg>
        <pc:spChg chg="del ord">
          <ac:chgData name="Deimonmi Nongrum [Chillibreeze]" userId="e937f645-8c95-42a9-a298-dfd645e9a76a" providerId="ADAL" clId="{750E9A50-ACEA-48D3-B2C6-355D5EC56876}" dt="2024-06-13T11:03:21.011" v="3073" actId="478"/>
          <ac:spMkLst>
            <pc:docMk/>
            <pc:sldMk cId="0" sldId="262"/>
            <ac:spMk id="22" creationId="{42EF9FCA-ED3D-4519-1B86-D06E77AAE74A}"/>
          </ac:spMkLst>
        </pc:spChg>
        <pc:spChg chg="ord">
          <ac:chgData name="Deimonmi Nongrum [Chillibreeze]" userId="e937f645-8c95-42a9-a298-dfd645e9a76a" providerId="ADAL" clId="{750E9A50-ACEA-48D3-B2C6-355D5EC56876}" dt="2024-06-13T10:31:03.377" v="1938" actId="167"/>
          <ac:spMkLst>
            <pc:docMk/>
            <pc:sldMk cId="0" sldId="262"/>
            <ac:spMk id="23" creationId="{4F33050B-5994-A1C1-A1C9-69CD16BFAE37}"/>
          </ac:spMkLst>
        </pc:spChg>
        <pc:spChg chg="ord">
          <ac:chgData name="Deimonmi Nongrum [Chillibreeze]" userId="e937f645-8c95-42a9-a298-dfd645e9a76a" providerId="ADAL" clId="{750E9A50-ACEA-48D3-B2C6-355D5EC56876}" dt="2024-06-13T10:31:03.377" v="1938" actId="167"/>
          <ac:spMkLst>
            <pc:docMk/>
            <pc:sldMk cId="0" sldId="262"/>
            <ac:spMk id="24" creationId="{EE3C3B26-9499-E173-A6E0-0B53159D872D}"/>
          </ac:spMkLst>
        </pc:spChg>
        <pc:spChg chg="ord">
          <ac:chgData name="Deimonmi Nongrum [Chillibreeze]" userId="e937f645-8c95-42a9-a298-dfd645e9a76a" providerId="ADAL" clId="{750E9A50-ACEA-48D3-B2C6-355D5EC56876}" dt="2024-06-13T10:31:03.377" v="1938" actId="167"/>
          <ac:spMkLst>
            <pc:docMk/>
            <pc:sldMk cId="0" sldId="262"/>
            <ac:spMk id="25" creationId="{54C7B9A9-3509-9566-92F6-C7F408887370}"/>
          </ac:spMkLst>
        </pc:spChg>
        <pc:spChg chg="ord">
          <ac:chgData name="Deimonmi Nongrum [Chillibreeze]" userId="e937f645-8c95-42a9-a298-dfd645e9a76a" providerId="ADAL" clId="{750E9A50-ACEA-48D3-B2C6-355D5EC56876}" dt="2024-06-13T10:31:07.583" v="1944"/>
          <ac:spMkLst>
            <pc:docMk/>
            <pc:sldMk cId="0" sldId="262"/>
            <ac:spMk id="28" creationId="{408814FD-FEE3-C827-3230-74C1A0381A90}"/>
          </ac:spMkLst>
        </pc:spChg>
        <pc:spChg chg="ord">
          <ac:chgData name="Deimonmi Nongrum [Chillibreeze]" userId="e937f645-8c95-42a9-a298-dfd645e9a76a" providerId="ADAL" clId="{750E9A50-ACEA-48D3-B2C6-355D5EC56876}" dt="2024-06-13T10:31:08.285" v="1945"/>
          <ac:spMkLst>
            <pc:docMk/>
            <pc:sldMk cId="0" sldId="262"/>
            <ac:spMk id="29" creationId="{967CA259-169C-DBB0-064C-0FE32DF80DE1}"/>
          </ac:spMkLst>
        </pc:spChg>
        <pc:spChg chg="ord">
          <ac:chgData name="Deimonmi Nongrum [Chillibreeze]" userId="e937f645-8c95-42a9-a298-dfd645e9a76a" providerId="ADAL" clId="{750E9A50-ACEA-48D3-B2C6-355D5EC56876}" dt="2024-06-13T10:31:08.922" v="1946"/>
          <ac:spMkLst>
            <pc:docMk/>
            <pc:sldMk cId="0" sldId="262"/>
            <ac:spMk id="30" creationId="{1DB098C4-A74B-890A-0066-7400016D2C5A}"/>
          </ac:spMkLst>
        </pc:spChg>
        <pc:spChg chg="ord">
          <ac:chgData name="Deimonmi Nongrum [Chillibreeze]" userId="e937f645-8c95-42a9-a298-dfd645e9a76a" providerId="ADAL" clId="{750E9A50-ACEA-48D3-B2C6-355D5EC56876}" dt="2024-06-13T10:31:09.497" v="1947"/>
          <ac:spMkLst>
            <pc:docMk/>
            <pc:sldMk cId="0" sldId="262"/>
            <ac:spMk id="31" creationId="{28D20417-FB8A-D832-4E8D-F2EBBB04179E}"/>
          </ac:spMkLst>
        </pc:spChg>
        <pc:spChg chg="ord">
          <ac:chgData name="Deimonmi Nongrum [Chillibreeze]" userId="e937f645-8c95-42a9-a298-dfd645e9a76a" providerId="ADAL" clId="{750E9A50-ACEA-48D3-B2C6-355D5EC56876}" dt="2024-06-13T10:31:03.377" v="1938" actId="167"/>
          <ac:spMkLst>
            <pc:docMk/>
            <pc:sldMk cId="0" sldId="262"/>
            <ac:spMk id="34" creationId="{5033250C-1DA5-BD59-792D-1613194848C7}"/>
          </ac:spMkLst>
        </pc:spChg>
        <pc:grpChg chg="ord">
          <ac:chgData name="Deimonmi Nongrum [Chillibreeze]" userId="e937f645-8c95-42a9-a298-dfd645e9a76a" providerId="ADAL" clId="{750E9A50-ACEA-48D3-B2C6-355D5EC56876}" dt="2024-06-13T10:31:03.377" v="1938" actId="167"/>
          <ac:grpSpMkLst>
            <pc:docMk/>
            <pc:sldMk cId="0" sldId="262"/>
            <ac:grpSpMk id="13" creationId="{CFAE073C-B0D2-7616-B5B8-457EB6714599}"/>
          </ac:grpSpMkLst>
        </pc:grpChg>
        <pc:grpChg chg="ord">
          <ac:chgData name="Deimonmi Nongrum [Chillibreeze]" userId="e937f645-8c95-42a9-a298-dfd645e9a76a" providerId="ADAL" clId="{750E9A50-ACEA-48D3-B2C6-355D5EC56876}" dt="2024-06-13T10:31:03.377" v="1938" actId="167"/>
          <ac:grpSpMkLst>
            <pc:docMk/>
            <pc:sldMk cId="0" sldId="262"/>
            <ac:grpSpMk id="16" creationId="{B5189078-5776-A415-BE4B-D6898D54FAD3}"/>
          </ac:grpSpMkLst>
        </pc:grpChg>
        <pc:grpChg chg="ord">
          <ac:chgData name="Deimonmi Nongrum [Chillibreeze]" userId="e937f645-8c95-42a9-a298-dfd645e9a76a" providerId="ADAL" clId="{750E9A50-ACEA-48D3-B2C6-355D5EC56876}" dt="2024-06-13T10:31:03.377" v="1938" actId="167"/>
          <ac:grpSpMkLst>
            <pc:docMk/>
            <pc:sldMk cId="0" sldId="262"/>
            <ac:grpSpMk id="19" creationId="{48AB574E-F43C-6BBC-2C50-B0F53B33BAD6}"/>
          </ac:grpSpMkLst>
        </pc:grpChg>
        <pc:picChg chg="ord">
          <ac:chgData name="Deimonmi Nongrum [Chillibreeze]" userId="e937f645-8c95-42a9-a298-dfd645e9a76a" providerId="ADAL" clId="{750E9A50-ACEA-48D3-B2C6-355D5EC56876}" dt="2024-06-13T10:31:03.377" v="1938" actId="167"/>
          <ac:picMkLst>
            <pc:docMk/>
            <pc:sldMk cId="0" sldId="262"/>
            <ac:picMk id="4" creationId="{C1E54C84-6524-C807-055D-A660C5FA6B05}"/>
          </ac:picMkLst>
        </pc:picChg>
        <pc:picChg chg="ord">
          <ac:chgData name="Deimonmi Nongrum [Chillibreeze]" userId="e937f645-8c95-42a9-a298-dfd645e9a76a" providerId="ADAL" clId="{750E9A50-ACEA-48D3-B2C6-355D5EC56876}" dt="2024-06-13T10:31:03.377" v="1938" actId="167"/>
          <ac:picMkLst>
            <pc:docMk/>
            <pc:sldMk cId="0" sldId="262"/>
            <ac:picMk id="27" creationId="{E8E57ED4-10BD-E488-268F-09BC4E2EB2CB}"/>
          </ac:picMkLst>
        </pc:picChg>
      </pc:sldChg>
      <pc:sldChg chg="addSp delSp modSp mod modClrScheme chgLayout">
        <pc:chgData name="Deimonmi Nongrum [Chillibreeze]" userId="e937f645-8c95-42a9-a298-dfd645e9a76a" providerId="ADAL" clId="{750E9A50-ACEA-48D3-B2C6-355D5EC56876}" dt="2024-06-13T10:32:58.087" v="1955" actId="33553"/>
        <pc:sldMkLst>
          <pc:docMk/>
          <pc:sldMk cId="0" sldId="263"/>
        </pc:sldMkLst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63"/>
            <ac:spMk id="2" creationId="{14CDFB26-7018-9931-84B1-743414E9BB4B}"/>
          </ac:spMkLst>
        </pc:spChg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263"/>
            <ac:spMk id="2" creationId="{41254883-CE6C-A8F0-9E9D-6720D6C33DF6}"/>
          </ac:spMkLst>
        </pc:spChg>
        <pc:spChg chg="mod">
          <ac:chgData name="Deimonmi Nongrum [Chillibreeze]" userId="e937f645-8c95-42a9-a298-dfd645e9a76a" providerId="ADAL" clId="{750E9A50-ACEA-48D3-B2C6-355D5EC56876}" dt="2024-06-13T10:32:34.702" v="1949"/>
          <ac:spMkLst>
            <pc:docMk/>
            <pc:sldMk cId="0" sldId="263"/>
            <ac:spMk id="3" creationId="{7DD48793-A35E-690A-6B7E-164D8252D1C4}"/>
          </ac:spMkLst>
        </pc:spChg>
        <pc:spChg chg="add mod">
          <ac:chgData name="Deimonmi Nongrum [Chillibreeze]" userId="e937f645-8c95-42a9-a298-dfd645e9a76a" providerId="ADAL" clId="{750E9A50-ACEA-48D3-B2C6-355D5EC56876}" dt="2024-06-12T03:54:40.983" v="14"/>
          <ac:spMkLst>
            <pc:docMk/>
            <pc:sldMk cId="0" sldId="263"/>
            <ac:spMk id="3" creationId="{87B37D47-4D21-88E5-59A6-2B3D8B4DC1CA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63"/>
            <ac:spMk id="4" creationId="{14BB034F-56BF-9C3E-5345-6C2BB6748383}"/>
          </ac:spMkLst>
        </pc:spChg>
        <pc:spChg chg="del mod">
          <ac:chgData name="Deimonmi Nongrum [Chillibreeze]" userId="e937f645-8c95-42a9-a298-dfd645e9a76a" providerId="ADAL" clId="{750E9A50-ACEA-48D3-B2C6-355D5EC56876}" dt="2024-06-13T10:32:41.947" v="1951" actId="478"/>
          <ac:spMkLst>
            <pc:docMk/>
            <pc:sldMk cId="0" sldId="263"/>
            <ac:spMk id="4" creationId="{C99ED3D4-8D2E-CC53-3329-3FAC7B4F12EE}"/>
          </ac:spMkLst>
        </pc:spChg>
        <pc:spChg chg="del mod">
          <ac:chgData name="Deimonmi Nongrum [Chillibreeze]" userId="e937f645-8c95-42a9-a298-dfd645e9a76a" providerId="ADAL" clId="{750E9A50-ACEA-48D3-B2C6-355D5EC56876}" dt="2024-06-13T10:32:41.947" v="1951" actId="478"/>
          <ac:spMkLst>
            <pc:docMk/>
            <pc:sldMk cId="0" sldId="263"/>
            <ac:spMk id="8" creationId="{5D6BD453-F336-6004-D669-A28A0CB4FACB}"/>
          </ac:spMkLst>
        </pc:spChg>
        <pc:spChg chg="del mod">
          <ac:chgData name="Deimonmi Nongrum [Chillibreeze]" userId="e937f645-8c95-42a9-a298-dfd645e9a76a" providerId="ADAL" clId="{750E9A50-ACEA-48D3-B2C6-355D5EC56876}" dt="2024-06-13T10:32:41.947" v="1951" actId="478"/>
          <ac:spMkLst>
            <pc:docMk/>
            <pc:sldMk cId="0" sldId="263"/>
            <ac:spMk id="9" creationId="{071C0064-0FC9-5FF2-F2EE-34B6CC1A0665}"/>
          </ac:spMkLst>
        </pc:spChg>
        <pc:spChg chg="del mod">
          <ac:chgData name="Deimonmi Nongrum [Chillibreeze]" userId="e937f645-8c95-42a9-a298-dfd645e9a76a" providerId="ADAL" clId="{750E9A50-ACEA-48D3-B2C6-355D5EC56876}" dt="2024-06-13T10:32:41.947" v="1951" actId="478"/>
          <ac:spMkLst>
            <pc:docMk/>
            <pc:sldMk cId="0" sldId="263"/>
            <ac:spMk id="10" creationId="{465E9F60-F797-AB92-FCB1-318DDDCBBE1F}"/>
          </ac:spMkLst>
        </pc:spChg>
        <pc:spChg chg="del mod">
          <ac:chgData name="Deimonmi Nongrum [Chillibreeze]" userId="e937f645-8c95-42a9-a298-dfd645e9a76a" providerId="ADAL" clId="{750E9A50-ACEA-48D3-B2C6-355D5EC56876}" dt="2024-06-13T10:32:41.947" v="1951" actId="478"/>
          <ac:spMkLst>
            <pc:docMk/>
            <pc:sldMk cId="0" sldId="263"/>
            <ac:spMk id="11" creationId="{FD869AB0-2B99-EBD8-1BE7-D46616F0574A}"/>
          </ac:spMkLst>
        </pc:spChg>
        <pc:spChg chg="mod">
          <ac:chgData name="Deimonmi Nongrum [Chillibreeze]" userId="e937f645-8c95-42a9-a298-dfd645e9a76a" providerId="ADAL" clId="{750E9A50-ACEA-48D3-B2C6-355D5EC56876}" dt="2024-06-13T10:32:34.702" v="1949"/>
          <ac:spMkLst>
            <pc:docMk/>
            <pc:sldMk cId="0" sldId="263"/>
            <ac:spMk id="16" creationId="{624077FA-122D-6431-F142-E47593D2FDC9}"/>
          </ac:spMkLst>
        </pc:spChg>
        <pc:spChg chg="add mod">
          <ac:chgData name="Deimonmi Nongrum [Chillibreeze]" userId="e937f645-8c95-42a9-a298-dfd645e9a76a" providerId="ADAL" clId="{750E9A50-ACEA-48D3-B2C6-355D5EC56876}" dt="2024-06-13T10:32:34.702" v="1949"/>
          <ac:spMkLst>
            <pc:docMk/>
            <pc:sldMk cId="0" sldId="263"/>
            <ac:spMk id="17" creationId="{307E4307-9768-C6E0-ACFC-2BFB00474C63}"/>
          </ac:spMkLst>
        </pc:spChg>
        <pc:spChg chg="add mod">
          <ac:chgData name="Deimonmi Nongrum [Chillibreeze]" userId="e937f645-8c95-42a9-a298-dfd645e9a76a" providerId="ADAL" clId="{750E9A50-ACEA-48D3-B2C6-355D5EC56876}" dt="2024-06-13T10:32:34.702" v="1949"/>
          <ac:spMkLst>
            <pc:docMk/>
            <pc:sldMk cId="0" sldId="263"/>
            <ac:spMk id="18" creationId="{DF03EAC4-FFFE-2D10-098C-2311BA801D60}"/>
          </ac:spMkLst>
        </pc:spChg>
        <pc:spChg chg="add mod">
          <ac:chgData name="Deimonmi Nongrum [Chillibreeze]" userId="e937f645-8c95-42a9-a298-dfd645e9a76a" providerId="ADAL" clId="{750E9A50-ACEA-48D3-B2C6-355D5EC56876}" dt="2024-06-13T10:32:34.702" v="1949"/>
          <ac:spMkLst>
            <pc:docMk/>
            <pc:sldMk cId="0" sldId="263"/>
            <ac:spMk id="19" creationId="{82DA3FDA-5C28-80EA-C59E-953F33841D0E}"/>
          </ac:spMkLst>
        </pc:spChg>
        <pc:spChg chg="add mod">
          <ac:chgData name="Deimonmi Nongrum [Chillibreeze]" userId="e937f645-8c95-42a9-a298-dfd645e9a76a" providerId="ADAL" clId="{750E9A50-ACEA-48D3-B2C6-355D5EC56876}" dt="2024-06-13T10:32:58.087" v="1955" actId="33553"/>
          <ac:spMkLst>
            <pc:docMk/>
            <pc:sldMk cId="0" sldId="263"/>
            <ac:spMk id="20" creationId="{6F13C9A5-D1B5-9A20-9B86-9F12C952ED58}"/>
          </ac:spMkLst>
        </pc:spChg>
        <pc:spChg chg="add del mod">
          <ac:chgData name="Deimonmi Nongrum [Chillibreeze]" userId="e937f645-8c95-42a9-a298-dfd645e9a76a" providerId="ADAL" clId="{750E9A50-ACEA-48D3-B2C6-355D5EC56876}" dt="2024-06-13T10:32:48.137" v="1952" actId="700"/>
          <ac:spMkLst>
            <pc:docMk/>
            <pc:sldMk cId="0" sldId="263"/>
            <ac:spMk id="26" creationId="{6361EAF5-3292-AF0B-AADB-C3F7BC32A64A}"/>
          </ac:spMkLst>
        </pc:spChg>
        <pc:spChg chg="add del mod">
          <ac:chgData name="Deimonmi Nongrum [Chillibreeze]" userId="e937f645-8c95-42a9-a298-dfd645e9a76a" providerId="ADAL" clId="{750E9A50-ACEA-48D3-B2C6-355D5EC56876}" dt="2024-06-13T10:32:55.160" v="1954" actId="33699"/>
          <ac:spMkLst>
            <pc:docMk/>
            <pc:sldMk cId="0" sldId="263"/>
            <ac:spMk id="27" creationId="{E95B8827-58DA-0A7F-DBB3-F4B21C81E679}"/>
          </ac:spMkLst>
        </pc:spChg>
        <pc:grpChg chg="add mod">
          <ac:chgData name="Deimonmi Nongrum [Chillibreeze]" userId="e937f645-8c95-42a9-a298-dfd645e9a76a" providerId="ADAL" clId="{750E9A50-ACEA-48D3-B2C6-355D5EC56876}" dt="2024-06-13T10:32:34.702" v="1949"/>
          <ac:grpSpMkLst>
            <pc:docMk/>
            <pc:sldMk cId="0" sldId="263"/>
            <ac:grpSpMk id="2" creationId="{153068E3-02C7-09E7-8C99-9101434FBD62}"/>
          </ac:grpSpMkLst>
        </pc:grpChg>
        <pc:grpChg chg="del mod">
          <ac:chgData name="Deimonmi Nongrum [Chillibreeze]" userId="e937f645-8c95-42a9-a298-dfd645e9a76a" providerId="ADAL" clId="{750E9A50-ACEA-48D3-B2C6-355D5EC56876}" dt="2024-06-13T10:32:41.947" v="1951" actId="478"/>
          <ac:grpSpMkLst>
            <pc:docMk/>
            <pc:sldMk cId="0" sldId="263"/>
            <ac:grpSpMk id="5" creationId="{021F83E8-C89D-5C48-D7C4-1103084E4E28}"/>
          </ac:grpSpMkLst>
        </pc:grpChg>
        <pc:picChg chg="del mod">
          <ac:chgData name="Deimonmi Nongrum [Chillibreeze]" userId="e937f645-8c95-42a9-a298-dfd645e9a76a" providerId="ADAL" clId="{750E9A50-ACEA-48D3-B2C6-355D5EC56876}" dt="2024-06-13T10:32:41.947" v="1951" actId="478"/>
          <ac:picMkLst>
            <pc:docMk/>
            <pc:sldMk cId="0" sldId="263"/>
            <ac:picMk id="12" creationId="{FABF9BC9-D6E7-B152-BDEB-1ECFC8CD430D}"/>
          </ac:picMkLst>
        </pc:picChg>
        <pc:picChg chg="del mod">
          <ac:chgData name="Deimonmi Nongrum [Chillibreeze]" userId="e937f645-8c95-42a9-a298-dfd645e9a76a" providerId="ADAL" clId="{750E9A50-ACEA-48D3-B2C6-355D5EC56876}" dt="2024-06-13T10:32:41.947" v="1951" actId="478"/>
          <ac:picMkLst>
            <pc:docMk/>
            <pc:sldMk cId="0" sldId="263"/>
            <ac:picMk id="13" creationId="{44025AE8-5CBE-CDDF-CFEF-8B04B2B71EA9}"/>
          </ac:picMkLst>
        </pc:picChg>
        <pc:picChg chg="del mod">
          <ac:chgData name="Deimonmi Nongrum [Chillibreeze]" userId="e937f645-8c95-42a9-a298-dfd645e9a76a" providerId="ADAL" clId="{750E9A50-ACEA-48D3-B2C6-355D5EC56876}" dt="2024-06-13T10:32:41.947" v="1951" actId="478"/>
          <ac:picMkLst>
            <pc:docMk/>
            <pc:sldMk cId="0" sldId="263"/>
            <ac:picMk id="14" creationId="{7671615E-875A-F185-B406-B4F2DBE8808D}"/>
          </ac:picMkLst>
        </pc:picChg>
        <pc:picChg chg="del mod">
          <ac:chgData name="Deimonmi Nongrum [Chillibreeze]" userId="e937f645-8c95-42a9-a298-dfd645e9a76a" providerId="ADAL" clId="{750E9A50-ACEA-48D3-B2C6-355D5EC56876}" dt="2024-06-13T10:32:41.947" v="1951" actId="478"/>
          <ac:picMkLst>
            <pc:docMk/>
            <pc:sldMk cId="0" sldId="263"/>
            <ac:picMk id="15" creationId="{646E3D12-FEB7-CD38-F6DD-7F40434EE476}"/>
          </ac:picMkLst>
        </pc:picChg>
        <pc:picChg chg="add mod">
          <ac:chgData name="Deimonmi Nongrum [Chillibreeze]" userId="e937f645-8c95-42a9-a298-dfd645e9a76a" providerId="ADAL" clId="{750E9A50-ACEA-48D3-B2C6-355D5EC56876}" dt="2024-06-13T10:32:34.702" v="1949"/>
          <ac:picMkLst>
            <pc:docMk/>
            <pc:sldMk cId="0" sldId="263"/>
            <ac:picMk id="21" creationId="{9F429AF1-54F9-1318-7600-DA0459151342}"/>
          </ac:picMkLst>
        </pc:picChg>
        <pc:picChg chg="add mod">
          <ac:chgData name="Deimonmi Nongrum [Chillibreeze]" userId="e937f645-8c95-42a9-a298-dfd645e9a76a" providerId="ADAL" clId="{750E9A50-ACEA-48D3-B2C6-355D5EC56876}" dt="2024-06-13T10:32:34.702" v="1949"/>
          <ac:picMkLst>
            <pc:docMk/>
            <pc:sldMk cId="0" sldId="263"/>
            <ac:picMk id="22" creationId="{C90C2621-28FF-A99C-6C5C-C9FEB1A367BD}"/>
          </ac:picMkLst>
        </pc:picChg>
        <pc:picChg chg="add mod">
          <ac:chgData name="Deimonmi Nongrum [Chillibreeze]" userId="e937f645-8c95-42a9-a298-dfd645e9a76a" providerId="ADAL" clId="{750E9A50-ACEA-48D3-B2C6-355D5EC56876}" dt="2024-06-13T10:32:34.702" v="1949"/>
          <ac:picMkLst>
            <pc:docMk/>
            <pc:sldMk cId="0" sldId="263"/>
            <ac:picMk id="23" creationId="{80402C20-37B6-9A54-1D9A-E213A6C0C054}"/>
          </ac:picMkLst>
        </pc:picChg>
        <pc:picChg chg="add mod">
          <ac:chgData name="Deimonmi Nongrum [Chillibreeze]" userId="e937f645-8c95-42a9-a298-dfd645e9a76a" providerId="ADAL" clId="{750E9A50-ACEA-48D3-B2C6-355D5EC56876}" dt="2024-06-13T10:32:34.702" v="1949"/>
          <ac:picMkLst>
            <pc:docMk/>
            <pc:sldMk cId="0" sldId="263"/>
            <ac:picMk id="24" creationId="{EF1B57D1-7F8B-A430-B032-4FBFF159FEC9}"/>
          </ac:picMkLst>
        </pc:picChg>
      </pc:sldChg>
      <pc:sldChg chg="addSp delSp modSp mod modClrScheme chgLayout">
        <pc:chgData name="Deimonmi Nongrum [Chillibreeze]" userId="e937f645-8c95-42a9-a298-dfd645e9a76a" providerId="ADAL" clId="{750E9A50-ACEA-48D3-B2C6-355D5EC56876}" dt="2024-06-12T09:43:22.507" v="153" actId="700"/>
        <pc:sldMkLst>
          <pc:docMk/>
          <pc:sldMk cId="0" sldId="264"/>
        </pc:sldMkLst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64"/>
            <ac:spMk id="2" creationId="{022700C3-074F-9758-CE8A-15DDF0F12DEE}"/>
          </ac:spMkLst>
        </pc:spChg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264"/>
            <ac:spMk id="2" creationId="{DB887FBB-F5A8-688A-E584-307C8340C124}"/>
          </ac:spMkLst>
        </pc:spChg>
        <pc:spChg chg="add mod">
          <ac:chgData name="Deimonmi Nongrum [Chillibreeze]" userId="e937f645-8c95-42a9-a298-dfd645e9a76a" providerId="ADAL" clId="{750E9A50-ACEA-48D3-B2C6-355D5EC56876}" dt="2024-06-12T03:54:42.195" v="15"/>
          <ac:spMkLst>
            <pc:docMk/>
            <pc:sldMk cId="0" sldId="264"/>
            <ac:spMk id="3" creationId="{867BC949-4A6A-1D04-4ED5-583832424B68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64"/>
            <ac:spMk id="4" creationId="{B1357BC6-BCFB-A447-B925-9E6742C967F1}"/>
          </ac:spMkLst>
        </pc:spChg>
      </pc:sldChg>
      <pc:sldChg chg="addSp delSp modSp mod modClrScheme chgLayout">
        <pc:chgData name="Deimonmi Nongrum [Chillibreeze]" userId="e937f645-8c95-42a9-a298-dfd645e9a76a" providerId="ADAL" clId="{750E9A50-ACEA-48D3-B2C6-355D5EC56876}" dt="2024-06-13T14:17:13.074" v="7246" actId="207"/>
        <pc:sldMkLst>
          <pc:docMk/>
          <pc:sldMk cId="0" sldId="265"/>
        </pc:sldMkLst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265"/>
            <ac:spMk id="2" creationId="{686FEBEB-2B97-76E8-4B3D-393A1E819CBA}"/>
          </ac:spMkLst>
        </pc:spChg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65"/>
            <ac:spMk id="2" creationId="{7DB72860-BB56-6935-6BF2-2C5B05D1989F}"/>
          </ac:spMkLst>
        </pc:spChg>
        <pc:spChg chg="mod">
          <ac:chgData name="Deimonmi Nongrum [Chillibreeze]" userId="e937f645-8c95-42a9-a298-dfd645e9a76a" providerId="ADAL" clId="{750E9A50-ACEA-48D3-B2C6-355D5EC56876}" dt="2024-06-13T10:34:41.856" v="1958" actId="571"/>
          <ac:spMkLst>
            <pc:docMk/>
            <pc:sldMk cId="0" sldId="265"/>
            <ac:spMk id="3" creationId="{186D7CC2-643B-280D-2ADE-2249E776BC75}"/>
          </ac:spMkLst>
        </pc:spChg>
        <pc:spChg chg="add mod">
          <ac:chgData name="Deimonmi Nongrum [Chillibreeze]" userId="e937f645-8c95-42a9-a298-dfd645e9a76a" providerId="ADAL" clId="{750E9A50-ACEA-48D3-B2C6-355D5EC56876}" dt="2024-06-12T03:54:43.255" v="16"/>
          <ac:spMkLst>
            <pc:docMk/>
            <pc:sldMk cId="0" sldId="265"/>
            <ac:spMk id="3" creationId="{78198872-F936-AF51-1133-249F4C86EF89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65"/>
            <ac:spMk id="4" creationId="{33909E83-184D-AF34-B747-6DE663B8085E}"/>
          </ac:spMkLst>
        </pc:spChg>
        <pc:spChg chg="mod ord">
          <ac:chgData name="Deimonmi Nongrum [Chillibreeze]" userId="e937f645-8c95-42a9-a298-dfd645e9a76a" providerId="ADAL" clId="{750E9A50-ACEA-48D3-B2C6-355D5EC56876}" dt="2024-06-13T14:17:13.074" v="7246" actId="207"/>
          <ac:spMkLst>
            <pc:docMk/>
            <pc:sldMk cId="0" sldId="265"/>
            <ac:spMk id="4" creationId="{725FE8ED-C484-6620-F90C-1E59E4FF57B2}"/>
          </ac:spMkLst>
        </pc:spChg>
        <pc:spChg chg="mod ord">
          <ac:chgData name="Deimonmi Nongrum [Chillibreeze]" userId="e937f645-8c95-42a9-a298-dfd645e9a76a" providerId="ADAL" clId="{750E9A50-ACEA-48D3-B2C6-355D5EC56876}" dt="2024-06-13T10:35:18.802" v="2000" actId="167"/>
          <ac:spMkLst>
            <pc:docMk/>
            <pc:sldMk cId="0" sldId="265"/>
            <ac:spMk id="5" creationId="{DBCDC0D6-CDB4-CB0B-AF26-2FA36769FC4F}"/>
          </ac:spMkLst>
        </pc:spChg>
        <pc:spChg chg="mod ord">
          <ac:chgData name="Deimonmi Nongrum [Chillibreeze]" userId="e937f645-8c95-42a9-a298-dfd645e9a76a" providerId="ADAL" clId="{750E9A50-ACEA-48D3-B2C6-355D5EC56876}" dt="2024-06-13T10:35:18.802" v="2000" actId="167"/>
          <ac:spMkLst>
            <pc:docMk/>
            <pc:sldMk cId="0" sldId="265"/>
            <ac:spMk id="6" creationId="{C8EC9F4E-400C-91CC-8F9D-6D8E43B5E0BD}"/>
          </ac:spMkLst>
        </pc:spChg>
        <pc:spChg chg="mod ord">
          <ac:chgData name="Deimonmi Nongrum [Chillibreeze]" userId="e937f645-8c95-42a9-a298-dfd645e9a76a" providerId="ADAL" clId="{750E9A50-ACEA-48D3-B2C6-355D5EC56876}" dt="2024-06-13T10:35:18.802" v="2000" actId="167"/>
          <ac:spMkLst>
            <pc:docMk/>
            <pc:sldMk cId="0" sldId="265"/>
            <ac:spMk id="7" creationId="{31C89802-FB3A-71FC-E327-64863817512F}"/>
          </ac:spMkLst>
        </pc:spChg>
        <pc:spChg chg="mod ord">
          <ac:chgData name="Deimonmi Nongrum [Chillibreeze]" userId="e937f645-8c95-42a9-a298-dfd645e9a76a" providerId="ADAL" clId="{750E9A50-ACEA-48D3-B2C6-355D5EC56876}" dt="2024-06-13T10:35:18.802" v="2000" actId="167"/>
          <ac:spMkLst>
            <pc:docMk/>
            <pc:sldMk cId="0" sldId="265"/>
            <ac:spMk id="8" creationId="{DD707491-EFE4-D1EB-768A-88B523DDA7C5}"/>
          </ac:spMkLst>
        </pc:spChg>
        <pc:spChg chg="mod ord topLvl">
          <ac:chgData name="Deimonmi Nongrum [Chillibreeze]" userId="e937f645-8c95-42a9-a298-dfd645e9a76a" providerId="ADAL" clId="{750E9A50-ACEA-48D3-B2C6-355D5EC56876}" dt="2024-06-13T10:35:25.651" v="2009"/>
          <ac:spMkLst>
            <pc:docMk/>
            <pc:sldMk cId="0" sldId="265"/>
            <ac:spMk id="11" creationId="{737B764E-F0B6-D69F-B44F-97CD671E23AF}"/>
          </ac:spMkLst>
        </pc:spChg>
        <pc:spChg chg="mod ord topLvl">
          <ac:chgData name="Deimonmi Nongrum [Chillibreeze]" userId="e937f645-8c95-42a9-a298-dfd645e9a76a" providerId="ADAL" clId="{750E9A50-ACEA-48D3-B2C6-355D5EC56876}" dt="2024-06-13T10:35:35.359" v="2014" actId="164"/>
          <ac:spMkLst>
            <pc:docMk/>
            <pc:sldMk cId="0" sldId="265"/>
            <ac:spMk id="15" creationId="{010DF0CB-EDC6-073C-3D0F-BCD73C6105FF}"/>
          </ac:spMkLst>
        </pc:spChg>
        <pc:spChg chg="del mod topLvl">
          <ac:chgData name="Deimonmi Nongrum [Chillibreeze]" userId="e937f645-8c95-42a9-a298-dfd645e9a76a" providerId="ADAL" clId="{750E9A50-ACEA-48D3-B2C6-355D5EC56876}" dt="2024-06-13T10:35:01.640" v="1995" actId="478"/>
          <ac:spMkLst>
            <pc:docMk/>
            <pc:sldMk cId="0" sldId="265"/>
            <ac:spMk id="23" creationId="{42CCF31F-501B-EEAD-54FB-D99A58B42AD1}"/>
          </ac:spMkLst>
        </pc:spChg>
        <pc:spChg chg="del mod topLvl">
          <ac:chgData name="Deimonmi Nongrum [Chillibreeze]" userId="e937f645-8c95-42a9-a298-dfd645e9a76a" providerId="ADAL" clId="{750E9A50-ACEA-48D3-B2C6-355D5EC56876}" dt="2024-06-13T10:35:01.640" v="1995" actId="478"/>
          <ac:spMkLst>
            <pc:docMk/>
            <pc:sldMk cId="0" sldId="265"/>
            <ac:spMk id="24" creationId="{C5D70077-D659-33F6-C2E5-053B1807F4B2}"/>
          </ac:spMkLst>
        </pc:spChg>
        <pc:spChg chg="mod">
          <ac:chgData name="Deimonmi Nongrum [Chillibreeze]" userId="e937f645-8c95-42a9-a298-dfd645e9a76a" providerId="ADAL" clId="{750E9A50-ACEA-48D3-B2C6-355D5EC56876}" dt="2024-06-13T10:34:41.856" v="1958" actId="571"/>
          <ac:spMkLst>
            <pc:docMk/>
            <pc:sldMk cId="0" sldId="265"/>
            <ac:spMk id="25" creationId="{E08B79AD-68AF-FF1F-BE02-054E31BBE215}"/>
          </ac:spMkLst>
        </pc:spChg>
        <pc:spChg chg="mod ord">
          <ac:chgData name="Deimonmi Nongrum [Chillibreeze]" userId="e937f645-8c95-42a9-a298-dfd645e9a76a" providerId="ADAL" clId="{750E9A50-ACEA-48D3-B2C6-355D5EC56876}" dt="2024-06-13T10:35:18.802" v="2000" actId="167"/>
          <ac:spMkLst>
            <pc:docMk/>
            <pc:sldMk cId="0" sldId="265"/>
            <ac:spMk id="28" creationId="{D5A581A6-0E30-55BF-0563-76360E5A5BB4}"/>
          </ac:spMkLst>
        </pc:spChg>
        <pc:spChg chg="mod ord">
          <ac:chgData name="Deimonmi Nongrum [Chillibreeze]" userId="e937f645-8c95-42a9-a298-dfd645e9a76a" providerId="ADAL" clId="{750E9A50-ACEA-48D3-B2C6-355D5EC56876}" dt="2024-06-13T10:35:21.537" v="2002" actId="1076"/>
          <ac:spMkLst>
            <pc:docMk/>
            <pc:sldMk cId="0" sldId="265"/>
            <ac:spMk id="29" creationId="{F48A3EF6-21AC-111D-020C-10DED4BA4D88}"/>
          </ac:spMkLst>
        </pc:spChg>
        <pc:grpChg chg="add del mod">
          <ac:chgData name="Deimonmi Nongrum [Chillibreeze]" userId="e937f645-8c95-42a9-a298-dfd645e9a76a" providerId="ADAL" clId="{750E9A50-ACEA-48D3-B2C6-355D5EC56876}" dt="2024-06-13T10:34:45.477" v="1960" actId="21"/>
          <ac:grpSpMkLst>
            <pc:docMk/>
            <pc:sldMk cId="0" sldId="265"/>
            <ac:grpSpMk id="2" creationId="{E45B2B6E-6AA5-CB95-31B7-D02DFFDBA696}"/>
          </ac:grpSpMkLst>
        </pc:grpChg>
        <pc:grpChg chg="add del mod">
          <ac:chgData name="Deimonmi Nongrum [Chillibreeze]" userId="e937f645-8c95-42a9-a298-dfd645e9a76a" providerId="ADAL" clId="{750E9A50-ACEA-48D3-B2C6-355D5EC56876}" dt="2024-06-13T10:35:08.015" v="1996" actId="165"/>
          <ac:grpSpMkLst>
            <pc:docMk/>
            <pc:sldMk cId="0" sldId="265"/>
            <ac:grpSpMk id="9" creationId="{17675474-8052-61D5-97FE-5CD0DCCB0DDC}"/>
          </ac:grpSpMkLst>
        </pc:grpChg>
        <pc:grpChg chg="add del mod">
          <ac:chgData name="Deimonmi Nongrum [Chillibreeze]" userId="e937f645-8c95-42a9-a298-dfd645e9a76a" providerId="ADAL" clId="{750E9A50-ACEA-48D3-B2C6-355D5EC56876}" dt="2024-06-13T10:35:29.747" v="2012" actId="165"/>
          <ac:grpSpMkLst>
            <pc:docMk/>
            <pc:sldMk cId="0" sldId="265"/>
            <ac:grpSpMk id="13" creationId="{7C39DF8B-AE49-A318-9DA2-381CFB5EB869}"/>
          </ac:grpSpMkLst>
        </pc:grpChg>
        <pc:grpChg chg="add del mod ord">
          <ac:chgData name="Deimonmi Nongrum [Chillibreeze]" userId="e937f645-8c95-42a9-a298-dfd645e9a76a" providerId="ADAL" clId="{750E9A50-ACEA-48D3-B2C6-355D5EC56876}" dt="2024-06-13T10:34:56.023" v="1994" actId="165"/>
          <ac:grpSpMkLst>
            <pc:docMk/>
            <pc:sldMk cId="0" sldId="265"/>
            <ac:grpSpMk id="22" creationId="{611BAEB5-D1F9-5591-2A88-495D840A34A8}"/>
          </ac:grpSpMkLst>
        </pc:grpChg>
        <pc:grpChg chg="add mod ord">
          <ac:chgData name="Deimonmi Nongrum [Chillibreeze]" userId="e937f645-8c95-42a9-a298-dfd645e9a76a" providerId="ADAL" clId="{750E9A50-ACEA-48D3-B2C6-355D5EC56876}" dt="2024-06-13T12:08:25.158" v="4144" actId="962"/>
          <ac:grpSpMkLst>
            <pc:docMk/>
            <pc:sldMk cId="0" sldId="265"/>
            <ac:grpSpMk id="30" creationId="{08020E34-31E6-0A0A-0C65-6C3552348AC4}"/>
          </ac:grpSpMkLst>
        </pc:grpChg>
        <pc:picChg chg="mod ord topLvl">
          <ac:chgData name="Deimonmi Nongrum [Chillibreeze]" userId="e937f645-8c95-42a9-a298-dfd645e9a76a" providerId="ADAL" clId="{750E9A50-ACEA-48D3-B2C6-355D5EC56876}" dt="2024-06-13T10:35:18.802" v="2000" actId="167"/>
          <ac:picMkLst>
            <pc:docMk/>
            <pc:sldMk cId="0" sldId="265"/>
            <ac:picMk id="10" creationId="{E5FF8639-BCE4-D70F-35C5-30D5F1F3A3FC}"/>
          </ac:picMkLst>
        </pc:picChg>
        <pc:picChg chg="ord">
          <ac:chgData name="Deimonmi Nongrum [Chillibreeze]" userId="e937f645-8c95-42a9-a298-dfd645e9a76a" providerId="ADAL" clId="{750E9A50-ACEA-48D3-B2C6-355D5EC56876}" dt="2024-06-13T10:35:26.201" v="2010"/>
          <ac:picMkLst>
            <pc:docMk/>
            <pc:sldMk cId="0" sldId="265"/>
            <ac:picMk id="12" creationId="{56E9A58B-A255-3668-B964-931080294043}"/>
          </ac:picMkLst>
        </pc:picChg>
        <pc:picChg chg="mod topLvl">
          <ac:chgData name="Deimonmi Nongrum [Chillibreeze]" userId="e937f645-8c95-42a9-a298-dfd645e9a76a" providerId="ADAL" clId="{750E9A50-ACEA-48D3-B2C6-355D5EC56876}" dt="2024-06-13T10:35:35.359" v="2014" actId="164"/>
          <ac:picMkLst>
            <pc:docMk/>
            <pc:sldMk cId="0" sldId="265"/>
            <ac:picMk id="14" creationId="{E6AF19D7-08F4-EE1B-6A22-0218EAD990F0}"/>
          </ac:picMkLst>
        </pc:picChg>
        <pc:picChg chg="ord">
          <ac:chgData name="Deimonmi Nongrum [Chillibreeze]" userId="e937f645-8c95-42a9-a298-dfd645e9a76a" providerId="ADAL" clId="{750E9A50-ACEA-48D3-B2C6-355D5EC56876}" dt="2024-06-13T10:35:38.129" v="2016"/>
          <ac:picMkLst>
            <pc:docMk/>
            <pc:sldMk cId="0" sldId="265"/>
            <ac:picMk id="16" creationId="{04C775FE-D306-21F0-289B-2FEB37766321}"/>
          </ac:picMkLst>
        </pc:picChg>
        <pc:picChg chg="ord">
          <ac:chgData name="Deimonmi Nongrum [Chillibreeze]" userId="e937f645-8c95-42a9-a298-dfd645e9a76a" providerId="ADAL" clId="{750E9A50-ACEA-48D3-B2C6-355D5EC56876}" dt="2024-06-13T10:35:38.764" v="2017"/>
          <ac:picMkLst>
            <pc:docMk/>
            <pc:sldMk cId="0" sldId="265"/>
            <ac:picMk id="17" creationId="{1345031E-B57E-2917-9787-507EBC670751}"/>
          </ac:picMkLst>
        </pc:picChg>
        <pc:picChg chg="ord">
          <ac:chgData name="Deimonmi Nongrum [Chillibreeze]" userId="e937f645-8c95-42a9-a298-dfd645e9a76a" providerId="ADAL" clId="{750E9A50-ACEA-48D3-B2C6-355D5EC56876}" dt="2024-06-13T10:35:39.403" v="2018"/>
          <ac:picMkLst>
            <pc:docMk/>
            <pc:sldMk cId="0" sldId="265"/>
            <ac:picMk id="18" creationId="{1ABD9988-5F5E-8302-3E9B-A6F72456E108}"/>
          </ac:picMkLst>
        </pc:picChg>
        <pc:picChg chg="ord">
          <ac:chgData name="Deimonmi Nongrum [Chillibreeze]" userId="e937f645-8c95-42a9-a298-dfd645e9a76a" providerId="ADAL" clId="{750E9A50-ACEA-48D3-B2C6-355D5EC56876}" dt="2024-06-13T10:35:40.164" v="2019"/>
          <ac:picMkLst>
            <pc:docMk/>
            <pc:sldMk cId="0" sldId="265"/>
            <ac:picMk id="19" creationId="{0086A093-E134-B3AC-979C-5D26D770C599}"/>
          </ac:picMkLst>
        </pc:picChg>
        <pc:picChg chg="ord">
          <ac:chgData name="Deimonmi Nongrum [Chillibreeze]" userId="e937f645-8c95-42a9-a298-dfd645e9a76a" providerId="ADAL" clId="{750E9A50-ACEA-48D3-B2C6-355D5EC56876}" dt="2024-06-13T10:35:40.956" v="2020"/>
          <ac:picMkLst>
            <pc:docMk/>
            <pc:sldMk cId="0" sldId="265"/>
            <ac:picMk id="20" creationId="{1DF44384-F0E5-69CE-32A1-0002D7BD662D}"/>
          </ac:picMkLst>
        </pc:picChg>
        <pc:picChg chg="ord">
          <ac:chgData name="Deimonmi Nongrum [Chillibreeze]" userId="e937f645-8c95-42a9-a298-dfd645e9a76a" providerId="ADAL" clId="{750E9A50-ACEA-48D3-B2C6-355D5EC56876}" dt="2024-06-13T10:35:41.520" v="2021"/>
          <ac:picMkLst>
            <pc:docMk/>
            <pc:sldMk cId="0" sldId="265"/>
            <ac:picMk id="21" creationId="{34C7525A-921C-09CC-F3A2-0E2FB411F738}"/>
          </ac:picMkLst>
        </pc:picChg>
        <pc:picChg chg="mod ord">
          <ac:chgData name="Deimonmi Nongrum [Chillibreeze]" userId="e937f645-8c95-42a9-a298-dfd645e9a76a" providerId="ADAL" clId="{750E9A50-ACEA-48D3-B2C6-355D5EC56876}" dt="2024-06-13T10:35:18.802" v="2000" actId="167"/>
          <ac:picMkLst>
            <pc:docMk/>
            <pc:sldMk cId="0" sldId="265"/>
            <ac:picMk id="26" creationId="{E9873C66-A09F-512F-F8AA-B0E4731367DB}"/>
          </ac:picMkLst>
        </pc:picChg>
        <pc:picChg chg="mod ord">
          <ac:chgData name="Deimonmi Nongrum [Chillibreeze]" userId="e937f645-8c95-42a9-a298-dfd645e9a76a" providerId="ADAL" clId="{750E9A50-ACEA-48D3-B2C6-355D5EC56876}" dt="2024-06-13T10:36:09.440" v="2068" actId="962"/>
          <ac:picMkLst>
            <pc:docMk/>
            <pc:sldMk cId="0" sldId="265"/>
            <ac:picMk id="27" creationId="{61FCB305-85BF-FC25-6169-926D3B24685E}"/>
          </ac:picMkLst>
        </pc:picChg>
      </pc:sldChg>
      <pc:sldChg chg="addSp modSp mod modClrScheme chgLayout">
        <pc:chgData name="Deimonmi Nongrum [Chillibreeze]" userId="e937f645-8c95-42a9-a298-dfd645e9a76a" providerId="ADAL" clId="{750E9A50-ACEA-48D3-B2C6-355D5EC56876}" dt="2024-06-13T10:37:04.100" v="2100"/>
        <pc:sldMkLst>
          <pc:docMk/>
          <pc:sldMk cId="0" sldId="266"/>
        </pc:sldMkLst>
        <pc:spChg chg="add mod">
          <ac:chgData name="Deimonmi Nongrum [Chillibreeze]" userId="e937f645-8c95-42a9-a298-dfd645e9a76a" providerId="ADAL" clId="{750E9A50-ACEA-48D3-B2C6-355D5EC56876}" dt="2024-06-12T03:54:44.401" v="17"/>
          <ac:spMkLst>
            <pc:docMk/>
            <pc:sldMk cId="0" sldId="266"/>
            <ac:spMk id="2" creationId="{E7F4D234-689B-7610-5B66-05AD249E1E35}"/>
          </ac:spMkLst>
        </pc:spChg>
        <pc:spChg chg="ord">
          <ac:chgData name="Deimonmi Nongrum [Chillibreeze]" userId="e937f645-8c95-42a9-a298-dfd645e9a76a" providerId="ADAL" clId="{750E9A50-ACEA-48D3-B2C6-355D5EC56876}" dt="2024-06-13T10:36:28.057" v="2071" actId="167"/>
          <ac:spMkLst>
            <pc:docMk/>
            <pc:sldMk cId="0" sldId="266"/>
            <ac:spMk id="3" creationId="{D29B7556-CEFC-9E01-7D70-A81D7E9B97C3}"/>
          </ac:spMkLst>
        </pc:spChg>
        <pc:spChg chg="ord">
          <ac:chgData name="Deimonmi Nongrum [Chillibreeze]" userId="e937f645-8c95-42a9-a298-dfd645e9a76a" providerId="ADAL" clId="{750E9A50-ACEA-48D3-B2C6-355D5EC56876}" dt="2024-06-13T10:36:33.938" v="2080"/>
          <ac:spMkLst>
            <pc:docMk/>
            <pc:sldMk cId="0" sldId="266"/>
            <ac:spMk id="15" creationId="{7D596169-BD48-7C51-B526-3826D4CD7748}"/>
          </ac:spMkLst>
        </pc:spChg>
        <pc:spChg chg="ord">
          <ac:chgData name="Deimonmi Nongrum [Chillibreeze]" userId="e937f645-8c95-42a9-a298-dfd645e9a76a" providerId="ADAL" clId="{750E9A50-ACEA-48D3-B2C6-355D5EC56876}" dt="2024-06-13T10:36:58.698" v="2096"/>
          <ac:spMkLst>
            <pc:docMk/>
            <pc:sldMk cId="0" sldId="266"/>
            <ac:spMk id="16" creationId="{A8BE1DD1-ADE1-61B3-C485-7AC39FFDCEC9}"/>
          </ac:spMkLst>
        </pc:spChg>
        <pc:spChg chg="ord">
          <ac:chgData name="Deimonmi Nongrum [Chillibreeze]" userId="e937f645-8c95-42a9-a298-dfd645e9a76a" providerId="ADAL" clId="{750E9A50-ACEA-48D3-B2C6-355D5EC56876}" dt="2024-06-13T10:36:34.902" v="2082"/>
          <ac:spMkLst>
            <pc:docMk/>
            <pc:sldMk cId="0" sldId="266"/>
            <ac:spMk id="20" creationId="{10007D42-CAB1-0942-41D2-1631A3704D8E}"/>
          </ac:spMkLst>
        </pc:spChg>
        <pc:spChg chg="ord">
          <ac:chgData name="Deimonmi Nongrum [Chillibreeze]" userId="e937f645-8c95-42a9-a298-dfd645e9a76a" providerId="ADAL" clId="{750E9A50-ACEA-48D3-B2C6-355D5EC56876}" dt="2024-06-13T10:37:00.494" v="2098"/>
          <ac:spMkLst>
            <pc:docMk/>
            <pc:sldMk cId="0" sldId="266"/>
            <ac:spMk id="21" creationId="{2808F16C-12D9-2968-0F2B-35BA41AD86A7}"/>
          </ac:spMkLst>
        </pc:spChg>
        <pc:spChg chg="ord">
          <ac:chgData name="Deimonmi Nongrum [Chillibreeze]" userId="e937f645-8c95-42a9-a298-dfd645e9a76a" providerId="ADAL" clId="{750E9A50-ACEA-48D3-B2C6-355D5EC56876}" dt="2024-06-13T10:37:04.100" v="2100"/>
          <ac:spMkLst>
            <pc:docMk/>
            <pc:sldMk cId="0" sldId="266"/>
            <ac:spMk id="26" creationId="{52D2100A-D6A7-740D-3723-C7934E04587C}"/>
          </ac:spMkLst>
        </pc:spChg>
        <pc:spChg chg="ord">
          <ac:chgData name="Deimonmi Nongrum [Chillibreeze]" userId="e937f645-8c95-42a9-a298-dfd645e9a76a" providerId="ADAL" clId="{750E9A50-ACEA-48D3-B2C6-355D5EC56876}" dt="2024-06-13T10:36:28.057" v="2071" actId="167"/>
          <ac:spMkLst>
            <pc:docMk/>
            <pc:sldMk cId="0" sldId="266"/>
            <ac:spMk id="28" creationId="{65404188-8F01-8555-BDAE-AB174B6FA75B}"/>
          </ac:spMkLst>
        </pc:spChg>
        <pc:spChg chg="ord">
          <ac:chgData name="Deimonmi Nongrum [Chillibreeze]" userId="e937f645-8c95-42a9-a298-dfd645e9a76a" providerId="ADAL" clId="{750E9A50-ACEA-48D3-B2C6-355D5EC56876}" dt="2024-06-13T10:36:28.057" v="2071" actId="167"/>
          <ac:spMkLst>
            <pc:docMk/>
            <pc:sldMk cId="0" sldId="266"/>
            <ac:spMk id="29" creationId="{9F6754EC-5256-94C2-FDA6-2250C8505511}"/>
          </ac:spMkLst>
        </pc:spChg>
        <pc:spChg chg="ord">
          <ac:chgData name="Deimonmi Nongrum [Chillibreeze]" userId="e937f645-8c95-42a9-a298-dfd645e9a76a" providerId="ADAL" clId="{750E9A50-ACEA-48D3-B2C6-355D5EC56876}" dt="2024-06-13T10:36:56.144" v="2093"/>
          <ac:spMkLst>
            <pc:docMk/>
            <pc:sldMk cId="0" sldId="266"/>
            <ac:spMk id="31" creationId="{B3E2DBC2-74D9-70C2-964F-303AC52C8342}"/>
          </ac:spMkLst>
        </pc:spChg>
        <pc:spChg chg="mod ord">
          <ac:chgData name="Deimonmi Nongrum [Chillibreeze]" userId="e937f645-8c95-42a9-a298-dfd645e9a76a" providerId="ADAL" clId="{750E9A50-ACEA-48D3-B2C6-355D5EC56876}" dt="2024-06-13T10:36:54.197" v="2092"/>
          <ac:spMkLst>
            <pc:docMk/>
            <pc:sldMk cId="0" sldId="266"/>
            <ac:spMk id="4236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66"/>
            <ac:spMk id="4242" creationId="{00000000-0000-0000-0000-000000000000}"/>
          </ac:spMkLst>
        </pc:spChg>
        <pc:grpChg chg="ord">
          <ac:chgData name="Deimonmi Nongrum [Chillibreeze]" userId="e937f645-8c95-42a9-a298-dfd645e9a76a" providerId="ADAL" clId="{750E9A50-ACEA-48D3-B2C6-355D5EC56876}" dt="2024-06-13T10:36:56.923" v="2094"/>
          <ac:grpSpMkLst>
            <pc:docMk/>
            <pc:sldMk cId="0" sldId="266"/>
            <ac:grpSpMk id="9" creationId="{74392C06-4120-1A09-5C63-73E2EC193B44}"/>
          </ac:grpSpMkLst>
        </pc:grpChg>
        <pc:grpChg chg="ord">
          <ac:chgData name="Deimonmi Nongrum [Chillibreeze]" userId="e937f645-8c95-42a9-a298-dfd645e9a76a" providerId="ADAL" clId="{750E9A50-ACEA-48D3-B2C6-355D5EC56876}" dt="2024-06-13T10:36:58" v="2095"/>
          <ac:grpSpMkLst>
            <pc:docMk/>
            <pc:sldMk cId="0" sldId="266"/>
            <ac:grpSpMk id="12" creationId="{6DE8D636-FC79-5AC4-848A-D2776B9ABDCB}"/>
          </ac:grpSpMkLst>
        </pc:grpChg>
        <pc:grpChg chg="ord">
          <ac:chgData name="Deimonmi Nongrum [Chillibreeze]" userId="e937f645-8c95-42a9-a298-dfd645e9a76a" providerId="ADAL" clId="{750E9A50-ACEA-48D3-B2C6-355D5EC56876}" dt="2024-06-13T10:36:59.560" v="2097"/>
          <ac:grpSpMkLst>
            <pc:docMk/>
            <pc:sldMk cId="0" sldId="266"/>
            <ac:grpSpMk id="17" creationId="{25CC733D-8735-B629-980D-881C9E41F858}"/>
          </ac:grpSpMkLst>
        </pc:grpChg>
        <pc:grpChg chg="ord">
          <ac:chgData name="Deimonmi Nongrum [Chillibreeze]" userId="e937f645-8c95-42a9-a298-dfd645e9a76a" providerId="ADAL" clId="{750E9A50-ACEA-48D3-B2C6-355D5EC56876}" dt="2024-06-13T10:37:02.554" v="2099"/>
          <ac:grpSpMkLst>
            <pc:docMk/>
            <pc:sldMk cId="0" sldId="266"/>
            <ac:grpSpMk id="22" creationId="{2509F6B0-1BEF-DAA6-87AC-02704D9FA686}"/>
          </ac:grpSpMkLst>
        </pc:grpChg>
        <pc:picChg chg="ord">
          <ac:chgData name="Deimonmi Nongrum [Chillibreeze]" userId="e937f645-8c95-42a9-a298-dfd645e9a76a" providerId="ADAL" clId="{750E9A50-ACEA-48D3-B2C6-355D5EC56876}" dt="2024-06-13T10:36:28.057" v="2071" actId="167"/>
          <ac:picMkLst>
            <pc:docMk/>
            <pc:sldMk cId="0" sldId="266"/>
            <ac:picMk id="27" creationId="{362487E0-74CC-597C-768D-89575B852FBF}"/>
          </ac:picMkLst>
        </pc:picChg>
        <pc:cxnChg chg="ord">
          <ac:chgData name="Deimonmi Nongrum [Chillibreeze]" userId="e937f645-8c95-42a9-a298-dfd645e9a76a" providerId="ADAL" clId="{750E9A50-ACEA-48D3-B2C6-355D5EC56876}" dt="2024-06-13T10:36:28.057" v="2071" actId="167"/>
          <ac:cxnSpMkLst>
            <pc:docMk/>
            <pc:sldMk cId="0" sldId="266"/>
            <ac:cxnSpMk id="30" creationId="{ACAE4659-FF61-1A43-6A5C-BC964E973CB1}"/>
          </ac:cxnSpMkLst>
        </pc:cxnChg>
      </pc:sldChg>
      <pc:sldChg chg="addSp delSp modSp mod modClrScheme chgLayout">
        <pc:chgData name="Deimonmi Nongrum [Chillibreeze]" userId="e937f645-8c95-42a9-a298-dfd645e9a76a" providerId="ADAL" clId="{750E9A50-ACEA-48D3-B2C6-355D5EC56876}" dt="2024-06-13T12:08:35.204" v="4182" actId="962"/>
        <pc:sldMkLst>
          <pc:docMk/>
          <pc:sldMk cId="0" sldId="267"/>
        </pc:sldMkLst>
        <pc:spChg chg="add mod">
          <ac:chgData name="Deimonmi Nongrum [Chillibreeze]" userId="e937f645-8c95-42a9-a298-dfd645e9a76a" providerId="ADAL" clId="{750E9A50-ACEA-48D3-B2C6-355D5EC56876}" dt="2024-06-12T03:54:45.311" v="18"/>
          <ac:spMkLst>
            <pc:docMk/>
            <pc:sldMk cId="0" sldId="267"/>
            <ac:spMk id="2" creationId="{0A2604A9-34B1-3A37-8233-3D0932466C58}"/>
          </ac:spMkLst>
        </pc:spChg>
        <pc:spChg chg="ord">
          <ac:chgData name="Deimonmi Nongrum [Chillibreeze]" userId="e937f645-8c95-42a9-a298-dfd645e9a76a" providerId="ADAL" clId="{750E9A50-ACEA-48D3-B2C6-355D5EC56876}" dt="2024-06-13T10:37:29.633" v="2109" actId="166"/>
          <ac:spMkLst>
            <pc:docMk/>
            <pc:sldMk cId="0" sldId="267"/>
            <ac:spMk id="4" creationId="{3A905B9A-1C16-7D81-B63D-293C091A379E}"/>
          </ac:spMkLst>
        </pc:spChg>
        <pc:spChg chg="ord">
          <ac:chgData name="Deimonmi Nongrum [Chillibreeze]" userId="e937f645-8c95-42a9-a298-dfd645e9a76a" providerId="ADAL" clId="{750E9A50-ACEA-48D3-B2C6-355D5EC56876}" dt="2024-06-13T10:37:26.100" v="2103" actId="167"/>
          <ac:spMkLst>
            <pc:docMk/>
            <pc:sldMk cId="0" sldId="267"/>
            <ac:spMk id="5" creationId="{60745462-BF25-34A5-6B20-CC4A49891D47}"/>
          </ac:spMkLst>
        </pc:spChg>
        <pc:spChg chg="ord">
          <ac:chgData name="Deimonmi Nongrum [Chillibreeze]" userId="e937f645-8c95-42a9-a298-dfd645e9a76a" providerId="ADAL" clId="{750E9A50-ACEA-48D3-B2C6-355D5EC56876}" dt="2024-06-13T10:37:26.100" v="2103" actId="167"/>
          <ac:spMkLst>
            <pc:docMk/>
            <pc:sldMk cId="0" sldId="267"/>
            <ac:spMk id="6" creationId="{FE8F88A2-B650-073E-4611-FE910A80541A}"/>
          </ac:spMkLst>
        </pc:spChg>
        <pc:spChg chg="ord">
          <ac:chgData name="Deimonmi Nongrum [Chillibreeze]" userId="e937f645-8c95-42a9-a298-dfd645e9a76a" providerId="ADAL" clId="{750E9A50-ACEA-48D3-B2C6-355D5EC56876}" dt="2024-06-13T10:37:26.100" v="2103" actId="167"/>
          <ac:spMkLst>
            <pc:docMk/>
            <pc:sldMk cId="0" sldId="267"/>
            <ac:spMk id="7" creationId="{B9FC376F-8D4B-FF59-6A79-54CEA71ACFE1}"/>
          </ac:spMkLst>
        </pc:spChg>
        <pc:spChg chg="ord">
          <ac:chgData name="Deimonmi Nongrum [Chillibreeze]" userId="e937f645-8c95-42a9-a298-dfd645e9a76a" providerId="ADAL" clId="{750E9A50-ACEA-48D3-B2C6-355D5EC56876}" dt="2024-06-13T10:37:26.100" v="2103" actId="167"/>
          <ac:spMkLst>
            <pc:docMk/>
            <pc:sldMk cId="0" sldId="267"/>
            <ac:spMk id="8" creationId="{E9ECB595-A2E6-58F2-0F29-7230447A48FD}"/>
          </ac:spMkLst>
        </pc:spChg>
        <pc:spChg chg="ord">
          <ac:chgData name="Deimonmi Nongrum [Chillibreeze]" userId="e937f645-8c95-42a9-a298-dfd645e9a76a" providerId="ADAL" clId="{750E9A50-ACEA-48D3-B2C6-355D5EC56876}" dt="2024-06-13T10:37:26.100" v="2103" actId="167"/>
          <ac:spMkLst>
            <pc:docMk/>
            <pc:sldMk cId="0" sldId="267"/>
            <ac:spMk id="9" creationId="{0A61B8DB-B93B-EF58-7E28-77A8E45334FD}"/>
          </ac:spMkLst>
        </pc:spChg>
        <pc:spChg chg="ord">
          <ac:chgData name="Deimonmi Nongrum [Chillibreeze]" userId="e937f645-8c95-42a9-a298-dfd645e9a76a" providerId="ADAL" clId="{750E9A50-ACEA-48D3-B2C6-355D5EC56876}" dt="2024-06-13T10:37:26.100" v="2103" actId="167"/>
          <ac:spMkLst>
            <pc:docMk/>
            <pc:sldMk cId="0" sldId="267"/>
            <ac:spMk id="10" creationId="{CF08B25E-E7A5-6A75-9AA5-120AABEE3E74}"/>
          </ac:spMkLst>
        </pc:spChg>
        <pc:spChg chg="mod topLvl">
          <ac:chgData name="Deimonmi Nongrum [Chillibreeze]" userId="e937f645-8c95-42a9-a298-dfd645e9a76a" providerId="ADAL" clId="{750E9A50-ACEA-48D3-B2C6-355D5EC56876}" dt="2024-06-13T10:38:03.556" v="2129" actId="165"/>
          <ac:spMkLst>
            <pc:docMk/>
            <pc:sldMk cId="0" sldId="267"/>
            <ac:spMk id="16" creationId="{65FC31B9-3996-C4D8-7237-1D7F416B49B5}"/>
          </ac:spMkLst>
        </pc:spChg>
        <pc:spChg chg="mod topLvl">
          <ac:chgData name="Deimonmi Nongrum [Chillibreeze]" userId="e937f645-8c95-42a9-a298-dfd645e9a76a" providerId="ADAL" clId="{750E9A50-ACEA-48D3-B2C6-355D5EC56876}" dt="2024-06-13T10:38:10.604" v="2131" actId="962"/>
          <ac:spMkLst>
            <pc:docMk/>
            <pc:sldMk cId="0" sldId="267"/>
            <ac:spMk id="17" creationId="{7CBE2597-EFBB-5BEE-A042-1059E031538A}"/>
          </ac:spMkLst>
        </pc:spChg>
        <pc:spChg chg="ord">
          <ac:chgData name="Deimonmi Nongrum [Chillibreeze]" userId="e937f645-8c95-42a9-a298-dfd645e9a76a" providerId="ADAL" clId="{750E9A50-ACEA-48D3-B2C6-355D5EC56876}" dt="2024-06-13T10:37:33.260" v="2112"/>
          <ac:spMkLst>
            <pc:docMk/>
            <pc:sldMk cId="0" sldId="267"/>
            <ac:spMk id="19" creationId="{4DE6B7A4-FB2C-92F3-FC94-9C4BBEEC3FCA}"/>
          </ac:spMkLst>
        </pc:spChg>
        <pc:spChg chg="ord">
          <ac:chgData name="Deimonmi Nongrum [Chillibreeze]" userId="e937f645-8c95-42a9-a298-dfd645e9a76a" providerId="ADAL" clId="{750E9A50-ACEA-48D3-B2C6-355D5EC56876}" dt="2024-06-13T10:37:33.933" v="2113"/>
          <ac:spMkLst>
            <pc:docMk/>
            <pc:sldMk cId="0" sldId="267"/>
            <ac:spMk id="20" creationId="{DA6D6997-6AB5-5216-05DA-A7F2E9687207}"/>
          </ac:spMkLst>
        </pc:spChg>
        <pc:spChg chg="ord">
          <ac:chgData name="Deimonmi Nongrum [Chillibreeze]" userId="e937f645-8c95-42a9-a298-dfd645e9a76a" providerId="ADAL" clId="{750E9A50-ACEA-48D3-B2C6-355D5EC56876}" dt="2024-06-13T10:37:34.467" v="2114"/>
          <ac:spMkLst>
            <pc:docMk/>
            <pc:sldMk cId="0" sldId="267"/>
            <ac:spMk id="21" creationId="{2CF5AF71-6EEA-E28A-5D28-B0B349C3F093}"/>
          </ac:spMkLst>
        </pc:spChg>
        <pc:spChg chg="ord">
          <ac:chgData name="Deimonmi Nongrum [Chillibreeze]" userId="e937f645-8c95-42a9-a298-dfd645e9a76a" providerId="ADAL" clId="{750E9A50-ACEA-48D3-B2C6-355D5EC56876}" dt="2024-06-13T10:37:35.092" v="2115"/>
          <ac:spMkLst>
            <pc:docMk/>
            <pc:sldMk cId="0" sldId="267"/>
            <ac:spMk id="22" creationId="{CF31C72D-7D95-A5B4-F39A-29785AA46AB5}"/>
          </ac:spMkLst>
        </pc:spChg>
        <pc:spChg chg="ord">
          <ac:chgData name="Deimonmi Nongrum [Chillibreeze]" userId="e937f645-8c95-42a9-a298-dfd645e9a76a" providerId="ADAL" clId="{750E9A50-ACEA-48D3-B2C6-355D5EC56876}" dt="2024-06-13T10:37:35.661" v="2116"/>
          <ac:spMkLst>
            <pc:docMk/>
            <pc:sldMk cId="0" sldId="267"/>
            <ac:spMk id="23" creationId="{3C17F1D0-D40D-5A23-ADEC-5A42F4FE02E9}"/>
          </ac:spMkLst>
        </pc:spChg>
        <pc:spChg chg="ord">
          <ac:chgData name="Deimonmi Nongrum [Chillibreeze]" userId="e937f645-8c95-42a9-a298-dfd645e9a76a" providerId="ADAL" clId="{750E9A50-ACEA-48D3-B2C6-355D5EC56876}" dt="2024-06-13T10:37:36.306" v="2117"/>
          <ac:spMkLst>
            <pc:docMk/>
            <pc:sldMk cId="0" sldId="267"/>
            <ac:spMk id="24" creationId="{9B325C3A-3A29-AC92-2CEF-F1BF66864E02}"/>
          </ac:spMkLst>
        </pc:spChg>
        <pc:spChg chg="mod">
          <ac:chgData name="Deimonmi Nongrum [Chillibreeze]" userId="e937f645-8c95-42a9-a298-dfd645e9a76a" providerId="ADAL" clId="{750E9A50-ACEA-48D3-B2C6-355D5EC56876}" dt="2024-06-13T10:38:03.556" v="2129" actId="165"/>
          <ac:spMkLst>
            <pc:docMk/>
            <pc:sldMk cId="0" sldId="267"/>
            <ac:spMk id="28" creationId="{7EB8E7FB-4E24-AA32-AC00-953BFFD230A6}"/>
          </ac:spMkLst>
        </pc:spChg>
        <pc:spChg chg="mod">
          <ac:chgData name="Deimonmi Nongrum [Chillibreeze]" userId="e937f645-8c95-42a9-a298-dfd645e9a76a" providerId="ADAL" clId="{750E9A50-ACEA-48D3-B2C6-355D5EC56876}" dt="2024-06-13T10:38:03.556" v="2129" actId="165"/>
          <ac:spMkLst>
            <pc:docMk/>
            <pc:sldMk cId="0" sldId="267"/>
            <ac:spMk id="29" creationId="{ECA7B7ED-E337-FE14-7B6E-9F80D1FFCE3E}"/>
          </ac:spMkLst>
        </pc:spChg>
        <pc:spChg chg="ord">
          <ac:chgData name="Deimonmi Nongrum [Chillibreeze]" userId="e937f645-8c95-42a9-a298-dfd645e9a76a" providerId="ADAL" clId="{750E9A50-ACEA-48D3-B2C6-355D5EC56876}" dt="2024-06-13T10:37:37.636" v="2119"/>
          <ac:spMkLst>
            <pc:docMk/>
            <pc:sldMk cId="0" sldId="267"/>
            <ac:spMk id="30" creationId="{A4B7825A-6FF3-EC86-92A9-7520A052DCCE}"/>
          </ac:spMkLst>
        </pc:spChg>
        <pc:spChg chg="ord">
          <ac:chgData name="Deimonmi Nongrum [Chillibreeze]" userId="e937f645-8c95-42a9-a298-dfd645e9a76a" providerId="ADAL" clId="{750E9A50-ACEA-48D3-B2C6-355D5EC56876}" dt="2024-06-13T10:37:38.409" v="2120"/>
          <ac:spMkLst>
            <pc:docMk/>
            <pc:sldMk cId="0" sldId="267"/>
            <ac:spMk id="31" creationId="{A2AC91C6-F97A-7A4D-4653-3FA4192CC909}"/>
          </ac:spMkLst>
        </pc:spChg>
        <pc:spChg chg="ord">
          <ac:chgData name="Deimonmi Nongrum [Chillibreeze]" userId="e937f645-8c95-42a9-a298-dfd645e9a76a" providerId="ADAL" clId="{750E9A50-ACEA-48D3-B2C6-355D5EC56876}" dt="2024-06-13T10:37:38.924" v="2121"/>
          <ac:spMkLst>
            <pc:docMk/>
            <pc:sldMk cId="0" sldId="267"/>
            <ac:spMk id="32" creationId="{A532DEF1-CE44-6925-79DE-2AFC134EE246}"/>
          </ac:spMkLst>
        </pc:spChg>
        <pc:spChg chg="ord">
          <ac:chgData name="Deimonmi Nongrum [Chillibreeze]" userId="e937f645-8c95-42a9-a298-dfd645e9a76a" providerId="ADAL" clId="{750E9A50-ACEA-48D3-B2C6-355D5EC56876}" dt="2024-06-13T10:37:39.464" v="2122"/>
          <ac:spMkLst>
            <pc:docMk/>
            <pc:sldMk cId="0" sldId="267"/>
            <ac:spMk id="33" creationId="{CCC0F8EA-06FE-7A5D-9A9C-15AB4A588346}"/>
          </ac:spMkLst>
        </pc:spChg>
        <pc:spChg chg="ord">
          <ac:chgData name="Deimonmi Nongrum [Chillibreeze]" userId="e937f645-8c95-42a9-a298-dfd645e9a76a" providerId="ADAL" clId="{750E9A50-ACEA-48D3-B2C6-355D5EC56876}" dt="2024-06-13T10:37:39.887" v="2123"/>
          <ac:spMkLst>
            <pc:docMk/>
            <pc:sldMk cId="0" sldId="267"/>
            <ac:spMk id="34" creationId="{7CCA1CE9-367F-5421-2D83-60942E1C05E8}"/>
          </ac:spMkLst>
        </pc:spChg>
        <pc:spChg chg="ord">
          <ac:chgData name="Deimonmi Nongrum [Chillibreeze]" userId="e937f645-8c95-42a9-a298-dfd645e9a76a" providerId="ADAL" clId="{750E9A50-ACEA-48D3-B2C6-355D5EC56876}" dt="2024-06-13T10:37:40.416" v="2124"/>
          <ac:spMkLst>
            <pc:docMk/>
            <pc:sldMk cId="0" sldId="267"/>
            <ac:spMk id="35" creationId="{2AD2E38B-44CF-0D59-F44C-8C3D9F4BCA47}"/>
          </ac:spMkLst>
        </pc:spChg>
        <pc:spChg chg="ord">
          <ac:chgData name="Deimonmi Nongrum [Chillibreeze]" userId="e937f645-8c95-42a9-a298-dfd645e9a76a" providerId="ADAL" clId="{750E9A50-ACEA-48D3-B2C6-355D5EC56876}" dt="2024-06-13T10:37:40.853" v="2125"/>
          <ac:spMkLst>
            <pc:docMk/>
            <pc:sldMk cId="0" sldId="267"/>
            <ac:spMk id="36" creationId="{303D2ED5-A868-8735-9995-E4653B7E93FB}"/>
          </ac:spMkLst>
        </pc:spChg>
        <pc:spChg chg="ord">
          <ac:chgData name="Deimonmi Nongrum [Chillibreeze]" userId="e937f645-8c95-42a9-a298-dfd645e9a76a" providerId="ADAL" clId="{750E9A50-ACEA-48D3-B2C6-355D5EC56876}" dt="2024-06-13T10:37:41.298" v="2126"/>
          <ac:spMkLst>
            <pc:docMk/>
            <pc:sldMk cId="0" sldId="267"/>
            <ac:spMk id="37" creationId="{70DD2210-6422-FBB4-931A-88CC130A3B34}"/>
          </ac:spMkLst>
        </pc:spChg>
        <pc:spChg chg="ord">
          <ac:chgData name="Deimonmi Nongrum [Chillibreeze]" userId="e937f645-8c95-42a9-a298-dfd645e9a76a" providerId="ADAL" clId="{750E9A50-ACEA-48D3-B2C6-355D5EC56876}" dt="2024-06-13T10:37:41.992" v="2127"/>
          <ac:spMkLst>
            <pc:docMk/>
            <pc:sldMk cId="0" sldId="267"/>
            <ac:spMk id="38" creationId="{EE3AAD6D-615B-A166-DCDF-21CB1A5E7704}"/>
          </ac:spMkLst>
        </pc:spChg>
        <pc:spChg chg="ord">
          <ac:chgData name="Deimonmi Nongrum [Chillibreeze]" userId="e937f645-8c95-42a9-a298-dfd645e9a76a" providerId="ADAL" clId="{750E9A50-ACEA-48D3-B2C6-355D5EC56876}" dt="2024-06-13T10:37:31.588" v="2110"/>
          <ac:spMkLst>
            <pc:docMk/>
            <pc:sldMk cId="0" sldId="267"/>
            <ac:spMk id="42" creationId="{00575D37-E06D-9C94-16AA-EAE68F218D7C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67"/>
            <ac:spMk id="4252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67"/>
            <ac:spMk id="4256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67"/>
            <ac:spMk id="4264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67"/>
            <ac:spMk id="4274" creationId="{00000000-0000-0000-0000-000000000000}"/>
          </ac:spMkLst>
        </pc:spChg>
        <pc:grpChg chg="del mod ord">
          <ac:chgData name="Deimonmi Nongrum [Chillibreeze]" userId="e937f645-8c95-42a9-a298-dfd645e9a76a" providerId="ADAL" clId="{750E9A50-ACEA-48D3-B2C6-355D5EC56876}" dt="2024-06-13T10:38:03.556" v="2129" actId="165"/>
          <ac:grpSpMkLst>
            <pc:docMk/>
            <pc:sldMk cId="0" sldId="267"/>
            <ac:grpSpMk id="15" creationId="{EEA671F3-4545-156B-561D-6C532EC1AD51}"/>
          </ac:grpSpMkLst>
        </pc:grpChg>
        <pc:grpChg chg="del mod ord">
          <ac:chgData name="Deimonmi Nongrum [Chillibreeze]" userId="e937f645-8c95-42a9-a298-dfd645e9a76a" providerId="ADAL" clId="{750E9A50-ACEA-48D3-B2C6-355D5EC56876}" dt="2024-06-13T10:38:03.556" v="2129" actId="165"/>
          <ac:grpSpMkLst>
            <pc:docMk/>
            <pc:sldMk cId="0" sldId="267"/>
            <ac:grpSpMk id="25" creationId="{E4F2A12F-8E3E-15BB-29F4-7D56FD0E71C9}"/>
          </ac:grpSpMkLst>
        </pc:grpChg>
        <pc:grpChg chg="mod topLvl">
          <ac:chgData name="Deimonmi Nongrum [Chillibreeze]" userId="e937f645-8c95-42a9-a298-dfd645e9a76a" providerId="ADAL" clId="{750E9A50-ACEA-48D3-B2C6-355D5EC56876}" dt="2024-06-13T10:38:34.319" v="2132" actId="962"/>
          <ac:grpSpMkLst>
            <pc:docMk/>
            <pc:sldMk cId="0" sldId="267"/>
            <ac:grpSpMk id="26" creationId="{C09BB09A-42B7-9D91-E7FB-E0DE694599B1}"/>
          </ac:grpSpMkLst>
        </pc:grpChg>
        <pc:picChg chg="mod topLvl">
          <ac:chgData name="Deimonmi Nongrum [Chillibreeze]" userId="e937f645-8c95-42a9-a298-dfd645e9a76a" providerId="ADAL" clId="{750E9A50-ACEA-48D3-B2C6-355D5EC56876}" dt="2024-06-13T10:38:03.556" v="2129" actId="165"/>
          <ac:picMkLst>
            <pc:docMk/>
            <pc:sldMk cId="0" sldId="267"/>
            <ac:picMk id="18" creationId="{8D6CEE95-406F-7E4E-216F-D83573D91D44}"/>
          </ac:picMkLst>
        </pc:picChg>
        <pc:picChg chg="mod topLvl">
          <ac:chgData name="Deimonmi Nongrum [Chillibreeze]" userId="e937f645-8c95-42a9-a298-dfd645e9a76a" providerId="ADAL" clId="{750E9A50-ACEA-48D3-B2C6-355D5EC56876}" dt="2024-06-13T12:08:35.204" v="4182" actId="962"/>
          <ac:picMkLst>
            <pc:docMk/>
            <pc:sldMk cId="0" sldId="267"/>
            <ac:picMk id="27" creationId="{F23C8146-AACA-6999-DD47-8A1A3251141F}"/>
          </ac:picMkLst>
        </pc:picChg>
        <pc:cxnChg chg="ord">
          <ac:chgData name="Deimonmi Nongrum [Chillibreeze]" userId="e937f645-8c95-42a9-a298-dfd645e9a76a" providerId="ADAL" clId="{750E9A50-ACEA-48D3-B2C6-355D5EC56876}" dt="2024-06-13T10:37:26.100" v="2103" actId="167"/>
          <ac:cxnSpMkLst>
            <pc:docMk/>
            <pc:sldMk cId="0" sldId="267"/>
            <ac:cxnSpMk id="41" creationId="{AE95805A-8420-8C6F-7B72-B226B8719564}"/>
          </ac:cxnSpMkLst>
        </pc:cxnChg>
      </pc:sldChg>
      <pc:sldChg chg="addSp delSp modSp mod modClrScheme chgLayout">
        <pc:chgData name="Deimonmi Nongrum [Chillibreeze]" userId="e937f645-8c95-42a9-a298-dfd645e9a76a" providerId="ADAL" clId="{750E9A50-ACEA-48D3-B2C6-355D5EC56876}" dt="2024-06-13T14:18:28.269" v="7254"/>
        <pc:sldMkLst>
          <pc:docMk/>
          <pc:sldMk cId="0" sldId="268"/>
        </pc:sldMkLst>
        <pc:spChg chg="add mod">
          <ac:chgData name="Deimonmi Nongrum [Chillibreeze]" userId="e937f645-8c95-42a9-a298-dfd645e9a76a" providerId="ADAL" clId="{750E9A50-ACEA-48D3-B2C6-355D5EC56876}" dt="2024-06-12T03:54:46.337" v="19"/>
          <ac:spMkLst>
            <pc:docMk/>
            <pc:sldMk cId="0" sldId="268"/>
            <ac:spMk id="2" creationId="{1408AA9B-7509-82E3-F79B-C568BDD886C6}"/>
          </ac:spMkLst>
        </pc:spChg>
        <pc:spChg chg="ord">
          <ac:chgData name="Deimonmi Nongrum [Chillibreeze]" userId="e937f645-8c95-42a9-a298-dfd645e9a76a" providerId="ADAL" clId="{750E9A50-ACEA-48D3-B2C6-355D5EC56876}" dt="2024-06-13T10:39:07.948" v="2145"/>
          <ac:spMkLst>
            <pc:docMk/>
            <pc:sldMk cId="0" sldId="268"/>
            <ac:spMk id="5" creationId="{C66CFC6F-F304-FB20-2C07-4C0853C8A9C8}"/>
          </ac:spMkLst>
        </pc:spChg>
        <pc:spChg chg="ord">
          <ac:chgData name="Deimonmi Nongrum [Chillibreeze]" userId="e937f645-8c95-42a9-a298-dfd645e9a76a" providerId="ADAL" clId="{750E9A50-ACEA-48D3-B2C6-355D5EC56876}" dt="2024-06-13T10:39:04.602" v="2138" actId="167"/>
          <ac:spMkLst>
            <pc:docMk/>
            <pc:sldMk cId="0" sldId="268"/>
            <ac:spMk id="6" creationId="{B419671B-3352-DF02-8AFE-6CB71178E563}"/>
          </ac:spMkLst>
        </pc:spChg>
        <pc:spChg chg="ord">
          <ac:chgData name="Deimonmi Nongrum [Chillibreeze]" userId="e937f645-8c95-42a9-a298-dfd645e9a76a" providerId="ADAL" clId="{750E9A50-ACEA-48D3-B2C6-355D5EC56876}" dt="2024-06-13T10:39:04.602" v="2138" actId="167"/>
          <ac:spMkLst>
            <pc:docMk/>
            <pc:sldMk cId="0" sldId="268"/>
            <ac:spMk id="7" creationId="{FBFC2A09-ACC9-18A0-0E49-2515F5A1751C}"/>
          </ac:spMkLst>
        </pc:spChg>
        <pc:spChg chg="ord">
          <ac:chgData name="Deimonmi Nongrum [Chillibreeze]" userId="e937f645-8c95-42a9-a298-dfd645e9a76a" providerId="ADAL" clId="{750E9A50-ACEA-48D3-B2C6-355D5EC56876}" dt="2024-06-13T10:39:04.602" v="2138" actId="167"/>
          <ac:spMkLst>
            <pc:docMk/>
            <pc:sldMk cId="0" sldId="268"/>
            <ac:spMk id="8" creationId="{47D792C5-2ECF-8E17-C017-D2F3E3DCE0C7}"/>
          </ac:spMkLst>
        </pc:spChg>
        <pc:spChg chg="mod topLvl">
          <ac:chgData name="Deimonmi Nongrum [Chillibreeze]" userId="e937f645-8c95-42a9-a298-dfd645e9a76a" providerId="ADAL" clId="{750E9A50-ACEA-48D3-B2C6-355D5EC56876}" dt="2024-06-13T10:38:53.846" v="2134" actId="165"/>
          <ac:spMkLst>
            <pc:docMk/>
            <pc:sldMk cId="0" sldId="268"/>
            <ac:spMk id="12" creationId="{0EA98C0D-343A-A72C-4285-7E9F5AA46572}"/>
          </ac:spMkLst>
        </pc:spChg>
        <pc:spChg chg="mod topLvl">
          <ac:chgData name="Deimonmi Nongrum [Chillibreeze]" userId="e937f645-8c95-42a9-a298-dfd645e9a76a" providerId="ADAL" clId="{750E9A50-ACEA-48D3-B2C6-355D5EC56876}" dt="2024-06-13T10:38:53.846" v="2134" actId="165"/>
          <ac:spMkLst>
            <pc:docMk/>
            <pc:sldMk cId="0" sldId="268"/>
            <ac:spMk id="13" creationId="{1EDD23DF-60AE-F3BE-326E-2505EC0A5FA8}"/>
          </ac:spMkLst>
        </pc:spChg>
        <pc:spChg chg="ord">
          <ac:chgData name="Deimonmi Nongrum [Chillibreeze]" userId="e937f645-8c95-42a9-a298-dfd645e9a76a" providerId="ADAL" clId="{750E9A50-ACEA-48D3-B2C6-355D5EC56876}" dt="2024-06-13T10:39:10.373" v="2148"/>
          <ac:spMkLst>
            <pc:docMk/>
            <pc:sldMk cId="0" sldId="268"/>
            <ac:spMk id="14" creationId="{6947A327-5311-8BF1-979B-5D1B59BFA2EE}"/>
          </ac:spMkLst>
        </pc:spChg>
        <pc:spChg chg="mod topLvl">
          <ac:chgData name="Deimonmi Nongrum [Chillibreeze]" userId="e937f645-8c95-42a9-a298-dfd645e9a76a" providerId="ADAL" clId="{750E9A50-ACEA-48D3-B2C6-355D5EC56876}" dt="2024-06-13T10:38:53.846" v="2134" actId="165"/>
          <ac:spMkLst>
            <pc:docMk/>
            <pc:sldMk cId="0" sldId="268"/>
            <ac:spMk id="16" creationId="{CD18E3F6-CFF6-D5C6-FD44-AA57CFBE3D34}"/>
          </ac:spMkLst>
        </pc:spChg>
        <pc:spChg chg="mod topLvl">
          <ac:chgData name="Deimonmi Nongrum [Chillibreeze]" userId="e937f645-8c95-42a9-a298-dfd645e9a76a" providerId="ADAL" clId="{750E9A50-ACEA-48D3-B2C6-355D5EC56876}" dt="2024-06-13T10:38:53.846" v="2134" actId="165"/>
          <ac:spMkLst>
            <pc:docMk/>
            <pc:sldMk cId="0" sldId="268"/>
            <ac:spMk id="17" creationId="{8CCA8BFB-E611-6FD8-8CAC-F5A620D6EB26}"/>
          </ac:spMkLst>
        </pc:spChg>
        <pc:spChg chg="ord">
          <ac:chgData name="Deimonmi Nongrum [Chillibreeze]" userId="e937f645-8c95-42a9-a298-dfd645e9a76a" providerId="ADAL" clId="{750E9A50-ACEA-48D3-B2C6-355D5EC56876}" dt="2024-06-13T10:39:13.730" v="2152"/>
          <ac:spMkLst>
            <pc:docMk/>
            <pc:sldMk cId="0" sldId="268"/>
            <ac:spMk id="18" creationId="{0366D29F-603B-B88D-54CD-2BC36A8C097C}"/>
          </ac:spMkLst>
        </pc:spChg>
        <pc:spChg chg="mod topLvl">
          <ac:chgData name="Deimonmi Nongrum [Chillibreeze]" userId="e937f645-8c95-42a9-a298-dfd645e9a76a" providerId="ADAL" clId="{750E9A50-ACEA-48D3-B2C6-355D5EC56876}" dt="2024-06-13T10:38:53.846" v="2134" actId="165"/>
          <ac:spMkLst>
            <pc:docMk/>
            <pc:sldMk cId="0" sldId="268"/>
            <ac:spMk id="20" creationId="{552D35AB-6420-B3F8-A413-FF1B624DDF97}"/>
          </ac:spMkLst>
        </pc:spChg>
        <pc:spChg chg="mod topLvl">
          <ac:chgData name="Deimonmi Nongrum [Chillibreeze]" userId="e937f645-8c95-42a9-a298-dfd645e9a76a" providerId="ADAL" clId="{750E9A50-ACEA-48D3-B2C6-355D5EC56876}" dt="2024-06-13T10:38:53.846" v="2134" actId="165"/>
          <ac:spMkLst>
            <pc:docMk/>
            <pc:sldMk cId="0" sldId="268"/>
            <ac:spMk id="21" creationId="{CC0CF61D-9ED4-644F-ECC7-35CE434F55A0}"/>
          </ac:spMkLst>
        </pc:spChg>
        <pc:spChg chg="ord">
          <ac:chgData name="Deimonmi Nongrum [Chillibreeze]" userId="e937f645-8c95-42a9-a298-dfd645e9a76a" providerId="ADAL" clId="{750E9A50-ACEA-48D3-B2C6-355D5EC56876}" dt="2024-06-13T10:39:19.102" v="2156"/>
          <ac:spMkLst>
            <pc:docMk/>
            <pc:sldMk cId="0" sldId="268"/>
            <ac:spMk id="22" creationId="{6B565BCA-18CB-2F27-D6E7-304E63F7A6BC}"/>
          </ac:spMkLst>
        </pc:spChg>
        <pc:spChg chg="mod ord">
          <ac:chgData name="Deimonmi Nongrum [Chillibreeze]" userId="e937f645-8c95-42a9-a298-dfd645e9a76a" providerId="ADAL" clId="{750E9A50-ACEA-48D3-B2C6-355D5EC56876}" dt="2024-06-13T10:39:25.559" v="2159" actId="962"/>
          <ac:spMkLst>
            <pc:docMk/>
            <pc:sldMk cId="0" sldId="268"/>
            <ac:spMk id="23" creationId="{1845029D-B75B-D73C-76AB-8E58AF8CBAEA}"/>
          </ac:spMkLst>
        </pc:spChg>
        <pc:spChg chg="mod ord">
          <ac:chgData name="Deimonmi Nongrum [Chillibreeze]" userId="e937f645-8c95-42a9-a298-dfd645e9a76a" providerId="ADAL" clId="{750E9A50-ACEA-48D3-B2C6-355D5EC56876}" dt="2024-06-13T10:39:25.559" v="2159" actId="962"/>
          <ac:spMkLst>
            <pc:docMk/>
            <pc:sldMk cId="0" sldId="268"/>
            <ac:spMk id="24" creationId="{9C860F77-AEEA-7769-DE50-44A33C1D5812}"/>
          </ac:spMkLst>
        </pc:spChg>
        <pc:spChg chg="mod ord">
          <ac:chgData name="Deimonmi Nongrum [Chillibreeze]" userId="e937f645-8c95-42a9-a298-dfd645e9a76a" providerId="ADAL" clId="{750E9A50-ACEA-48D3-B2C6-355D5EC56876}" dt="2024-06-13T10:39:25.559" v="2159" actId="962"/>
          <ac:spMkLst>
            <pc:docMk/>
            <pc:sldMk cId="0" sldId="268"/>
            <ac:spMk id="25" creationId="{66D46230-55D1-F537-0887-0CC0B4DEA8EF}"/>
          </ac:spMkLst>
        </pc:spChg>
        <pc:spChg chg="ord">
          <ac:chgData name="Deimonmi Nongrum [Chillibreeze]" userId="e937f645-8c95-42a9-a298-dfd645e9a76a" providerId="ADAL" clId="{750E9A50-ACEA-48D3-B2C6-355D5EC56876}" dt="2024-06-13T10:39:04.602" v="2138" actId="167"/>
          <ac:spMkLst>
            <pc:docMk/>
            <pc:sldMk cId="0" sldId="268"/>
            <ac:spMk id="39" creationId="{AC1E45DA-2988-6D82-2C96-38FD961B94D1}"/>
          </ac:spMkLst>
        </pc:spChg>
        <pc:spChg chg="ord">
          <ac:chgData name="Deimonmi Nongrum [Chillibreeze]" userId="e937f645-8c95-42a9-a298-dfd645e9a76a" providerId="ADAL" clId="{750E9A50-ACEA-48D3-B2C6-355D5EC56876}" dt="2024-06-13T10:39:04.602" v="2138" actId="167"/>
          <ac:spMkLst>
            <pc:docMk/>
            <pc:sldMk cId="0" sldId="268"/>
            <ac:spMk id="43" creationId="{F4D0AC80-66B0-FC28-BD70-F9EC20B27781}"/>
          </ac:spMkLst>
        </pc:spChg>
        <pc:spChg chg="mod ord">
          <ac:chgData name="Deimonmi Nongrum [Chillibreeze]" userId="e937f645-8c95-42a9-a298-dfd645e9a76a" providerId="ADAL" clId="{750E9A50-ACEA-48D3-B2C6-355D5EC56876}" dt="2024-06-13T14:18:28.269" v="7254"/>
          <ac:spMkLst>
            <pc:docMk/>
            <pc:sldMk cId="0" sldId="268"/>
            <ac:spMk id="45" creationId="{E0B34C39-0E8A-BB2E-7365-3329866F1789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68"/>
            <ac:spMk id="4281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68"/>
            <ac:spMk id="4293" creationId="{00000000-0000-0000-0000-000000000000}"/>
          </ac:spMkLst>
        </pc:spChg>
        <pc:grpChg chg="add del mod ord">
          <ac:chgData name="Deimonmi Nongrum [Chillibreeze]" userId="e937f645-8c95-42a9-a298-dfd645e9a76a" providerId="ADAL" clId="{750E9A50-ACEA-48D3-B2C6-355D5EC56876}" dt="2024-06-13T10:39:09.712" v="2147"/>
          <ac:grpSpMkLst>
            <pc:docMk/>
            <pc:sldMk cId="0" sldId="268"/>
            <ac:grpSpMk id="11" creationId="{5FE669B0-55CF-16FC-FC9B-44E88A5C74A9}"/>
          </ac:grpSpMkLst>
        </pc:grpChg>
        <pc:grpChg chg="add del mod ord">
          <ac:chgData name="Deimonmi Nongrum [Chillibreeze]" userId="e937f645-8c95-42a9-a298-dfd645e9a76a" providerId="ADAL" clId="{750E9A50-ACEA-48D3-B2C6-355D5EC56876}" dt="2024-06-13T10:39:13.273" v="2151"/>
          <ac:grpSpMkLst>
            <pc:docMk/>
            <pc:sldMk cId="0" sldId="268"/>
            <ac:grpSpMk id="15" creationId="{2EDADD06-4BC4-60A5-5B80-4AD1CAB4B794}"/>
          </ac:grpSpMkLst>
        </pc:grpChg>
        <pc:grpChg chg="add del mod ord">
          <ac:chgData name="Deimonmi Nongrum [Chillibreeze]" userId="e937f645-8c95-42a9-a298-dfd645e9a76a" providerId="ADAL" clId="{750E9A50-ACEA-48D3-B2C6-355D5EC56876}" dt="2024-06-13T10:39:18.320" v="2155"/>
          <ac:grpSpMkLst>
            <pc:docMk/>
            <pc:sldMk cId="0" sldId="268"/>
            <ac:grpSpMk id="19" creationId="{EF3C526A-E9EC-6802-BB92-7ED0FD0F743F}"/>
          </ac:grpSpMkLst>
        </pc:grpChg>
        <pc:grpChg chg="ord">
          <ac:chgData name="Deimonmi Nongrum [Chillibreeze]" userId="e937f645-8c95-42a9-a298-dfd645e9a76a" providerId="ADAL" clId="{750E9A50-ACEA-48D3-B2C6-355D5EC56876}" dt="2024-06-13T10:39:11.139" v="2149"/>
          <ac:grpSpMkLst>
            <pc:docMk/>
            <pc:sldMk cId="0" sldId="268"/>
            <ac:grpSpMk id="26" creationId="{D605C5C3-0017-7D80-1EAB-456AD4788BF8}"/>
          </ac:grpSpMkLst>
        </pc:grpChg>
        <pc:grpChg chg="ord">
          <ac:chgData name="Deimonmi Nongrum [Chillibreeze]" userId="e937f645-8c95-42a9-a298-dfd645e9a76a" providerId="ADAL" clId="{750E9A50-ACEA-48D3-B2C6-355D5EC56876}" dt="2024-06-13T10:39:16.732" v="2153"/>
          <ac:grpSpMkLst>
            <pc:docMk/>
            <pc:sldMk cId="0" sldId="268"/>
            <ac:grpSpMk id="30" creationId="{B90CD740-B21F-1FA3-555F-DA629AA19FCC}"/>
          </ac:grpSpMkLst>
        </pc:grpChg>
        <pc:grpChg chg="ord">
          <ac:chgData name="Deimonmi Nongrum [Chillibreeze]" userId="e937f645-8c95-42a9-a298-dfd645e9a76a" providerId="ADAL" clId="{750E9A50-ACEA-48D3-B2C6-355D5EC56876}" dt="2024-06-13T10:39:20.017" v="2157"/>
          <ac:grpSpMkLst>
            <pc:docMk/>
            <pc:sldMk cId="0" sldId="268"/>
            <ac:grpSpMk id="34" creationId="{0FC706FF-0737-0029-B04F-0B46A1BFA6D4}"/>
          </ac:grpSpMkLst>
        </pc:grpChg>
        <pc:picChg chg="ord">
          <ac:chgData name="Deimonmi Nongrum [Chillibreeze]" userId="e937f645-8c95-42a9-a298-dfd645e9a76a" providerId="ADAL" clId="{750E9A50-ACEA-48D3-B2C6-355D5EC56876}" dt="2024-06-13T10:39:04.602" v="2138" actId="167"/>
          <ac:picMkLst>
            <pc:docMk/>
            <pc:sldMk cId="0" sldId="268"/>
            <ac:picMk id="38" creationId="{54C657B5-BBEB-006B-06CA-78D69070B22D}"/>
          </ac:picMkLst>
        </pc:picChg>
        <pc:cxnChg chg="ord">
          <ac:chgData name="Deimonmi Nongrum [Chillibreeze]" userId="e937f645-8c95-42a9-a298-dfd645e9a76a" providerId="ADAL" clId="{750E9A50-ACEA-48D3-B2C6-355D5EC56876}" dt="2024-06-13T10:39:04.602" v="2138" actId="167"/>
          <ac:cxnSpMkLst>
            <pc:docMk/>
            <pc:sldMk cId="0" sldId="268"/>
            <ac:cxnSpMk id="9" creationId="{447F6C73-ABDF-77B7-0A92-8920CE5F2A2E}"/>
          </ac:cxnSpMkLst>
        </pc:cxnChg>
        <pc:cxnChg chg="ord">
          <ac:chgData name="Deimonmi Nongrum [Chillibreeze]" userId="e937f645-8c95-42a9-a298-dfd645e9a76a" providerId="ADAL" clId="{750E9A50-ACEA-48D3-B2C6-355D5EC56876}" dt="2024-06-13T10:39:04.602" v="2138" actId="167"/>
          <ac:cxnSpMkLst>
            <pc:docMk/>
            <pc:sldMk cId="0" sldId="268"/>
            <ac:cxnSpMk id="10" creationId="{9D505669-6448-65E5-723E-FC0EC4D9EA1C}"/>
          </ac:cxnSpMkLst>
        </pc:cxnChg>
        <pc:cxnChg chg="mod ord">
          <ac:chgData name="Deimonmi Nongrum [Chillibreeze]" userId="e937f645-8c95-42a9-a298-dfd645e9a76a" providerId="ADAL" clId="{750E9A50-ACEA-48D3-B2C6-355D5EC56876}" dt="2024-06-13T14:18:28.268" v="7252"/>
          <ac:cxnSpMkLst>
            <pc:docMk/>
            <pc:sldMk cId="0" sldId="268"/>
            <ac:cxnSpMk id="44" creationId="{856A175E-E545-B6F5-7898-4A8B2DFFD4C2}"/>
          </ac:cxnSpMkLst>
        </pc:cxnChg>
      </pc:sldChg>
      <pc:sldChg chg="addSp delSp modSp mod modClrScheme chgLayout">
        <pc:chgData name="Deimonmi Nongrum [Chillibreeze]" userId="e937f645-8c95-42a9-a298-dfd645e9a76a" providerId="ADAL" clId="{750E9A50-ACEA-48D3-B2C6-355D5EC56876}" dt="2024-06-12T09:43:22.507" v="153" actId="700"/>
        <pc:sldMkLst>
          <pc:docMk/>
          <pc:sldMk cId="0" sldId="269"/>
        </pc:sldMkLst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69"/>
            <ac:spMk id="2" creationId="{10C539A3-27FF-EA13-5F24-FEF9C836D9A7}"/>
          </ac:spMkLst>
        </pc:spChg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269"/>
            <ac:spMk id="2" creationId="{538A1FD0-8269-35F5-559C-F1822881843D}"/>
          </ac:spMkLst>
        </pc:spChg>
        <pc:spChg chg="add mod">
          <ac:chgData name="Deimonmi Nongrum [Chillibreeze]" userId="e937f645-8c95-42a9-a298-dfd645e9a76a" providerId="ADAL" clId="{750E9A50-ACEA-48D3-B2C6-355D5EC56876}" dt="2024-06-12T03:54:48.724" v="20"/>
          <ac:spMkLst>
            <pc:docMk/>
            <pc:sldMk cId="0" sldId="269"/>
            <ac:spMk id="3" creationId="{122F9A9F-A4CD-579F-5C12-C4FD10EB2B1B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69"/>
            <ac:spMk id="4" creationId="{C9B5189D-2DE6-FA4B-93B7-6511D4B419ED}"/>
          </ac:spMkLst>
        </pc:spChg>
      </pc:sldChg>
      <pc:sldChg chg="addSp delSp modSp mod modClrScheme modAnim chgLayout">
        <pc:chgData name="Deimonmi Nongrum [Chillibreeze]" userId="e937f645-8c95-42a9-a298-dfd645e9a76a" providerId="ADAL" clId="{750E9A50-ACEA-48D3-B2C6-355D5EC56876}" dt="2024-06-13T14:32:42.969" v="7320"/>
        <pc:sldMkLst>
          <pc:docMk/>
          <pc:sldMk cId="0" sldId="270"/>
        </pc:sldMkLst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270"/>
            <ac:spMk id="2" creationId="{6CEC82B5-5AB3-69D0-D8E9-B347E2C33388}"/>
          </ac:spMkLst>
        </pc:spChg>
        <pc:spChg chg="add mod">
          <ac:chgData name="Deimonmi Nongrum [Chillibreeze]" userId="e937f645-8c95-42a9-a298-dfd645e9a76a" providerId="ADAL" clId="{750E9A50-ACEA-48D3-B2C6-355D5EC56876}" dt="2024-06-13T11:57:47.608" v="3978" actId="13244"/>
          <ac:spMkLst>
            <pc:docMk/>
            <pc:sldMk cId="0" sldId="270"/>
            <ac:spMk id="2" creationId="{7F03DE69-EFE1-D93E-5E43-2F9A2F6E60E7}"/>
          </ac:spMkLst>
        </pc:spChg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70"/>
            <ac:spMk id="2" creationId="{BB25E028-839C-4422-248A-108D66EA3E93}"/>
          </ac:spMkLst>
        </pc:spChg>
        <pc:spChg chg="add mod">
          <ac:chgData name="Deimonmi Nongrum [Chillibreeze]" userId="e937f645-8c95-42a9-a298-dfd645e9a76a" providerId="ADAL" clId="{750E9A50-ACEA-48D3-B2C6-355D5EC56876}" dt="2024-06-12T03:54:50.980" v="21"/>
          <ac:spMkLst>
            <pc:docMk/>
            <pc:sldMk cId="0" sldId="270"/>
            <ac:spMk id="3" creationId="{08904608-1C49-C793-6563-A7F8A120E7D9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70"/>
            <ac:spMk id="4" creationId="{7372438C-43C7-84D0-667C-4DA0251AB6CD}"/>
          </ac:spMkLst>
        </pc:spChg>
        <pc:picChg chg="mod">
          <ac:chgData name="Deimonmi Nongrum [Chillibreeze]" userId="e937f645-8c95-42a9-a298-dfd645e9a76a" providerId="ADAL" clId="{750E9A50-ACEA-48D3-B2C6-355D5EC56876}" dt="2024-06-13T14:19:06.187" v="7276" actId="962"/>
          <ac:picMkLst>
            <pc:docMk/>
            <pc:sldMk cId="0" sldId="270"/>
            <ac:picMk id="4309" creationId="{00000000-0000-0000-0000-000000000000}"/>
          </ac:picMkLst>
        </pc:picChg>
      </pc:sldChg>
      <pc:sldChg chg="addSp modSp mod modClrScheme chgLayout">
        <pc:chgData name="Deimonmi Nongrum [Chillibreeze]" userId="e937f645-8c95-42a9-a298-dfd645e9a76a" providerId="ADAL" clId="{750E9A50-ACEA-48D3-B2C6-355D5EC56876}" dt="2024-06-13T10:42:10.299" v="2421" actId="962"/>
        <pc:sldMkLst>
          <pc:docMk/>
          <pc:sldMk cId="0" sldId="271"/>
        </pc:sldMkLst>
        <pc:spChg chg="add mod">
          <ac:chgData name="Deimonmi Nongrum [Chillibreeze]" userId="e937f645-8c95-42a9-a298-dfd645e9a76a" providerId="ADAL" clId="{750E9A50-ACEA-48D3-B2C6-355D5EC56876}" dt="2024-06-12T03:54:52.362" v="22"/>
          <ac:spMkLst>
            <pc:docMk/>
            <pc:sldMk cId="0" sldId="271"/>
            <ac:spMk id="2" creationId="{62DD4B11-7136-7449-9DF7-FF61238F5169}"/>
          </ac:spMkLst>
        </pc:spChg>
        <pc:spChg chg="ord">
          <ac:chgData name="Deimonmi Nongrum [Chillibreeze]" userId="e937f645-8c95-42a9-a298-dfd645e9a76a" providerId="ADAL" clId="{750E9A50-ACEA-48D3-B2C6-355D5EC56876}" dt="2024-06-13T10:40:08.016" v="2182" actId="166"/>
          <ac:spMkLst>
            <pc:docMk/>
            <pc:sldMk cId="0" sldId="271"/>
            <ac:spMk id="5" creationId="{F67564CF-C345-62EA-F137-B632965649A5}"/>
          </ac:spMkLst>
        </pc:spChg>
        <pc:spChg chg="mod ord">
          <ac:chgData name="Deimonmi Nongrum [Chillibreeze]" userId="e937f645-8c95-42a9-a298-dfd645e9a76a" providerId="ADAL" clId="{750E9A50-ACEA-48D3-B2C6-355D5EC56876}" dt="2024-06-13T10:39:59.812" v="2176" actId="167"/>
          <ac:spMkLst>
            <pc:docMk/>
            <pc:sldMk cId="0" sldId="271"/>
            <ac:spMk id="7" creationId="{9DEF20AC-0B84-32F7-B68C-B7AB246E0884}"/>
          </ac:spMkLst>
        </pc:spChg>
        <pc:spChg chg="mod ord">
          <ac:chgData name="Deimonmi Nongrum [Chillibreeze]" userId="e937f645-8c95-42a9-a298-dfd645e9a76a" providerId="ADAL" clId="{750E9A50-ACEA-48D3-B2C6-355D5EC56876}" dt="2024-06-13T10:39:59.812" v="2176" actId="167"/>
          <ac:spMkLst>
            <pc:docMk/>
            <pc:sldMk cId="0" sldId="271"/>
            <ac:spMk id="8" creationId="{7958F220-C1DF-7AA1-4700-1514A666214F}"/>
          </ac:spMkLst>
        </pc:spChg>
        <pc:spChg chg="mod ord">
          <ac:chgData name="Deimonmi Nongrum [Chillibreeze]" userId="e937f645-8c95-42a9-a298-dfd645e9a76a" providerId="ADAL" clId="{750E9A50-ACEA-48D3-B2C6-355D5EC56876}" dt="2024-06-13T10:39:59.812" v="2176" actId="167"/>
          <ac:spMkLst>
            <pc:docMk/>
            <pc:sldMk cId="0" sldId="271"/>
            <ac:spMk id="9" creationId="{B2B1BB93-565B-CFD0-9DE2-65E90723FC83}"/>
          </ac:spMkLst>
        </pc:spChg>
        <pc:spChg chg="mod ord">
          <ac:chgData name="Deimonmi Nongrum [Chillibreeze]" userId="e937f645-8c95-42a9-a298-dfd645e9a76a" providerId="ADAL" clId="{750E9A50-ACEA-48D3-B2C6-355D5EC56876}" dt="2024-06-13T10:39:59.812" v="2176" actId="167"/>
          <ac:spMkLst>
            <pc:docMk/>
            <pc:sldMk cId="0" sldId="271"/>
            <ac:spMk id="10" creationId="{F7C7C096-BB05-4AD5-37E9-A108118BDDE6}"/>
          </ac:spMkLst>
        </pc:spChg>
        <pc:spChg chg="mod ord">
          <ac:chgData name="Deimonmi Nongrum [Chillibreeze]" userId="e937f645-8c95-42a9-a298-dfd645e9a76a" providerId="ADAL" clId="{750E9A50-ACEA-48D3-B2C6-355D5EC56876}" dt="2024-06-13T10:39:59.812" v="2176" actId="167"/>
          <ac:spMkLst>
            <pc:docMk/>
            <pc:sldMk cId="0" sldId="271"/>
            <ac:spMk id="11" creationId="{137BC335-DDCB-3DDD-92B1-4B56DF7ABD25}"/>
          </ac:spMkLst>
        </pc:spChg>
        <pc:spChg chg="mod ord">
          <ac:chgData name="Deimonmi Nongrum [Chillibreeze]" userId="e937f645-8c95-42a9-a298-dfd645e9a76a" providerId="ADAL" clId="{750E9A50-ACEA-48D3-B2C6-355D5EC56876}" dt="2024-06-13T10:39:59.812" v="2176" actId="167"/>
          <ac:spMkLst>
            <pc:docMk/>
            <pc:sldMk cId="0" sldId="271"/>
            <ac:spMk id="13" creationId="{A54B47F9-4087-BD81-E3BD-5308A3839C5D}"/>
          </ac:spMkLst>
        </pc:spChg>
        <pc:spChg chg="mod ord">
          <ac:chgData name="Deimonmi Nongrum [Chillibreeze]" userId="e937f645-8c95-42a9-a298-dfd645e9a76a" providerId="ADAL" clId="{750E9A50-ACEA-48D3-B2C6-355D5EC56876}" dt="2024-06-13T10:39:59.812" v="2176" actId="167"/>
          <ac:spMkLst>
            <pc:docMk/>
            <pc:sldMk cId="0" sldId="271"/>
            <ac:spMk id="14" creationId="{E8FF2607-BC5A-CB2B-6738-F58DA57D6568}"/>
          </ac:spMkLst>
        </pc:spChg>
        <pc:spChg chg="mod ord">
          <ac:chgData name="Deimonmi Nongrum [Chillibreeze]" userId="e937f645-8c95-42a9-a298-dfd645e9a76a" providerId="ADAL" clId="{750E9A50-ACEA-48D3-B2C6-355D5EC56876}" dt="2024-06-13T10:39:59.812" v="2176" actId="167"/>
          <ac:spMkLst>
            <pc:docMk/>
            <pc:sldMk cId="0" sldId="271"/>
            <ac:spMk id="15" creationId="{C7802F4D-3B7F-0683-1136-E41F199EA141}"/>
          </ac:spMkLst>
        </pc:spChg>
        <pc:spChg chg="mod ord">
          <ac:chgData name="Deimonmi Nongrum [Chillibreeze]" userId="e937f645-8c95-42a9-a298-dfd645e9a76a" providerId="ADAL" clId="{750E9A50-ACEA-48D3-B2C6-355D5EC56876}" dt="2024-06-13T10:40:11.519" v="2184"/>
          <ac:spMkLst>
            <pc:docMk/>
            <pc:sldMk cId="0" sldId="271"/>
            <ac:spMk id="19" creationId="{76A6AF33-7713-D0BA-447D-E58F6FE625B6}"/>
          </ac:spMkLst>
        </pc:spChg>
        <pc:spChg chg="mod ord">
          <ac:chgData name="Deimonmi Nongrum [Chillibreeze]" userId="e937f645-8c95-42a9-a298-dfd645e9a76a" providerId="ADAL" clId="{750E9A50-ACEA-48D3-B2C6-355D5EC56876}" dt="2024-06-13T10:41:50.264" v="2419" actId="962"/>
          <ac:spMkLst>
            <pc:docMk/>
            <pc:sldMk cId="0" sldId="271"/>
            <ac:spMk id="24" creationId="{C56E3230-86FB-39DE-489C-B9DF8F69B4E9}"/>
          </ac:spMkLst>
        </pc:spChg>
        <pc:spChg chg="ord">
          <ac:chgData name="Deimonmi Nongrum [Chillibreeze]" userId="e937f645-8c95-42a9-a298-dfd645e9a76a" providerId="ADAL" clId="{750E9A50-ACEA-48D3-B2C6-355D5EC56876}" dt="2024-06-13T10:40:38.614" v="2194"/>
          <ac:spMkLst>
            <pc:docMk/>
            <pc:sldMk cId="0" sldId="271"/>
            <ac:spMk id="25" creationId="{4F5F0B69-A9B2-A04C-49BC-1178873BFB8F}"/>
          </ac:spMkLst>
        </pc:spChg>
        <pc:spChg chg="ord">
          <ac:chgData name="Deimonmi Nongrum [Chillibreeze]" userId="e937f645-8c95-42a9-a298-dfd645e9a76a" providerId="ADAL" clId="{750E9A50-ACEA-48D3-B2C6-355D5EC56876}" dt="2024-06-13T10:40:10.343" v="2183"/>
          <ac:spMkLst>
            <pc:docMk/>
            <pc:sldMk cId="0" sldId="271"/>
            <ac:spMk id="28" creationId="{23E0A48C-444B-8EF5-1C45-D43FE4E9B8D4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71"/>
            <ac:spMk id="4315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71"/>
            <ac:spMk id="4316" creationId="{00000000-0000-0000-0000-000000000000}"/>
          </ac:spMkLst>
        </pc:spChg>
        <pc:picChg chg="mod ord">
          <ac:chgData name="Deimonmi Nongrum [Chillibreeze]" userId="e937f645-8c95-42a9-a298-dfd645e9a76a" providerId="ADAL" clId="{750E9A50-ACEA-48D3-B2C6-355D5EC56876}" dt="2024-06-13T10:39:59.812" v="2176" actId="167"/>
          <ac:picMkLst>
            <pc:docMk/>
            <pc:sldMk cId="0" sldId="271"/>
            <ac:picMk id="6" creationId="{25490887-B6B0-967D-C44E-3FD499BF8363}"/>
          </ac:picMkLst>
        </pc:picChg>
        <pc:picChg chg="ord">
          <ac:chgData name="Deimonmi Nongrum [Chillibreeze]" userId="e937f645-8c95-42a9-a298-dfd645e9a76a" providerId="ADAL" clId="{750E9A50-ACEA-48D3-B2C6-355D5EC56876}" dt="2024-06-13T10:40:12.316" v="2185"/>
          <ac:picMkLst>
            <pc:docMk/>
            <pc:sldMk cId="0" sldId="271"/>
            <ac:picMk id="20" creationId="{843BAF40-4984-EE0A-213D-5E62B6E3BBE2}"/>
          </ac:picMkLst>
        </pc:picChg>
        <pc:picChg chg="mod">
          <ac:chgData name="Deimonmi Nongrum [Chillibreeze]" userId="e937f645-8c95-42a9-a298-dfd645e9a76a" providerId="ADAL" clId="{750E9A50-ACEA-48D3-B2C6-355D5EC56876}" dt="2024-06-13T10:40:13.201" v="2186"/>
          <ac:picMkLst>
            <pc:docMk/>
            <pc:sldMk cId="0" sldId="271"/>
            <ac:picMk id="21" creationId="{2C1BBB9E-B2FB-ECCB-8297-802781717447}"/>
          </ac:picMkLst>
        </pc:picChg>
        <pc:picChg chg="ord">
          <ac:chgData name="Deimonmi Nongrum [Chillibreeze]" userId="e937f645-8c95-42a9-a298-dfd645e9a76a" providerId="ADAL" clId="{750E9A50-ACEA-48D3-B2C6-355D5EC56876}" dt="2024-06-13T10:40:14.205" v="2187"/>
          <ac:picMkLst>
            <pc:docMk/>
            <pc:sldMk cId="0" sldId="271"/>
            <ac:picMk id="22" creationId="{D4E13E1A-E27F-1C84-9FE3-70F4FEAE1E0F}"/>
          </ac:picMkLst>
        </pc:picChg>
        <pc:picChg chg="mod ord">
          <ac:chgData name="Deimonmi Nongrum [Chillibreeze]" userId="e937f645-8c95-42a9-a298-dfd645e9a76a" providerId="ADAL" clId="{750E9A50-ACEA-48D3-B2C6-355D5EC56876}" dt="2024-06-13T10:42:10.299" v="2421" actId="962"/>
          <ac:picMkLst>
            <pc:docMk/>
            <pc:sldMk cId="0" sldId="271"/>
            <ac:picMk id="23" creationId="{669DEC58-5BB8-A877-19DF-68F046DA013B}"/>
          </ac:picMkLst>
        </pc:picChg>
        <pc:picChg chg="ord">
          <ac:chgData name="Deimonmi Nongrum [Chillibreeze]" userId="e937f645-8c95-42a9-a298-dfd645e9a76a" providerId="ADAL" clId="{750E9A50-ACEA-48D3-B2C6-355D5EC56876}" dt="2024-06-13T10:40:39.302" v="2195"/>
          <ac:picMkLst>
            <pc:docMk/>
            <pc:sldMk cId="0" sldId="271"/>
            <ac:picMk id="26" creationId="{5F97047B-C724-540D-6086-176A81057E28}"/>
          </ac:picMkLst>
        </pc:picChg>
        <pc:cxnChg chg="mod ord">
          <ac:chgData name="Deimonmi Nongrum [Chillibreeze]" userId="e937f645-8c95-42a9-a298-dfd645e9a76a" providerId="ADAL" clId="{750E9A50-ACEA-48D3-B2C6-355D5EC56876}" dt="2024-06-13T10:39:59.812" v="2176" actId="167"/>
          <ac:cxnSpMkLst>
            <pc:docMk/>
            <pc:sldMk cId="0" sldId="271"/>
            <ac:cxnSpMk id="27" creationId="{80D0EA6E-99B4-EA41-7EA2-4655072D3DF5}"/>
          </ac:cxnSpMkLst>
        </pc:cxnChg>
      </pc:sldChg>
      <pc:sldChg chg="addSp modSp mod modClrScheme chgLayout">
        <pc:chgData name="Deimonmi Nongrum [Chillibreeze]" userId="e937f645-8c95-42a9-a298-dfd645e9a76a" providerId="ADAL" clId="{750E9A50-ACEA-48D3-B2C6-355D5EC56876}" dt="2024-06-13T10:42:30.426" v="2437"/>
        <pc:sldMkLst>
          <pc:docMk/>
          <pc:sldMk cId="0" sldId="272"/>
        </pc:sldMkLst>
        <pc:spChg chg="add mod">
          <ac:chgData name="Deimonmi Nongrum [Chillibreeze]" userId="e937f645-8c95-42a9-a298-dfd645e9a76a" providerId="ADAL" clId="{750E9A50-ACEA-48D3-B2C6-355D5EC56876}" dt="2024-06-12T03:54:53.558" v="23"/>
          <ac:spMkLst>
            <pc:docMk/>
            <pc:sldMk cId="0" sldId="272"/>
            <ac:spMk id="2" creationId="{BC2A9FC2-311B-4E4A-BA02-2DB39230EB2E}"/>
          </ac:spMkLst>
        </pc:spChg>
        <pc:spChg chg="ord">
          <ac:chgData name="Deimonmi Nongrum [Chillibreeze]" userId="e937f645-8c95-42a9-a298-dfd645e9a76a" providerId="ADAL" clId="{750E9A50-ACEA-48D3-B2C6-355D5EC56876}" dt="2024-06-13T10:42:28.464" v="2434"/>
          <ac:spMkLst>
            <pc:docMk/>
            <pc:sldMk cId="0" sldId="272"/>
            <ac:spMk id="5" creationId="{854B53A9-3CF7-D996-025C-612CC5DC6019}"/>
          </ac:spMkLst>
        </pc:spChg>
        <pc:spChg chg="mod ord">
          <ac:chgData name="Deimonmi Nongrum [Chillibreeze]" userId="e937f645-8c95-42a9-a298-dfd645e9a76a" providerId="ADAL" clId="{750E9A50-ACEA-48D3-B2C6-355D5EC56876}" dt="2024-06-13T10:42:24.624" v="2428" actId="167"/>
          <ac:spMkLst>
            <pc:docMk/>
            <pc:sldMk cId="0" sldId="272"/>
            <ac:spMk id="11" creationId="{6734B87F-3E44-3453-940D-01CAB4C24AF0}"/>
          </ac:spMkLst>
        </pc:spChg>
        <pc:spChg chg="mod ord">
          <ac:chgData name="Deimonmi Nongrum [Chillibreeze]" userId="e937f645-8c95-42a9-a298-dfd645e9a76a" providerId="ADAL" clId="{750E9A50-ACEA-48D3-B2C6-355D5EC56876}" dt="2024-06-13T10:42:24.624" v="2428" actId="167"/>
          <ac:spMkLst>
            <pc:docMk/>
            <pc:sldMk cId="0" sldId="272"/>
            <ac:spMk id="12" creationId="{603EEEE7-7EA9-E95E-42E0-715A5AE76F9D}"/>
          </ac:spMkLst>
        </pc:spChg>
        <pc:spChg chg="mod ord">
          <ac:chgData name="Deimonmi Nongrum [Chillibreeze]" userId="e937f645-8c95-42a9-a298-dfd645e9a76a" providerId="ADAL" clId="{750E9A50-ACEA-48D3-B2C6-355D5EC56876}" dt="2024-06-13T10:42:24.624" v="2428" actId="167"/>
          <ac:spMkLst>
            <pc:docMk/>
            <pc:sldMk cId="0" sldId="272"/>
            <ac:spMk id="13" creationId="{5862874E-795C-3021-45E8-794408587EC2}"/>
          </ac:spMkLst>
        </pc:spChg>
        <pc:spChg chg="mod ord">
          <ac:chgData name="Deimonmi Nongrum [Chillibreeze]" userId="e937f645-8c95-42a9-a298-dfd645e9a76a" providerId="ADAL" clId="{750E9A50-ACEA-48D3-B2C6-355D5EC56876}" dt="2024-06-13T10:42:24.624" v="2428" actId="167"/>
          <ac:spMkLst>
            <pc:docMk/>
            <pc:sldMk cId="0" sldId="272"/>
            <ac:spMk id="14" creationId="{D54C6942-CB52-EE92-2638-5C951417B5C7}"/>
          </ac:spMkLst>
        </pc:spChg>
        <pc:spChg chg="mod ord">
          <ac:chgData name="Deimonmi Nongrum [Chillibreeze]" userId="e937f645-8c95-42a9-a298-dfd645e9a76a" providerId="ADAL" clId="{750E9A50-ACEA-48D3-B2C6-355D5EC56876}" dt="2024-06-13T10:42:24.624" v="2428" actId="167"/>
          <ac:spMkLst>
            <pc:docMk/>
            <pc:sldMk cId="0" sldId="272"/>
            <ac:spMk id="15" creationId="{DE1AF646-9908-51C3-45C8-42D2DAF81032}"/>
          </ac:spMkLst>
        </pc:spChg>
        <pc:spChg chg="mod ord">
          <ac:chgData name="Deimonmi Nongrum [Chillibreeze]" userId="e937f645-8c95-42a9-a298-dfd645e9a76a" providerId="ADAL" clId="{750E9A50-ACEA-48D3-B2C6-355D5EC56876}" dt="2024-06-13T10:42:24.624" v="2428" actId="167"/>
          <ac:spMkLst>
            <pc:docMk/>
            <pc:sldMk cId="0" sldId="272"/>
            <ac:spMk id="16" creationId="{E04FF2F2-40EF-34BB-C020-8448A646FE74}"/>
          </ac:spMkLst>
        </pc:spChg>
        <pc:spChg chg="mod ord">
          <ac:chgData name="Deimonmi Nongrum [Chillibreeze]" userId="e937f645-8c95-42a9-a298-dfd645e9a76a" providerId="ADAL" clId="{750E9A50-ACEA-48D3-B2C6-355D5EC56876}" dt="2024-06-13T10:42:24.624" v="2428" actId="167"/>
          <ac:spMkLst>
            <pc:docMk/>
            <pc:sldMk cId="0" sldId="272"/>
            <ac:spMk id="17" creationId="{BB7FD697-5A12-A41B-D1A9-7F1AA61400B9}"/>
          </ac:spMkLst>
        </pc:spChg>
        <pc:spChg chg="mod ord">
          <ac:chgData name="Deimonmi Nongrum [Chillibreeze]" userId="e937f645-8c95-42a9-a298-dfd645e9a76a" providerId="ADAL" clId="{750E9A50-ACEA-48D3-B2C6-355D5EC56876}" dt="2024-06-13T10:42:24.624" v="2428" actId="167"/>
          <ac:spMkLst>
            <pc:docMk/>
            <pc:sldMk cId="0" sldId="272"/>
            <ac:spMk id="18" creationId="{DE670C51-406A-BB9D-F45E-B3D8B072828B}"/>
          </ac:spMkLst>
        </pc:spChg>
        <pc:spChg chg="mod ord">
          <ac:chgData name="Deimonmi Nongrum [Chillibreeze]" userId="e937f645-8c95-42a9-a298-dfd645e9a76a" providerId="ADAL" clId="{750E9A50-ACEA-48D3-B2C6-355D5EC56876}" dt="2024-06-13T10:42:24.624" v="2428" actId="167"/>
          <ac:spMkLst>
            <pc:docMk/>
            <pc:sldMk cId="0" sldId="272"/>
            <ac:spMk id="19" creationId="{AF7FDD61-022B-A6CC-1EA3-317E7BC0EF69}"/>
          </ac:spMkLst>
        </pc:spChg>
        <pc:spChg chg="mod ord">
          <ac:chgData name="Deimonmi Nongrum [Chillibreeze]" userId="e937f645-8c95-42a9-a298-dfd645e9a76a" providerId="ADAL" clId="{750E9A50-ACEA-48D3-B2C6-355D5EC56876}" dt="2024-06-13T10:42:24.624" v="2428" actId="167"/>
          <ac:spMkLst>
            <pc:docMk/>
            <pc:sldMk cId="0" sldId="272"/>
            <ac:spMk id="20" creationId="{4EC622DC-F9F2-6C91-B5D5-ABB112938A1E}"/>
          </ac:spMkLst>
        </pc:spChg>
        <pc:spChg chg="mod ord">
          <ac:chgData name="Deimonmi Nongrum [Chillibreeze]" userId="e937f645-8c95-42a9-a298-dfd645e9a76a" providerId="ADAL" clId="{750E9A50-ACEA-48D3-B2C6-355D5EC56876}" dt="2024-06-13T10:42:24.624" v="2428" actId="167"/>
          <ac:spMkLst>
            <pc:docMk/>
            <pc:sldMk cId="0" sldId="272"/>
            <ac:spMk id="21" creationId="{99DA636C-BA30-490D-88BC-B5C119FD2D65}"/>
          </ac:spMkLst>
        </pc:spChg>
        <pc:spChg chg="ord">
          <ac:chgData name="Deimonmi Nongrum [Chillibreeze]" userId="e937f645-8c95-42a9-a298-dfd645e9a76a" providerId="ADAL" clId="{750E9A50-ACEA-48D3-B2C6-355D5EC56876}" dt="2024-06-13T10:42:29.097" v="2435"/>
          <ac:spMkLst>
            <pc:docMk/>
            <pc:sldMk cId="0" sldId="272"/>
            <ac:spMk id="23" creationId="{0E4728A5-16FD-C34C-E09C-E0BA96504093}"/>
          </ac:spMkLst>
        </pc:spChg>
        <pc:spChg chg="ord">
          <ac:chgData name="Deimonmi Nongrum [Chillibreeze]" userId="e937f645-8c95-42a9-a298-dfd645e9a76a" providerId="ADAL" clId="{750E9A50-ACEA-48D3-B2C6-355D5EC56876}" dt="2024-06-13T10:42:29.699" v="2436"/>
          <ac:spMkLst>
            <pc:docMk/>
            <pc:sldMk cId="0" sldId="272"/>
            <ac:spMk id="25" creationId="{0B6EC0B6-6AFF-60C2-2588-BAAFE2E914CB}"/>
          </ac:spMkLst>
        </pc:spChg>
        <pc:spChg chg="ord">
          <ac:chgData name="Deimonmi Nongrum [Chillibreeze]" userId="e937f645-8c95-42a9-a298-dfd645e9a76a" providerId="ADAL" clId="{750E9A50-ACEA-48D3-B2C6-355D5EC56876}" dt="2024-06-13T10:42:30.426" v="2437"/>
          <ac:spMkLst>
            <pc:docMk/>
            <pc:sldMk cId="0" sldId="272"/>
            <ac:spMk id="27" creationId="{FD16F402-68DA-F58C-9F0E-769F9F8C5E3D}"/>
          </ac:spMkLst>
        </pc:spChg>
        <pc:spChg chg="mod ord">
          <ac:chgData name="Deimonmi Nongrum [Chillibreeze]" userId="e937f645-8c95-42a9-a298-dfd645e9a76a" providerId="ADAL" clId="{750E9A50-ACEA-48D3-B2C6-355D5EC56876}" dt="2024-06-13T10:42:27.416" v="2433" actId="166"/>
          <ac:spMkLst>
            <pc:docMk/>
            <pc:sldMk cId="0" sldId="272"/>
            <ac:spMk id="4329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72"/>
            <ac:spMk id="4343" creationId="{00000000-0000-0000-0000-000000000000}"/>
          </ac:spMkLst>
        </pc:spChg>
        <pc:picChg chg="mod ord">
          <ac:chgData name="Deimonmi Nongrum [Chillibreeze]" userId="e937f645-8c95-42a9-a298-dfd645e9a76a" providerId="ADAL" clId="{750E9A50-ACEA-48D3-B2C6-355D5EC56876}" dt="2024-06-13T10:42:24.624" v="2428" actId="167"/>
          <ac:picMkLst>
            <pc:docMk/>
            <pc:sldMk cId="0" sldId="272"/>
            <ac:picMk id="10" creationId="{A98FC3FB-5FD4-6E09-772E-2A2F9617466C}"/>
          </ac:picMkLst>
        </pc:picChg>
        <pc:picChg chg="mod ord">
          <ac:chgData name="Deimonmi Nongrum [Chillibreeze]" userId="e937f645-8c95-42a9-a298-dfd645e9a76a" providerId="ADAL" clId="{750E9A50-ACEA-48D3-B2C6-355D5EC56876}" dt="2024-06-13T10:42:24.624" v="2428" actId="167"/>
          <ac:picMkLst>
            <pc:docMk/>
            <pc:sldMk cId="0" sldId="272"/>
            <ac:picMk id="22" creationId="{EEC00580-4966-949C-C2AC-0DE528F313FC}"/>
          </ac:picMkLst>
        </pc:picChg>
        <pc:picChg chg="mod ord">
          <ac:chgData name="Deimonmi Nongrum [Chillibreeze]" userId="e937f645-8c95-42a9-a298-dfd645e9a76a" providerId="ADAL" clId="{750E9A50-ACEA-48D3-B2C6-355D5EC56876}" dt="2024-06-13T10:42:24.624" v="2428" actId="167"/>
          <ac:picMkLst>
            <pc:docMk/>
            <pc:sldMk cId="0" sldId="272"/>
            <ac:picMk id="24" creationId="{EDDAFDA8-DDD7-ADB6-C677-9C8ABC2BE9DC}"/>
          </ac:picMkLst>
        </pc:picChg>
        <pc:picChg chg="mod ord">
          <ac:chgData name="Deimonmi Nongrum [Chillibreeze]" userId="e937f645-8c95-42a9-a298-dfd645e9a76a" providerId="ADAL" clId="{750E9A50-ACEA-48D3-B2C6-355D5EC56876}" dt="2024-06-13T10:42:24.624" v="2428" actId="167"/>
          <ac:picMkLst>
            <pc:docMk/>
            <pc:sldMk cId="0" sldId="272"/>
            <ac:picMk id="26" creationId="{5B9F3B1F-4932-85E2-6E87-F1AD1F0977F5}"/>
          </ac:picMkLst>
        </pc:picChg>
        <pc:cxnChg chg="mod ord">
          <ac:chgData name="Deimonmi Nongrum [Chillibreeze]" userId="e937f645-8c95-42a9-a298-dfd645e9a76a" providerId="ADAL" clId="{750E9A50-ACEA-48D3-B2C6-355D5EC56876}" dt="2024-06-13T10:42:24.624" v="2428" actId="167"/>
          <ac:cxnSpMkLst>
            <pc:docMk/>
            <pc:sldMk cId="0" sldId="272"/>
            <ac:cxnSpMk id="4" creationId="{0F52193C-01DF-C808-A524-8A133574DF2B}"/>
          </ac:cxnSpMkLst>
        </pc:cxnChg>
      </pc:sldChg>
      <pc:sldChg chg="addSp modSp mod modClrScheme chgLayout">
        <pc:chgData name="Deimonmi Nongrum [Chillibreeze]" userId="e937f645-8c95-42a9-a298-dfd645e9a76a" providerId="ADAL" clId="{750E9A50-ACEA-48D3-B2C6-355D5EC56876}" dt="2024-06-13T10:42:45.925" v="2453"/>
        <pc:sldMkLst>
          <pc:docMk/>
          <pc:sldMk cId="0" sldId="273"/>
        </pc:sldMkLst>
        <pc:spChg chg="add mod">
          <ac:chgData name="Deimonmi Nongrum [Chillibreeze]" userId="e937f645-8c95-42a9-a298-dfd645e9a76a" providerId="ADAL" clId="{750E9A50-ACEA-48D3-B2C6-355D5EC56876}" dt="2024-06-12T03:54:54.296" v="24"/>
          <ac:spMkLst>
            <pc:docMk/>
            <pc:sldMk cId="0" sldId="273"/>
            <ac:spMk id="2" creationId="{12155D2F-6176-5B64-E185-7B3F312F2FAD}"/>
          </ac:spMkLst>
        </pc:spChg>
        <pc:spChg chg="ord">
          <ac:chgData name="Deimonmi Nongrum [Chillibreeze]" userId="e937f645-8c95-42a9-a298-dfd645e9a76a" providerId="ADAL" clId="{750E9A50-ACEA-48D3-B2C6-355D5EC56876}" dt="2024-06-13T10:42:43.884" v="2450"/>
          <ac:spMkLst>
            <pc:docMk/>
            <pc:sldMk cId="0" sldId="273"/>
            <ac:spMk id="4" creationId="{BDF75057-E0D0-6F6A-7682-954F1A855D4E}"/>
          </ac:spMkLst>
        </pc:spChg>
        <pc:spChg chg="mod ord">
          <ac:chgData name="Deimonmi Nongrum [Chillibreeze]" userId="e937f645-8c95-42a9-a298-dfd645e9a76a" providerId="ADAL" clId="{750E9A50-ACEA-48D3-B2C6-355D5EC56876}" dt="2024-06-13T10:42:38.522" v="2442" actId="167"/>
          <ac:spMkLst>
            <pc:docMk/>
            <pc:sldMk cId="0" sldId="273"/>
            <ac:spMk id="10" creationId="{B0B38CCB-3961-FE46-5F62-6AAB759D0A16}"/>
          </ac:spMkLst>
        </pc:spChg>
        <pc:spChg chg="mod ord">
          <ac:chgData name="Deimonmi Nongrum [Chillibreeze]" userId="e937f645-8c95-42a9-a298-dfd645e9a76a" providerId="ADAL" clId="{750E9A50-ACEA-48D3-B2C6-355D5EC56876}" dt="2024-06-13T10:42:38.522" v="2442" actId="167"/>
          <ac:spMkLst>
            <pc:docMk/>
            <pc:sldMk cId="0" sldId="273"/>
            <ac:spMk id="11" creationId="{9234252A-21DD-468C-D83A-F35EE1EC9326}"/>
          </ac:spMkLst>
        </pc:spChg>
        <pc:spChg chg="mod ord">
          <ac:chgData name="Deimonmi Nongrum [Chillibreeze]" userId="e937f645-8c95-42a9-a298-dfd645e9a76a" providerId="ADAL" clId="{750E9A50-ACEA-48D3-B2C6-355D5EC56876}" dt="2024-06-13T10:42:38.522" v="2442" actId="167"/>
          <ac:spMkLst>
            <pc:docMk/>
            <pc:sldMk cId="0" sldId="273"/>
            <ac:spMk id="12" creationId="{958A1814-C0FA-F4A6-398C-75C76F66443C}"/>
          </ac:spMkLst>
        </pc:spChg>
        <pc:spChg chg="mod ord">
          <ac:chgData name="Deimonmi Nongrum [Chillibreeze]" userId="e937f645-8c95-42a9-a298-dfd645e9a76a" providerId="ADAL" clId="{750E9A50-ACEA-48D3-B2C6-355D5EC56876}" dt="2024-06-13T10:42:38.522" v="2442" actId="167"/>
          <ac:spMkLst>
            <pc:docMk/>
            <pc:sldMk cId="0" sldId="273"/>
            <ac:spMk id="13" creationId="{AE190F0A-E419-27D8-D0CD-42374A42439D}"/>
          </ac:spMkLst>
        </pc:spChg>
        <pc:spChg chg="mod ord">
          <ac:chgData name="Deimonmi Nongrum [Chillibreeze]" userId="e937f645-8c95-42a9-a298-dfd645e9a76a" providerId="ADAL" clId="{750E9A50-ACEA-48D3-B2C6-355D5EC56876}" dt="2024-06-13T10:42:38.522" v="2442" actId="167"/>
          <ac:spMkLst>
            <pc:docMk/>
            <pc:sldMk cId="0" sldId="273"/>
            <ac:spMk id="14" creationId="{F9CF7460-84C5-C239-CDC0-2C03154D2296}"/>
          </ac:spMkLst>
        </pc:spChg>
        <pc:spChg chg="mod ord">
          <ac:chgData name="Deimonmi Nongrum [Chillibreeze]" userId="e937f645-8c95-42a9-a298-dfd645e9a76a" providerId="ADAL" clId="{750E9A50-ACEA-48D3-B2C6-355D5EC56876}" dt="2024-06-13T10:42:38.522" v="2442" actId="167"/>
          <ac:spMkLst>
            <pc:docMk/>
            <pc:sldMk cId="0" sldId="273"/>
            <ac:spMk id="15" creationId="{A2BEA9E2-B32B-8702-73B7-B730D2C3E455}"/>
          </ac:spMkLst>
        </pc:spChg>
        <pc:spChg chg="mod ord">
          <ac:chgData name="Deimonmi Nongrum [Chillibreeze]" userId="e937f645-8c95-42a9-a298-dfd645e9a76a" providerId="ADAL" clId="{750E9A50-ACEA-48D3-B2C6-355D5EC56876}" dt="2024-06-13T10:42:38.522" v="2442" actId="167"/>
          <ac:spMkLst>
            <pc:docMk/>
            <pc:sldMk cId="0" sldId="273"/>
            <ac:spMk id="16" creationId="{AE9870C5-7E6C-83EE-DE16-44AA659B131C}"/>
          </ac:spMkLst>
        </pc:spChg>
        <pc:spChg chg="mod ord">
          <ac:chgData name="Deimonmi Nongrum [Chillibreeze]" userId="e937f645-8c95-42a9-a298-dfd645e9a76a" providerId="ADAL" clId="{750E9A50-ACEA-48D3-B2C6-355D5EC56876}" dt="2024-06-13T10:42:38.522" v="2442" actId="167"/>
          <ac:spMkLst>
            <pc:docMk/>
            <pc:sldMk cId="0" sldId="273"/>
            <ac:spMk id="17" creationId="{494249FD-03C7-66DC-F867-DB7D0830E17D}"/>
          </ac:spMkLst>
        </pc:spChg>
        <pc:spChg chg="mod ord">
          <ac:chgData name="Deimonmi Nongrum [Chillibreeze]" userId="e937f645-8c95-42a9-a298-dfd645e9a76a" providerId="ADAL" clId="{750E9A50-ACEA-48D3-B2C6-355D5EC56876}" dt="2024-06-13T10:42:38.522" v="2442" actId="167"/>
          <ac:spMkLst>
            <pc:docMk/>
            <pc:sldMk cId="0" sldId="273"/>
            <ac:spMk id="18" creationId="{C13C62E4-F132-95C2-A77B-063EF50B2916}"/>
          </ac:spMkLst>
        </pc:spChg>
        <pc:spChg chg="mod ord">
          <ac:chgData name="Deimonmi Nongrum [Chillibreeze]" userId="e937f645-8c95-42a9-a298-dfd645e9a76a" providerId="ADAL" clId="{750E9A50-ACEA-48D3-B2C6-355D5EC56876}" dt="2024-06-13T10:42:38.522" v="2442" actId="167"/>
          <ac:spMkLst>
            <pc:docMk/>
            <pc:sldMk cId="0" sldId="273"/>
            <ac:spMk id="19" creationId="{85554DFA-F125-78F0-7C3F-286748405041}"/>
          </ac:spMkLst>
        </pc:spChg>
        <pc:spChg chg="mod ord">
          <ac:chgData name="Deimonmi Nongrum [Chillibreeze]" userId="e937f645-8c95-42a9-a298-dfd645e9a76a" providerId="ADAL" clId="{750E9A50-ACEA-48D3-B2C6-355D5EC56876}" dt="2024-06-13T10:42:38.522" v="2442" actId="167"/>
          <ac:spMkLst>
            <pc:docMk/>
            <pc:sldMk cId="0" sldId="273"/>
            <ac:spMk id="20" creationId="{3D3E44FF-9BAE-170B-31FE-0A518AE200E5}"/>
          </ac:spMkLst>
        </pc:spChg>
        <pc:spChg chg="ord">
          <ac:chgData name="Deimonmi Nongrum [Chillibreeze]" userId="e937f645-8c95-42a9-a298-dfd645e9a76a" providerId="ADAL" clId="{750E9A50-ACEA-48D3-B2C6-355D5EC56876}" dt="2024-06-13T10:42:44.592" v="2451"/>
          <ac:spMkLst>
            <pc:docMk/>
            <pc:sldMk cId="0" sldId="273"/>
            <ac:spMk id="22" creationId="{32AD5E2B-C181-76FC-B891-62A0D61216BA}"/>
          </ac:spMkLst>
        </pc:spChg>
        <pc:spChg chg="ord">
          <ac:chgData name="Deimonmi Nongrum [Chillibreeze]" userId="e937f645-8c95-42a9-a298-dfd645e9a76a" providerId="ADAL" clId="{750E9A50-ACEA-48D3-B2C6-355D5EC56876}" dt="2024-06-13T10:42:45.260" v="2452"/>
          <ac:spMkLst>
            <pc:docMk/>
            <pc:sldMk cId="0" sldId="273"/>
            <ac:spMk id="24" creationId="{A02275A3-43F4-C1B0-FA0F-119DD5E7E4BC}"/>
          </ac:spMkLst>
        </pc:spChg>
        <pc:spChg chg="ord">
          <ac:chgData name="Deimonmi Nongrum [Chillibreeze]" userId="e937f645-8c95-42a9-a298-dfd645e9a76a" providerId="ADAL" clId="{750E9A50-ACEA-48D3-B2C6-355D5EC56876}" dt="2024-06-13T10:42:45.925" v="2453"/>
          <ac:spMkLst>
            <pc:docMk/>
            <pc:sldMk cId="0" sldId="273"/>
            <ac:spMk id="26" creationId="{D6276BF8-536D-BB9A-9035-0ED08023CB94}"/>
          </ac:spMkLst>
        </pc:spChg>
        <pc:spChg chg="mod ord">
          <ac:chgData name="Deimonmi Nongrum [Chillibreeze]" userId="e937f645-8c95-42a9-a298-dfd645e9a76a" providerId="ADAL" clId="{750E9A50-ACEA-48D3-B2C6-355D5EC56876}" dt="2024-06-13T10:42:41.644" v="2449"/>
          <ac:spMkLst>
            <pc:docMk/>
            <pc:sldMk cId="0" sldId="273"/>
            <ac:spMk id="4349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73"/>
            <ac:spMk id="4363" creationId="{00000000-0000-0000-0000-000000000000}"/>
          </ac:spMkLst>
        </pc:spChg>
        <pc:picChg chg="mod ord">
          <ac:chgData name="Deimonmi Nongrum [Chillibreeze]" userId="e937f645-8c95-42a9-a298-dfd645e9a76a" providerId="ADAL" clId="{750E9A50-ACEA-48D3-B2C6-355D5EC56876}" dt="2024-06-13T10:42:38.522" v="2442" actId="167"/>
          <ac:picMkLst>
            <pc:docMk/>
            <pc:sldMk cId="0" sldId="273"/>
            <ac:picMk id="9" creationId="{BB1C3ECE-C0B8-699D-AAB5-974C61E9AC54}"/>
          </ac:picMkLst>
        </pc:picChg>
        <pc:picChg chg="mod ord">
          <ac:chgData name="Deimonmi Nongrum [Chillibreeze]" userId="e937f645-8c95-42a9-a298-dfd645e9a76a" providerId="ADAL" clId="{750E9A50-ACEA-48D3-B2C6-355D5EC56876}" dt="2024-06-13T10:42:38.522" v="2442" actId="167"/>
          <ac:picMkLst>
            <pc:docMk/>
            <pc:sldMk cId="0" sldId="273"/>
            <ac:picMk id="21" creationId="{DF55BDA1-2617-40E2-2D58-6FCE7BF7360A}"/>
          </ac:picMkLst>
        </pc:picChg>
        <pc:picChg chg="mod ord">
          <ac:chgData name="Deimonmi Nongrum [Chillibreeze]" userId="e937f645-8c95-42a9-a298-dfd645e9a76a" providerId="ADAL" clId="{750E9A50-ACEA-48D3-B2C6-355D5EC56876}" dt="2024-06-13T10:42:38.522" v="2442" actId="167"/>
          <ac:picMkLst>
            <pc:docMk/>
            <pc:sldMk cId="0" sldId="273"/>
            <ac:picMk id="23" creationId="{6161B588-5082-530C-5408-CA7510AB5647}"/>
          </ac:picMkLst>
        </pc:picChg>
        <pc:picChg chg="mod ord">
          <ac:chgData name="Deimonmi Nongrum [Chillibreeze]" userId="e937f645-8c95-42a9-a298-dfd645e9a76a" providerId="ADAL" clId="{750E9A50-ACEA-48D3-B2C6-355D5EC56876}" dt="2024-06-13T10:42:38.522" v="2442" actId="167"/>
          <ac:picMkLst>
            <pc:docMk/>
            <pc:sldMk cId="0" sldId="273"/>
            <ac:picMk id="25" creationId="{D7E91DAF-77AB-D013-EA36-4E753433C845}"/>
          </ac:picMkLst>
        </pc:picChg>
        <pc:cxnChg chg="mod ord">
          <ac:chgData name="Deimonmi Nongrum [Chillibreeze]" userId="e937f645-8c95-42a9-a298-dfd645e9a76a" providerId="ADAL" clId="{750E9A50-ACEA-48D3-B2C6-355D5EC56876}" dt="2024-06-13T10:42:38.522" v="2442" actId="167"/>
          <ac:cxnSpMkLst>
            <pc:docMk/>
            <pc:sldMk cId="0" sldId="273"/>
            <ac:cxnSpMk id="3" creationId="{9F59DD05-9A4B-5549-1DC7-D079B1623164}"/>
          </ac:cxnSpMkLst>
        </pc:cxnChg>
      </pc:sldChg>
      <pc:sldChg chg="addSp modSp mod modClrScheme chgLayout">
        <pc:chgData name="Deimonmi Nongrum [Chillibreeze]" userId="e937f645-8c95-42a9-a298-dfd645e9a76a" providerId="ADAL" clId="{750E9A50-ACEA-48D3-B2C6-355D5EC56876}" dt="2024-06-13T10:47:43.739" v="2466"/>
        <pc:sldMkLst>
          <pc:docMk/>
          <pc:sldMk cId="0" sldId="274"/>
        </pc:sldMkLst>
        <pc:spChg chg="add mod">
          <ac:chgData name="Deimonmi Nongrum [Chillibreeze]" userId="e937f645-8c95-42a9-a298-dfd645e9a76a" providerId="ADAL" clId="{750E9A50-ACEA-48D3-B2C6-355D5EC56876}" dt="2024-06-12T03:54:55.062" v="25"/>
          <ac:spMkLst>
            <pc:docMk/>
            <pc:sldMk cId="0" sldId="274"/>
            <ac:spMk id="2" creationId="{684CBE5A-B6F6-00ED-7228-CF731B08E7F4}"/>
          </ac:spMkLst>
        </pc:spChg>
        <pc:spChg chg="mod ord">
          <ac:chgData name="Deimonmi Nongrum [Chillibreeze]" userId="e937f645-8c95-42a9-a298-dfd645e9a76a" providerId="ADAL" clId="{750E9A50-ACEA-48D3-B2C6-355D5EC56876}" dt="2024-06-13T10:47:38.162" v="2457" actId="167"/>
          <ac:spMkLst>
            <pc:docMk/>
            <pc:sldMk cId="0" sldId="274"/>
            <ac:spMk id="4" creationId="{6AE59FF4-253A-1B56-537E-53BC36F0B897}"/>
          </ac:spMkLst>
        </pc:spChg>
        <pc:spChg chg="mod ord">
          <ac:chgData name="Deimonmi Nongrum [Chillibreeze]" userId="e937f645-8c95-42a9-a298-dfd645e9a76a" providerId="ADAL" clId="{750E9A50-ACEA-48D3-B2C6-355D5EC56876}" dt="2024-06-13T10:47:38.162" v="2457" actId="167"/>
          <ac:spMkLst>
            <pc:docMk/>
            <pc:sldMk cId="0" sldId="274"/>
            <ac:spMk id="5" creationId="{98CE9DEE-B08B-6346-32D1-6614DC260B5C}"/>
          </ac:spMkLst>
        </pc:spChg>
        <pc:spChg chg="ord">
          <ac:chgData name="Deimonmi Nongrum [Chillibreeze]" userId="e937f645-8c95-42a9-a298-dfd645e9a76a" providerId="ADAL" clId="{750E9A50-ACEA-48D3-B2C6-355D5EC56876}" dt="2024-06-13T10:47:42.511" v="2464"/>
          <ac:spMkLst>
            <pc:docMk/>
            <pc:sldMk cId="0" sldId="274"/>
            <ac:spMk id="10" creationId="{99F2A730-17FE-20E5-74B5-4C088EE4531D}"/>
          </ac:spMkLst>
        </pc:spChg>
        <pc:spChg chg="mod ord">
          <ac:chgData name="Deimonmi Nongrum [Chillibreeze]" userId="e937f645-8c95-42a9-a298-dfd645e9a76a" providerId="ADAL" clId="{750E9A50-ACEA-48D3-B2C6-355D5EC56876}" dt="2024-06-13T10:47:38.162" v="2457" actId="167"/>
          <ac:spMkLst>
            <pc:docMk/>
            <pc:sldMk cId="0" sldId="274"/>
            <ac:spMk id="12" creationId="{10C98D10-91C6-304F-A9CE-D4B978A1E896}"/>
          </ac:spMkLst>
        </pc:spChg>
        <pc:spChg chg="mod ord">
          <ac:chgData name="Deimonmi Nongrum [Chillibreeze]" userId="e937f645-8c95-42a9-a298-dfd645e9a76a" providerId="ADAL" clId="{750E9A50-ACEA-48D3-B2C6-355D5EC56876}" dt="2024-06-13T10:47:38.162" v="2457" actId="167"/>
          <ac:spMkLst>
            <pc:docMk/>
            <pc:sldMk cId="0" sldId="274"/>
            <ac:spMk id="13" creationId="{35245819-17BF-1502-962C-868E13F13DFE}"/>
          </ac:spMkLst>
        </pc:spChg>
        <pc:spChg chg="mod ord">
          <ac:chgData name="Deimonmi Nongrum [Chillibreeze]" userId="e937f645-8c95-42a9-a298-dfd645e9a76a" providerId="ADAL" clId="{750E9A50-ACEA-48D3-B2C6-355D5EC56876}" dt="2024-06-13T10:47:38.162" v="2457" actId="167"/>
          <ac:spMkLst>
            <pc:docMk/>
            <pc:sldMk cId="0" sldId="274"/>
            <ac:spMk id="14" creationId="{B2985FD6-9DF1-418D-D8F1-E25ED89C4688}"/>
          </ac:spMkLst>
        </pc:spChg>
        <pc:spChg chg="mod ord">
          <ac:chgData name="Deimonmi Nongrum [Chillibreeze]" userId="e937f645-8c95-42a9-a298-dfd645e9a76a" providerId="ADAL" clId="{750E9A50-ACEA-48D3-B2C6-355D5EC56876}" dt="2024-06-13T10:47:38.162" v="2457" actId="167"/>
          <ac:spMkLst>
            <pc:docMk/>
            <pc:sldMk cId="0" sldId="274"/>
            <ac:spMk id="15" creationId="{582FC1B1-C1E9-6E6D-8A6B-7D08BEB9D403}"/>
          </ac:spMkLst>
        </pc:spChg>
        <pc:spChg chg="mod ord">
          <ac:chgData name="Deimonmi Nongrum [Chillibreeze]" userId="e937f645-8c95-42a9-a298-dfd645e9a76a" providerId="ADAL" clId="{750E9A50-ACEA-48D3-B2C6-355D5EC56876}" dt="2024-06-13T10:47:38.162" v="2457" actId="167"/>
          <ac:spMkLst>
            <pc:docMk/>
            <pc:sldMk cId="0" sldId="274"/>
            <ac:spMk id="16" creationId="{548431E0-A117-9481-F1A7-4DFB0D0CA28C}"/>
          </ac:spMkLst>
        </pc:spChg>
        <pc:spChg chg="mod ord">
          <ac:chgData name="Deimonmi Nongrum [Chillibreeze]" userId="e937f645-8c95-42a9-a298-dfd645e9a76a" providerId="ADAL" clId="{750E9A50-ACEA-48D3-B2C6-355D5EC56876}" dt="2024-06-13T10:47:38.162" v="2457" actId="167"/>
          <ac:spMkLst>
            <pc:docMk/>
            <pc:sldMk cId="0" sldId="274"/>
            <ac:spMk id="17" creationId="{2DA0F325-FD2E-716F-9501-3BA7BBB5FA0E}"/>
          </ac:spMkLst>
        </pc:spChg>
        <pc:spChg chg="ord">
          <ac:chgData name="Deimonmi Nongrum [Chillibreeze]" userId="e937f645-8c95-42a9-a298-dfd645e9a76a" providerId="ADAL" clId="{750E9A50-ACEA-48D3-B2C6-355D5EC56876}" dt="2024-06-13T10:47:43.052" v="2465"/>
          <ac:spMkLst>
            <pc:docMk/>
            <pc:sldMk cId="0" sldId="274"/>
            <ac:spMk id="19" creationId="{BFA08FBA-239B-801A-AD6A-61CBA835731B}"/>
          </ac:spMkLst>
        </pc:spChg>
        <pc:spChg chg="ord">
          <ac:chgData name="Deimonmi Nongrum [Chillibreeze]" userId="e937f645-8c95-42a9-a298-dfd645e9a76a" providerId="ADAL" clId="{750E9A50-ACEA-48D3-B2C6-355D5EC56876}" dt="2024-06-13T10:47:43.739" v="2466"/>
          <ac:spMkLst>
            <pc:docMk/>
            <pc:sldMk cId="0" sldId="274"/>
            <ac:spMk id="21" creationId="{C7D8F65D-63E4-ADB0-6A08-4D9C3B84C2C9}"/>
          </ac:spMkLst>
        </pc:spChg>
        <pc:spChg chg="mod ord">
          <ac:chgData name="Deimonmi Nongrum [Chillibreeze]" userId="e937f645-8c95-42a9-a298-dfd645e9a76a" providerId="ADAL" clId="{750E9A50-ACEA-48D3-B2C6-355D5EC56876}" dt="2024-06-13T10:47:41.609" v="2463"/>
          <ac:spMkLst>
            <pc:docMk/>
            <pc:sldMk cId="0" sldId="274"/>
            <ac:spMk id="4371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74"/>
            <ac:spMk id="4372" creationId="{00000000-0000-0000-0000-000000000000}"/>
          </ac:spMkLst>
        </pc:spChg>
        <pc:picChg chg="mod ord">
          <ac:chgData name="Deimonmi Nongrum [Chillibreeze]" userId="e937f645-8c95-42a9-a298-dfd645e9a76a" providerId="ADAL" clId="{750E9A50-ACEA-48D3-B2C6-355D5EC56876}" dt="2024-06-13T10:47:38.162" v="2457" actId="167"/>
          <ac:picMkLst>
            <pc:docMk/>
            <pc:sldMk cId="0" sldId="274"/>
            <ac:picMk id="3" creationId="{3CE1E5E7-6F6C-7E95-1B3A-C1840A26F2BB}"/>
          </ac:picMkLst>
        </pc:picChg>
        <pc:picChg chg="mod ord">
          <ac:chgData name="Deimonmi Nongrum [Chillibreeze]" userId="e937f645-8c95-42a9-a298-dfd645e9a76a" providerId="ADAL" clId="{750E9A50-ACEA-48D3-B2C6-355D5EC56876}" dt="2024-06-13T10:47:38.162" v="2457" actId="167"/>
          <ac:picMkLst>
            <pc:docMk/>
            <pc:sldMk cId="0" sldId="274"/>
            <ac:picMk id="18" creationId="{176444F2-1CAA-01C1-45DB-30A67D285838}"/>
          </ac:picMkLst>
        </pc:picChg>
        <pc:picChg chg="mod ord">
          <ac:chgData name="Deimonmi Nongrum [Chillibreeze]" userId="e937f645-8c95-42a9-a298-dfd645e9a76a" providerId="ADAL" clId="{750E9A50-ACEA-48D3-B2C6-355D5EC56876}" dt="2024-06-13T10:47:38.162" v="2457" actId="167"/>
          <ac:picMkLst>
            <pc:docMk/>
            <pc:sldMk cId="0" sldId="274"/>
            <ac:picMk id="20" creationId="{868CED1F-6B9C-E97D-EF35-23D9D4CCB153}"/>
          </ac:picMkLst>
        </pc:picChg>
        <pc:cxnChg chg="mod ord">
          <ac:chgData name="Deimonmi Nongrum [Chillibreeze]" userId="e937f645-8c95-42a9-a298-dfd645e9a76a" providerId="ADAL" clId="{750E9A50-ACEA-48D3-B2C6-355D5EC56876}" dt="2024-06-13T10:47:38.162" v="2457" actId="167"/>
          <ac:cxnSpMkLst>
            <pc:docMk/>
            <pc:sldMk cId="0" sldId="274"/>
            <ac:cxnSpMk id="9" creationId="{9002A781-8FD0-5532-2DC5-9D51370229C7}"/>
          </ac:cxnSpMkLst>
        </pc:cxnChg>
      </pc:sldChg>
      <pc:sldChg chg="addSp delSp modSp mod modClrScheme chgLayout">
        <pc:chgData name="Deimonmi Nongrum [Chillibreeze]" userId="e937f645-8c95-42a9-a298-dfd645e9a76a" providerId="ADAL" clId="{750E9A50-ACEA-48D3-B2C6-355D5EC56876}" dt="2024-06-13T10:49:11.762" v="2485"/>
        <pc:sldMkLst>
          <pc:docMk/>
          <pc:sldMk cId="0" sldId="275"/>
        </pc:sldMkLst>
        <pc:spChg chg="add del mod">
          <ac:chgData name="Deimonmi Nongrum [Chillibreeze]" userId="e937f645-8c95-42a9-a298-dfd645e9a76a" providerId="ADAL" clId="{750E9A50-ACEA-48D3-B2C6-355D5EC56876}" dt="2024-06-13T10:49:03.613" v="2483"/>
          <ac:spMkLst>
            <pc:docMk/>
            <pc:sldMk cId="0" sldId="275"/>
            <ac:spMk id="2" creationId="{A44B00F4-15F6-B79F-F09E-0CC1D20B9308}"/>
          </ac:spMkLst>
        </pc:spChg>
        <pc:spChg chg="add mod">
          <ac:chgData name="Deimonmi Nongrum [Chillibreeze]" userId="e937f645-8c95-42a9-a298-dfd645e9a76a" providerId="ADAL" clId="{750E9A50-ACEA-48D3-B2C6-355D5EC56876}" dt="2024-06-12T03:54:55.807" v="26"/>
          <ac:spMkLst>
            <pc:docMk/>
            <pc:sldMk cId="0" sldId="275"/>
            <ac:spMk id="2" creationId="{EC3788CD-A50C-DA07-908E-6C747ABF7B54}"/>
          </ac:spMkLst>
        </pc:spChg>
        <pc:spChg chg="add del mod">
          <ac:chgData name="Deimonmi Nongrum [Chillibreeze]" userId="e937f645-8c95-42a9-a298-dfd645e9a76a" providerId="ADAL" clId="{750E9A50-ACEA-48D3-B2C6-355D5EC56876}" dt="2024-06-13T10:49:08.135" v="2484"/>
          <ac:spMkLst>
            <pc:docMk/>
            <pc:sldMk cId="0" sldId="275"/>
            <ac:spMk id="3" creationId="{807300FA-3242-BCAE-B0D1-685A630AD04D}"/>
          </ac:spMkLst>
        </pc:spChg>
        <pc:spChg chg="add del mod">
          <ac:chgData name="Deimonmi Nongrum [Chillibreeze]" userId="e937f645-8c95-42a9-a298-dfd645e9a76a" providerId="ADAL" clId="{750E9A50-ACEA-48D3-B2C6-355D5EC56876}" dt="2024-06-13T10:49:11.762" v="2485"/>
          <ac:spMkLst>
            <pc:docMk/>
            <pc:sldMk cId="0" sldId="275"/>
            <ac:spMk id="4" creationId="{34318F80-186E-8E5D-142B-2AD33E5946C7}"/>
          </ac:spMkLst>
        </pc:spChg>
        <pc:spChg chg="mod">
          <ac:chgData name="Deimonmi Nongrum [Chillibreeze]" userId="e937f645-8c95-42a9-a298-dfd645e9a76a" providerId="ADAL" clId="{750E9A50-ACEA-48D3-B2C6-355D5EC56876}" dt="2024-06-13T10:49:03.613" v="2483"/>
          <ac:spMkLst>
            <pc:docMk/>
            <pc:sldMk cId="0" sldId="275"/>
            <ac:spMk id="5" creationId="{F8B39902-EB52-B6CC-1D48-4BEF2CC38659}"/>
          </ac:spMkLst>
        </pc:spChg>
        <pc:spChg chg="ord">
          <ac:chgData name="Deimonmi Nongrum [Chillibreeze]" userId="e937f645-8c95-42a9-a298-dfd645e9a76a" providerId="ADAL" clId="{750E9A50-ACEA-48D3-B2C6-355D5EC56876}" dt="2024-06-13T10:48:22.521" v="2476"/>
          <ac:spMkLst>
            <pc:docMk/>
            <pc:sldMk cId="0" sldId="275"/>
            <ac:spMk id="7" creationId="{23E82AA9-447C-3BF1-30EC-B70CE7483AD3}"/>
          </ac:spMkLst>
        </pc:spChg>
        <pc:spChg chg="mod">
          <ac:chgData name="Deimonmi Nongrum [Chillibreeze]" userId="e937f645-8c95-42a9-a298-dfd645e9a76a" providerId="ADAL" clId="{750E9A50-ACEA-48D3-B2C6-355D5EC56876}" dt="2024-06-13T10:49:08.135" v="2484"/>
          <ac:spMkLst>
            <pc:docMk/>
            <pc:sldMk cId="0" sldId="275"/>
            <ac:spMk id="8" creationId="{04C22CCC-298D-B1B4-7FF3-9BBF8674FBA0}"/>
          </ac:spMkLst>
        </pc:spChg>
        <pc:spChg chg="mod ord">
          <ac:chgData name="Deimonmi Nongrum [Chillibreeze]" userId="e937f645-8c95-42a9-a298-dfd645e9a76a" providerId="ADAL" clId="{750E9A50-ACEA-48D3-B2C6-355D5EC56876}" dt="2024-06-13T10:48:23.700" v="2477"/>
          <ac:spMkLst>
            <pc:docMk/>
            <pc:sldMk cId="0" sldId="275"/>
            <ac:spMk id="9" creationId="{8CEBAEA1-746E-87A8-C54C-57864EFA4C5B}"/>
          </ac:spMkLst>
        </pc:spChg>
        <pc:spChg chg="mod">
          <ac:chgData name="Deimonmi Nongrum [Chillibreeze]" userId="e937f645-8c95-42a9-a298-dfd645e9a76a" providerId="ADAL" clId="{750E9A50-ACEA-48D3-B2C6-355D5EC56876}" dt="2024-06-13T10:49:11.762" v="2485"/>
          <ac:spMkLst>
            <pc:docMk/>
            <pc:sldMk cId="0" sldId="275"/>
            <ac:spMk id="10" creationId="{3A97C76D-9790-5EDC-6633-785C3BE38FA3}"/>
          </ac:spMkLst>
        </pc:spChg>
        <pc:spChg chg="del mod ord">
          <ac:chgData name="Deimonmi Nongrum [Chillibreeze]" userId="e937f645-8c95-42a9-a298-dfd645e9a76a" providerId="ADAL" clId="{750E9A50-ACEA-48D3-B2C6-355D5EC56876}" dt="2024-06-13T10:49:03.613" v="2483"/>
          <ac:spMkLst>
            <pc:docMk/>
            <pc:sldMk cId="0" sldId="275"/>
            <ac:spMk id="11" creationId="{B9CBAB69-A146-3961-A4D9-0675A5E9958F}"/>
          </ac:spMkLst>
        </pc:spChg>
        <pc:spChg chg="del mod ord">
          <ac:chgData name="Deimonmi Nongrum [Chillibreeze]" userId="e937f645-8c95-42a9-a298-dfd645e9a76a" providerId="ADAL" clId="{750E9A50-ACEA-48D3-B2C6-355D5EC56876}" dt="2024-06-13T10:49:08.135" v="2484"/>
          <ac:spMkLst>
            <pc:docMk/>
            <pc:sldMk cId="0" sldId="275"/>
            <ac:spMk id="12" creationId="{CD5CD1CF-91F2-426B-B341-5022D666C72F}"/>
          </ac:spMkLst>
        </pc:spChg>
        <pc:spChg chg="del mod ord">
          <ac:chgData name="Deimonmi Nongrum [Chillibreeze]" userId="e937f645-8c95-42a9-a298-dfd645e9a76a" providerId="ADAL" clId="{750E9A50-ACEA-48D3-B2C6-355D5EC56876}" dt="2024-06-13T10:49:11.762" v="2485"/>
          <ac:spMkLst>
            <pc:docMk/>
            <pc:sldMk cId="0" sldId="275"/>
            <ac:spMk id="13" creationId="{198F6DBD-288B-838C-1D3F-7194144E556D}"/>
          </ac:spMkLst>
        </pc:spChg>
        <pc:spChg chg="mod ord">
          <ac:chgData name="Deimonmi Nongrum [Chillibreeze]" userId="e937f645-8c95-42a9-a298-dfd645e9a76a" providerId="ADAL" clId="{750E9A50-ACEA-48D3-B2C6-355D5EC56876}" dt="2024-06-13T10:48:16.427" v="2471" actId="167"/>
          <ac:spMkLst>
            <pc:docMk/>
            <pc:sldMk cId="0" sldId="275"/>
            <ac:spMk id="14" creationId="{5CA66F53-F3D1-FBFD-02BE-FB51F378185B}"/>
          </ac:spMkLst>
        </pc:spChg>
        <pc:spChg chg="mod ord">
          <ac:chgData name="Deimonmi Nongrum [Chillibreeze]" userId="e937f645-8c95-42a9-a298-dfd645e9a76a" providerId="ADAL" clId="{750E9A50-ACEA-48D3-B2C6-355D5EC56876}" dt="2024-06-13T10:48:16.427" v="2471" actId="167"/>
          <ac:spMkLst>
            <pc:docMk/>
            <pc:sldMk cId="0" sldId="275"/>
            <ac:spMk id="15" creationId="{47C14C60-4044-B6CA-0076-9A69EB4DB849}"/>
          </ac:spMkLst>
        </pc:spChg>
        <pc:spChg chg="mod ord">
          <ac:chgData name="Deimonmi Nongrum [Chillibreeze]" userId="e937f645-8c95-42a9-a298-dfd645e9a76a" providerId="ADAL" clId="{750E9A50-ACEA-48D3-B2C6-355D5EC56876}" dt="2024-06-13T10:48:16.427" v="2471" actId="167"/>
          <ac:spMkLst>
            <pc:docMk/>
            <pc:sldMk cId="0" sldId="275"/>
            <ac:spMk id="16" creationId="{780AE2FB-1A9B-D4F5-1F22-28C5D2A81785}"/>
          </ac:spMkLst>
        </pc:spChg>
        <pc:spChg chg="mod ord">
          <ac:chgData name="Deimonmi Nongrum [Chillibreeze]" userId="e937f645-8c95-42a9-a298-dfd645e9a76a" providerId="ADAL" clId="{750E9A50-ACEA-48D3-B2C6-355D5EC56876}" dt="2024-06-13T10:48:16.427" v="2471" actId="167"/>
          <ac:spMkLst>
            <pc:docMk/>
            <pc:sldMk cId="0" sldId="275"/>
            <ac:spMk id="17" creationId="{BD9A4C5C-4836-905A-47C8-F0C47900E506}"/>
          </ac:spMkLst>
        </pc:spChg>
        <pc:spChg chg="mod ord">
          <ac:chgData name="Deimonmi Nongrum [Chillibreeze]" userId="e937f645-8c95-42a9-a298-dfd645e9a76a" providerId="ADAL" clId="{750E9A50-ACEA-48D3-B2C6-355D5EC56876}" dt="2024-06-13T10:48:16.427" v="2471" actId="167"/>
          <ac:spMkLst>
            <pc:docMk/>
            <pc:sldMk cId="0" sldId="275"/>
            <ac:spMk id="18" creationId="{AF5198B1-ABA0-BFA6-6ED0-F96E1B7FFAB0}"/>
          </ac:spMkLst>
        </pc:spChg>
        <pc:spChg chg="mod ord">
          <ac:chgData name="Deimonmi Nongrum [Chillibreeze]" userId="e937f645-8c95-42a9-a298-dfd645e9a76a" providerId="ADAL" clId="{750E9A50-ACEA-48D3-B2C6-355D5EC56876}" dt="2024-06-13T10:48:16.427" v="2471" actId="167"/>
          <ac:spMkLst>
            <pc:docMk/>
            <pc:sldMk cId="0" sldId="275"/>
            <ac:spMk id="19" creationId="{B10EF99A-FABF-37E3-028C-C26B713ECECA}"/>
          </ac:spMkLst>
        </pc:spChg>
        <pc:spChg chg="ord">
          <ac:chgData name="Deimonmi Nongrum [Chillibreeze]" userId="e937f645-8c95-42a9-a298-dfd645e9a76a" providerId="ADAL" clId="{750E9A50-ACEA-48D3-B2C6-355D5EC56876}" dt="2024-06-13T10:48:24.579" v="2478"/>
          <ac:spMkLst>
            <pc:docMk/>
            <pc:sldMk cId="0" sldId="275"/>
            <ac:spMk id="21" creationId="{D54A3F86-B4C1-4B89-296D-4673ACEE75B2}"/>
          </ac:spMkLst>
        </pc:spChg>
        <pc:spChg chg="ord">
          <ac:chgData name="Deimonmi Nongrum [Chillibreeze]" userId="e937f645-8c95-42a9-a298-dfd645e9a76a" providerId="ADAL" clId="{750E9A50-ACEA-48D3-B2C6-355D5EC56876}" dt="2024-06-13T10:48:25.353" v="2479"/>
          <ac:spMkLst>
            <pc:docMk/>
            <pc:sldMk cId="0" sldId="275"/>
            <ac:spMk id="23" creationId="{4E60C547-5F2F-F2AC-89F8-C3F38C39C371}"/>
          </ac:spMkLst>
        </pc:spChg>
        <pc:spChg chg="ord">
          <ac:chgData name="Deimonmi Nongrum [Chillibreeze]" userId="e937f645-8c95-42a9-a298-dfd645e9a76a" providerId="ADAL" clId="{750E9A50-ACEA-48D3-B2C6-355D5EC56876}" dt="2024-06-13T10:48:26.396" v="2480"/>
          <ac:spMkLst>
            <pc:docMk/>
            <pc:sldMk cId="0" sldId="275"/>
            <ac:spMk id="25" creationId="{917728EC-468C-282D-F731-9B7D45FF1324}"/>
          </ac:spMkLst>
        </pc:spChg>
        <pc:spChg chg="mod ord">
          <ac:chgData name="Deimonmi Nongrum [Chillibreeze]" userId="e937f645-8c95-42a9-a298-dfd645e9a76a" providerId="ADAL" clId="{750E9A50-ACEA-48D3-B2C6-355D5EC56876}" dt="2024-06-13T10:48:16.427" v="2471" actId="167"/>
          <ac:spMkLst>
            <pc:docMk/>
            <pc:sldMk cId="0" sldId="275"/>
            <ac:spMk id="27" creationId="{1EF84F57-ED04-36C7-93F7-32E9C1EE5EF5}"/>
          </ac:spMkLst>
        </pc:spChg>
        <pc:spChg chg="mod ord">
          <ac:chgData name="Deimonmi Nongrum [Chillibreeze]" userId="e937f645-8c95-42a9-a298-dfd645e9a76a" providerId="ADAL" clId="{750E9A50-ACEA-48D3-B2C6-355D5EC56876}" dt="2024-06-13T10:48:16.427" v="2471" actId="167"/>
          <ac:spMkLst>
            <pc:docMk/>
            <pc:sldMk cId="0" sldId="275"/>
            <ac:spMk id="28" creationId="{DF8B6B60-560C-AE0F-4A0B-935E0AB8243D}"/>
          </ac:spMkLst>
        </pc:spChg>
        <pc:spChg chg="mod ord">
          <ac:chgData name="Deimonmi Nongrum [Chillibreeze]" userId="e937f645-8c95-42a9-a298-dfd645e9a76a" providerId="ADAL" clId="{750E9A50-ACEA-48D3-B2C6-355D5EC56876}" dt="2024-06-13T10:48:20.281" v="2475" actId="166"/>
          <ac:spMkLst>
            <pc:docMk/>
            <pc:sldMk cId="0" sldId="275"/>
            <ac:spMk id="4387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75"/>
            <ac:spMk id="4389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2T03:53:22.257" v="4"/>
          <ac:spMkLst>
            <pc:docMk/>
            <pc:sldMk cId="0" sldId="275"/>
            <ac:spMk id="4394" creationId="{00000000-0000-0000-0000-000000000000}"/>
          </ac:spMkLst>
        </pc:spChg>
        <pc:picChg chg="mod ord">
          <ac:chgData name="Deimonmi Nongrum [Chillibreeze]" userId="e937f645-8c95-42a9-a298-dfd645e9a76a" providerId="ADAL" clId="{750E9A50-ACEA-48D3-B2C6-355D5EC56876}" dt="2024-06-13T10:48:16.427" v="2471" actId="167"/>
          <ac:picMkLst>
            <pc:docMk/>
            <pc:sldMk cId="0" sldId="275"/>
            <ac:picMk id="20" creationId="{6F569543-15E8-931D-0679-325B162B71F5}"/>
          </ac:picMkLst>
        </pc:picChg>
        <pc:picChg chg="mod ord">
          <ac:chgData name="Deimonmi Nongrum [Chillibreeze]" userId="e937f645-8c95-42a9-a298-dfd645e9a76a" providerId="ADAL" clId="{750E9A50-ACEA-48D3-B2C6-355D5EC56876}" dt="2024-06-13T10:48:16.427" v="2471" actId="167"/>
          <ac:picMkLst>
            <pc:docMk/>
            <pc:sldMk cId="0" sldId="275"/>
            <ac:picMk id="22" creationId="{8C114E07-91A1-CA88-2EDF-F04E98316A5C}"/>
          </ac:picMkLst>
        </pc:picChg>
        <pc:picChg chg="mod ord">
          <ac:chgData name="Deimonmi Nongrum [Chillibreeze]" userId="e937f645-8c95-42a9-a298-dfd645e9a76a" providerId="ADAL" clId="{750E9A50-ACEA-48D3-B2C6-355D5EC56876}" dt="2024-06-13T10:48:16.427" v="2471" actId="167"/>
          <ac:picMkLst>
            <pc:docMk/>
            <pc:sldMk cId="0" sldId="275"/>
            <ac:picMk id="24" creationId="{50BA4A99-1911-3355-8510-FD035FFA49DB}"/>
          </ac:picMkLst>
        </pc:picChg>
        <pc:picChg chg="mod ord">
          <ac:chgData name="Deimonmi Nongrum [Chillibreeze]" userId="e937f645-8c95-42a9-a298-dfd645e9a76a" providerId="ADAL" clId="{750E9A50-ACEA-48D3-B2C6-355D5EC56876}" dt="2024-06-13T10:48:31.002" v="2481" actId="167"/>
          <ac:picMkLst>
            <pc:docMk/>
            <pc:sldMk cId="0" sldId="275"/>
            <ac:picMk id="26" creationId="{2510E927-1FE5-6490-22E9-C238151E1BC1}"/>
          </ac:picMkLst>
        </pc:picChg>
        <pc:cxnChg chg="mod ord">
          <ac:chgData name="Deimonmi Nongrum [Chillibreeze]" userId="e937f645-8c95-42a9-a298-dfd645e9a76a" providerId="ADAL" clId="{750E9A50-ACEA-48D3-B2C6-355D5EC56876}" dt="2024-06-13T10:48:16.427" v="2471" actId="167"/>
          <ac:cxnSpMkLst>
            <pc:docMk/>
            <pc:sldMk cId="0" sldId="275"/>
            <ac:cxnSpMk id="6" creationId="{A5A8EDB9-FB03-0585-1CD5-DCCC4552B104}"/>
          </ac:cxnSpMkLst>
        </pc:cxnChg>
      </pc:sldChg>
      <pc:sldChg chg="addSp delSp modSp mod modClrScheme chgLayout">
        <pc:chgData name="Deimonmi Nongrum [Chillibreeze]" userId="e937f645-8c95-42a9-a298-dfd645e9a76a" providerId="ADAL" clId="{750E9A50-ACEA-48D3-B2C6-355D5EC56876}" dt="2024-06-13T10:50:08.956" v="2502"/>
        <pc:sldMkLst>
          <pc:docMk/>
          <pc:sldMk cId="0" sldId="276"/>
        </pc:sldMkLst>
        <pc:spChg chg="add mod">
          <ac:chgData name="Deimonmi Nongrum [Chillibreeze]" userId="e937f645-8c95-42a9-a298-dfd645e9a76a" providerId="ADAL" clId="{750E9A50-ACEA-48D3-B2C6-355D5EC56876}" dt="2024-06-12T03:54:56.648" v="27"/>
          <ac:spMkLst>
            <pc:docMk/>
            <pc:sldMk cId="0" sldId="276"/>
            <ac:spMk id="2" creationId="{715B0ADC-E0F9-FB8F-8F14-19164AA1B6C8}"/>
          </ac:spMkLst>
        </pc:spChg>
        <pc:spChg chg="add del mod">
          <ac:chgData name="Deimonmi Nongrum [Chillibreeze]" userId="e937f645-8c95-42a9-a298-dfd645e9a76a" providerId="ADAL" clId="{750E9A50-ACEA-48D3-B2C6-355D5EC56876}" dt="2024-06-13T03:55:38.934" v="647" actId="478"/>
          <ac:spMkLst>
            <pc:docMk/>
            <pc:sldMk cId="0" sldId="276"/>
            <ac:spMk id="3" creationId="{A0E39A5B-36CB-6BBC-6B38-784E2D7782DA}"/>
          </ac:spMkLst>
        </pc:spChg>
        <pc:spChg chg="add mod ord">
          <ac:chgData name="Deimonmi Nongrum [Chillibreeze]" userId="e937f645-8c95-42a9-a298-dfd645e9a76a" providerId="ADAL" clId="{750E9A50-ACEA-48D3-B2C6-355D5EC56876}" dt="2024-06-13T10:49:59.621" v="2490" actId="167"/>
          <ac:spMkLst>
            <pc:docMk/>
            <pc:sldMk cId="0" sldId="276"/>
            <ac:spMk id="3" creationId="{A56CBB96-2BDA-2039-BCBB-91825A94C1DF}"/>
          </ac:spMkLst>
        </pc:spChg>
        <pc:spChg chg="ord">
          <ac:chgData name="Deimonmi Nongrum [Chillibreeze]" userId="e937f645-8c95-42a9-a298-dfd645e9a76a" providerId="ADAL" clId="{750E9A50-ACEA-48D3-B2C6-355D5EC56876}" dt="2024-06-13T10:50:04.167" v="2497"/>
          <ac:spMkLst>
            <pc:docMk/>
            <pc:sldMk cId="0" sldId="276"/>
            <ac:spMk id="4" creationId="{C7F9B15E-44C5-A562-327A-6536B3FC0001}"/>
          </ac:spMkLst>
        </pc:spChg>
        <pc:spChg chg="add mod ord">
          <ac:chgData name="Deimonmi Nongrum [Chillibreeze]" userId="e937f645-8c95-42a9-a298-dfd645e9a76a" providerId="ADAL" clId="{750E9A50-ACEA-48D3-B2C6-355D5EC56876}" dt="2024-06-13T10:49:59.621" v="2490" actId="167"/>
          <ac:spMkLst>
            <pc:docMk/>
            <pc:sldMk cId="0" sldId="276"/>
            <ac:spMk id="6" creationId="{442E0EEF-88F4-E71E-7CD4-81DEB5E3F3AF}"/>
          </ac:spMkLst>
        </pc:spChg>
        <pc:spChg chg="ord">
          <ac:chgData name="Deimonmi Nongrum [Chillibreeze]" userId="e937f645-8c95-42a9-a298-dfd645e9a76a" providerId="ADAL" clId="{750E9A50-ACEA-48D3-B2C6-355D5EC56876}" dt="2024-06-13T10:50:05.118" v="2498"/>
          <ac:spMkLst>
            <pc:docMk/>
            <pc:sldMk cId="0" sldId="276"/>
            <ac:spMk id="7" creationId="{DF53BF93-474F-133E-7A87-92AFECB7ED4D}"/>
          </ac:spMkLst>
        </pc:spChg>
        <pc:spChg chg="del">
          <ac:chgData name="Deimonmi Nongrum [Chillibreeze]" userId="e937f645-8c95-42a9-a298-dfd645e9a76a" providerId="ADAL" clId="{750E9A50-ACEA-48D3-B2C6-355D5EC56876}" dt="2024-06-13T03:51:21.777" v="571" actId="478"/>
          <ac:spMkLst>
            <pc:docMk/>
            <pc:sldMk cId="0" sldId="276"/>
            <ac:spMk id="8" creationId="{904E082C-51B9-6085-A9B0-17CF735F0576}"/>
          </ac:spMkLst>
        </pc:spChg>
        <pc:spChg chg="add mod ord">
          <ac:chgData name="Deimonmi Nongrum [Chillibreeze]" userId="e937f645-8c95-42a9-a298-dfd645e9a76a" providerId="ADAL" clId="{750E9A50-ACEA-48D3-B2C6-355D5EC56876}" dt="2024-06-13T10:49:59.621" v="2490" actId="167"/>
          <ac:spMkLst>
            <pc:docMk/>
            <pc:sldMk cId="0" sldId="276"/>
            <ac:spMk id="8" creationId="{A691914E-31A3-6575-D26D-05A8AC30C61F}"/>
          </ac:spMkLst>
        </pc:spChg>
        <pc:spChg chg="mod ord">
          <ac:chgData name="Deimonmi Nongrum [Chillibreeze]" userId="e937f645-8c95-42a9-a298-dfd645e9a76a" providerId="ADAL" clId="{750E9A50-ACEA-48D3-B2C6-355D5EC56876}" dt="2024-06-13T10:49:59.621" v="2490" actId="167"/>
          <ac:spMkLst>
            <pc:docMk/>
            <pc:sldMk cId="0" sldId="276"/>
            <ac:spMk id="9" creationId="{34332113-B583-8258-8FB2-696456DA3AB6}"/>
          </ac:spMkLst>
        </pc:spChg>
        <pc:spChg chg="mod ord">
          <ac:chgData name="Deimonmi Nongrum [Chillibreeze]" userId="e937f645-8c95-42a9-a298-dfd645e9a76a" providerId="ADAL" clId="{750E9A50-ACEA-48D3-B2C6-355D5EC56876}" dt="2024-06-13T10:49:59.621" v="2490" actId="167"/>
          <ac:spMkLst>
            <pc:docMk/>
            <pc:sldMk cId="0" sldId="276"/>
            <ac:spMk id="10" creationId="{00B875F9-108D-22F6-9BAC-59A7C2630091}"/>
          </ac:spMkLst>
        </pc:spChg>
        <pc:spChg chg="add mod ord">
          <ac:chgData name="Deimonmi Nongrum [Chillibreeze]" userId="e937f645-8c95-42a9-a298-dfd645e9a76a" providerId="ADAL" clId="{750E9A50-ACEA-48D3-B2C6-355D5EC56876}" dt="2024-06-13T10:50:06.394" v="2499"/>
          <ac:spMkLst>
            <pc:docMk/>
            <pc:sldMk cId="0" sldId="276"/>
            <ac:spMk id="11" creationId="{F46BB819-6994-CDCA-ED6F-1EB98E0A32AC}"/>
          </ac:spMkLst>
        </pc:spChg>
        <pc:spChg chg="del">
          <ac:chgData name="Deimonmi Nongrum [Chillibreeze]" userId="e937f645-8c95-42a9-a298-dfd645e9a76a" providerId="ADAL" clId="{750E9A50-ACEA-48D3-B2C6-355D5EC56876}" dt="2024-06-13T10:49:40.587" v="2486" actId="478"/>
          <ac:spMkLst>
            <pc:docMk/>
            <pc:sldMk cId="0" sldId="276"/>
            <ac:spMk id="12" creationId="{5C449D43-D587-EB31-4A6B-364A75C7459A}"/>
          </ac:spMkLst>
        </pc:spChg>
        <pc:spChg chg="del">
          <ac:chgData name="Deimonmi Nongrum [Chillibreeze]" userId="e937f645-8c95-42a9-a298-dfd645e9a76a" providerId="ADAL" clId="{750E9A50-ACEA-48D3-B2C6-355D5EC56876}" dt="2024-06-13T10:49:40.587" v="2486" actId="478"/>
          <ac:spMkLst>
            <pc:docMk/>
            <pc:sldMk cId="0" sldId="276"/>
            <ac:spMk id="13" creationId="{4153321C-90F0-99CE-CFB4-4FC04C32B5A2}"/>
          </ac:spMkLst>
        </pc:spChg>
        <pc:spChg chg="del">
          <ac:chgData name="Deimonmi Nongrum [Chillibreeze]" userId="e937f645-8c95-42a9-a298-dfd645e9a76a" providerId="ADAL" clId="{750E9A50-ACEA-48D3-B2C6-355D5EC56876}" dt="2024-06-13T10:49:40.587" v="2486" actId="478"/>
          <ac:spMkLst>
            <pc:docMk/>
            <pc:sldMk cId="0" sldId="276"/>
            <ac:spMk id="14" creationId="{29A40878-E779-639F-8132-C94E0BA448B0}"/>
          </ac:spMkLst>
        </pc:spChg>
        <pc:spChg chg="mod ord">
          <ac:chgData name="Deimonmi Nongrum [Chillibreeze]" userId="e937f645-8c95-42a9-a298-dfd645e9a76a" providerId="ADAL" clId="{750E9A50-ACEA-48D3-B2C6-355D5EC56876}" dt="2024-06-13T10:49:59.621" v="2490" actId="167"/>
          <ac:spMkLst>
            <pc:docMk/>
            <pc:sldMk cId="0" sldId="276"/>
            <ac:spMk id="15" creationId="{29E17049-4BDD-EB12-DB36-C9A5A8F72B8F}"/>
          </ac:spMkLst>
        </pc:spChg>
        <pc:spChg chg="mod ord">
          <ac:chgData name="Deimonmi Nongrum [Chillibreeze]" userId="e937f645-8c95-42a9-a298-dfd645e9a76a" providerId="ADAL" clId="{750E9A50-ACEA-48D3-B2C6-355D5EC56876}" dt="2024-06-13T10:49:59.621" v="2490" actId="167"/>
          <ac:spMkLst>
            <pc:docMk/>
            <pc:sldMk cId="0" sldId="276"/>
            <ac:spMk id="16" creationId="{3E309927-5567-C8DE-0BCE-32AEA8058239}"/>
          </ac:spMkLst>
        </pc:spChg>
        <pc:spChg chg="mod ord">
          <ac:chgData name="Deimonmi Nongrum [Chillibreeze]" userId="e937f645-8c95-42a9-a298-dfd645e9a76a" providerId="ADAL" clId="{750E9A50-ACEA-48D3-B2C6-355D5EC56876}" dt="2024-06-13T10:49:59.621" v="2490" actId="167"/>
          <ac:spMkLst>
            <pc:docMk/>
            <pc:sldMk cId="0" sldId="276"/>
            <ac:spMk id="17" creationId="{7E513BD0-CEE9-AC09-F330-4CDBD388F480}"/>
          </ac:spMkLst>
        </pc:spChg>
        <pc:spChg chg="mod ord">
          <ac:chgData name="Deimonmi Nongrum [Chillibreeze]" userId="e937f645-8c95-42a9-a298-dfd645e9a76a" providerId="ADAL" clId="{750E9A50-ACEA-48D3-B2C6-355D5EC56876}" dt="2024-06-13T10:49:59.621" v="2490" actId="167"/>
          <ac:spMkLst>
            <pc:docMk/>
            <pc:sldMk cId="0" sldId="276"/>
            <ac:spMk id="18" creationId="{46C6BBF5-4F62-F610-2C89-ED593CEEFB17}"/>
          </ac:spMkLst>
        </pc:spChg>
        <pc:spChg chg="mod ord">
          <ac:chgData name="Deimonmi Nongrum [Chillibreeze]" userId="e937f645-8c95-42a9-a298-dfd645e9a76a" providerId="ADAL" clId="{750E9A50-ACEA-48D3-B2C6-355D5EC56876}" dt="2024-06-13T10:49:59.621" v="2490" actId="167"/>
          <ac:spMkLst>
            <pc:docMk/>
            <pc:sldMk cId="0" sldId="276"/>
            <ac:spMk id="19" creationId="{66E95100-1056-72A3-D6AC-8E6595AA1170}"/>
          </ac:spMkLst>
        </pc:spChg>
        <pc:spChg chg="mod ord">
          <ac:chgData name="Deimonmi Nongrum [Chillibreeze]" userId="e937f645-8c95-42a9-a298-dfd645e9a76a" providerId="ADAL" clId="{750E9A50-ACEA-48D3-B2C6-355D5EC56876}" dt="2024-06-13T10:49:59.621" v="2490" actId="167"/>
          <ac:spMkLst>
            <pc:docMk/>
            <pc:sldMk cId="0" sldId="276"/>
            <ac:spMk id="20" creationId="{569AB463-8A51-E760-DBF8-E72EB8FF90AF}"/>
          </ac:spMkLst>
        </pc:spChg>
        <pc:spChg chg="ord">
          <ac:chgData name="Deimonmi Nongrum [Chillibreeze]" userId="e937f645-8c95-42a9-a298-dfd645e9a76a" providerId="ADAL" clId="{750E9A50-ACEA-48D3-B2C6-355D5EC56876}" dt="2024-06-13T10:50:07.410" v="2500"/>
          <ac:spMkLst>
            <pc:docMk/>
            <pc:sldMk cId="0" sldId="276"/>
            <ac:spMk id="22" creationId="{FBAB4168-4C4B-6A45-D8B1-6296D8CC1A6D}"/>
          </ac:spMkLst>
        </pc:spChg>
        <pc:spChg chg="ord">
          <ac:chgData name="Deimonmi Nongrum [Chillibreeze]" userId="e937f645-8c95-42a9-a298-dfd645e9a76a" providerId="ADAL" clId="{750E9A50-ACEA-48D3-B2C6-355D5EC56876}" dt="2024-06-13T10:50:08.180" v="2501"/>
          <ac:spMkLst>
            <pc:docMk/>
            <pc:sldMk cId="0" sldId="276"/>
            <ac:spMk id="24" creationId="{68EF589D-2C6E-24C0-E153-D5A0FC28C9F6}"/>
          </ac:spMkLst>
        </pc:spChg>
        <pc:spChg chg="ord">
          <ac:chgData name="Deimonmi Nongrum [Chillibreeze]" userId="e937f645-8c95-42a9-a298-dfd645e9a76a" providerId="ADAL" clId="{750E9A50-ACEA-48D3-B2C6-355D5EC56876}" dt="2024-06-13T10:50:08.956" v="2502"/>
          <ac:spMkLst>
            <pc:docMk/>
            <pc:sldMk cId="0" sldId="276"/>
            <ac:spMk id="26" creationId="{1842809F-1918-3430-6A8A-78C0D5DCA954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76"/>
            <ac:spMk id="4409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76"/>
            <ac:spMk id="4411" creationId="{00000000-0000-0000-0000-000000000000}"/>
          </ac:spMkLst>
        </pc:spChg>
        <pc:picChg chg="mod ord">
          <ac:chgData name="Deimonmi Nongrum [Chillibreeze]" userId="e937f645-8c95-42a9-a298-dfd645e9a76a" providerId="ADAL" clId="{750E9A50-ACEA-48D3-B2C6-355D5EC56876}" dt="2024-06-13T10:49:59.621" v="2490" actId="167"/>
          <ac:picMkLst>
            <pc:docMk/>
            <pc:sldMk cId="0" sldId="276"/>
            <ac:picMk id="5" creationId="{44574B03-A534-5C57-4B3E-E3AF333DA310}"/>
          </ac:picMkLst>
        </pc:picChg>
        <pc:picChg chg="mod ord">
          <ac:chgData name="Deimonmi Nongrum [Chillibreeze]" userId="e937f645-8c95-42a9-a298-dfd645e9a76a" providerId="ADAL" clId="{750E9A50-ACEA-48D3-B2C6-355D5EC56876}" dt="2024-06-13T10:49:59.621" v="2490" actId="167"/>
          <ac:picMkLst>
            <pc:docMk/>
            <pc:sldMk cId="0" sldId="276"/>
            <ac:picMk id="21" creationId="{1AFFC0EE-416A-7B70-F81A-1CC83CC4CD0C}"/>
          </ac:picMkLst>
        </pc:picChg>
        <pc:picChg chg="mod ord">
          <ac:chgData name="Deimonmi Nongrum [Chillibreeze]" userId="e937f645-8c95-42a9-a298-dfd645e9a76a" providerId="ADAL" clId="{750E9A50-ACEA-48D3-B2C6-355D5EC56876}" dt="2024-06-13T10:49:59.621" v="2490" actId="167"/>
          <ac:picMkLst>
            <pc:docMk/>
            <pc:sldMk cId="0" sldId="276"/>
            <ac:picMk id="23" creationId="{EA6399DE-1250-AE98-5F15-621D8E70D7F8}"/>
          </ac:picMkLst>
        </pc:picChg>
        <pc:picChg chg="mod ord">
          <ac:chgData name="Deimonmi Nongrum [Chillibreeze]" userId="e937f645-8c95-42a9-a298-dfd645e9a76a" providerId="ADAL" clId="{750E9A50-ACEA-48D3-B2C6-355D5EC56876}" dt="2024-06-13T10:49:59.621" v="2490" actId="167"/>
          <ac:picMkLst>
            <pc:docMk/>
            <pc:sldMk cId="0" sldId="276"/>
            <ac:picMk id="25" creationId="{5214074B-7CB4-02EB-6026-BD61EB7283D9}"/>
          </ac:picMkLst>
        </pc:picChg>
        <pc:cxnChg chg="add mod ord">
          <ac:chgData name="Deimonmi Nongrum [Chillibreeze]" userId="e937f645-8c95-42a9-a298-dfd645e9a76a" providerId="ADAL" clId="{750E9A50-ACEA-48D3-B2C6-355D5EC56876}" dt="2024-06-13T10:49:59.621" v="2490" actId="167"/>
          <ac:cxnSpMkLst>
            <pc:docMk/>
            <pc:sldMk cId="0" sldId="276"/>
            <ac:cxnSpMk id="2" creationId="{BEF3F9F5-CF0B-F808-584D-753CB2365E87}"/>
          </ac:cxnSpMkLst>
        </pc:cxnChg>
        <pc:cxnChg chg="del">
          <ac:chgData name="Deimonmi Nongrum [Chillibreeze]" userId="e937f645-8c95-42a9-a298-dfd645e9a76a" providerId="ADAL" clId="{750E9A50-ACEA-48D3-B2C6-355D5EC56876}" dt="2024-06-13T03:51:21.777" v="571" actId="478"/>
          <ac:cxnSpMkLst>
            <pc:docMk/>
            <pc:sldMk cId="0" sldId="276"/>
            <ac:cxnSpMk id="6" creationId="{633B7389-C59B-A81D-B404-663B9A43AED0}"/>
          </ac:cxnSpMkLst>
        </pc:cxnChg>
      </pc:sldChg>
      <pc:sldChg chg="addSp delSp modSp mod modClrScheme chgLayout">
        <pc:chgData name="Deimonmi Nongrum [Chillibreeze]" userId="e937f645-8c95-42a9-a298-dfd645e9a76a" providerId="ADAL" clId="{750E9A50-ACEA-48D3-B2C6-355D5EC56876}" dt="2024-06-13T10:50:35.669" v="2511"/>
        <pc:sldMkLst>
          <pc:docMk/>
          <pc:sldMk cId="0" sldId="277"/>
        </pc:sldMkLst>
        <pc:spChg chg="add mod">
          <ac:chgData name="Deimonmi Nongrum [Chillibreeze]" userId="e937f645-8c95-42a9-a298-dfd645e9a76a" providerId="ADAL" clId="{750E9A50-ACEA-48D3-B2C6-355D5EC56876}" dt="2024-06-12T03:54:57.776" v="28"/>
          <ac:spMkLst>
            <pc:docMk/>
            <pc:sldMk cId="0" sldId="277"/>
            <ac:spMk id="2" creationId="{CCE04058-2B9A-0F9D-5CAB-46FF70828B34}"/>
          </ac:spMkLst>
        </pc:spChg>
        <pc:spChg chg="add mod">
          <ac:chgData name="Deimonmi Nongrum [Chillibreeze]" userId="e937f645-8c95-42a9-a298-dfd645e9a76a" providerId="ADAL" clId="{750E9A50-ACEA-48D3-B2C6-355D5EC56876}" dt="2024-06-13T03:55:02.105" v="634" actId="1076"/>
          <ac:spMkLst>
            <pc:docMk/>
            <pc:sldMk cId="0" sldId="277"/>
            <ac:spMk id="3" creationId="{A2B30213-84FE-64D3-B10D-901C20026478}"/>
          </ac:spMkLst>
        </pc:spChg>
        <pc:spChg chg="add mod ord">
          <ac:chgData name="Deimonmi Nongrum [Chillibreeze]" userId="e937f645-8c95-42a9-a298-dfd645e9a76a" providerId="ADAL" clId="{750E9A50-ACEA-48D3-B2C6-355D5EC56876}" dt="2024-06-13T10:50:34.112" v="2509"/>
          <ac:spMkLst>
            <pc:docMk/>
            <pc:sldMk cId="0" sldId="277"/>
            <ac:spMk id="4" creationId="{E96F019B-2409-7151-7D58-02BD7515B9CF}"/>
          </ac:spMkLst>
        </pc:spChg>
        <pc:spChg chg="mod ord">
          <ac:chgData name="Deimonmi Nongrum [Chillibreeze]" userId="e937f645-8c95-42a9-a298-dfd645e9a76a" providerId="ADAL" clId="{750E9A50-ACEA-48D3-B2C6-355D5EC56876}" dt="2024-06-13T10:50:20.130" v="2504" actId="167"/>
          <ac:spMkLst>
            <pc:docMk/>
            <pc:sldMk cId="0" sldId="277"/>
            <ac:spMk id="6" creationId="{B861A5BD-639E-228A-9CAE-04D32CE3BF00}"/>
          </ac:spMkLst>
        </pc:spChg>
        <pc:spChg chg="mod ord">
          <ac:chgData name="Deimonmi Nongrum [Chillibreeze]" userId="e937f645-8c95-42a9-a298-dfd645e9a76a" providerId="ADAL" clId="{750E9A50-ACEA-48D3-B2C6-355D5EC56876}" dt="2024-06-13T10:50:20.130" v="2504" actId="167"/>
          <ac:spMkLst>
            <pc:docMk/>
            <pc:sldMk cId="0" sldId="277"/>
            <ac:spMk id="7" creationId="{645DEE91-4816-EB1A-3362-2C90B6D970A8}"/>
          </ac:spMkLst>
        </pc:spChg>
        <pc:spChg chg="mod ord">
          <ac:chgData name="Deimonmi Nongrum [Chillibreeze]" userId="e937f645-8c95-42a9-a298-dfd645e9a76a" providerId="ADAL" clId="{750E9A50-ACEA-48D3-B2C6-355D5EC56876}" dt="2024-06-13T10:50:20.130" v="2504" actId="167"/>
          <ac:spMkLst>
            <pc:docMk/>
            <pc:sldMk cId="0" sldId="277"/>
            <ac:spMk id="8" creationId="{A760AA23-5E04-C20E-0A87-929B75FE7259}"/>
          </ac:spMkLst>
        </pc:spChg>
        <pc:spChg chg="mod ord">
          <ac:chgData name="Deimonmi Nongrum [Chillibreeze]" userId="e937f645-8c95-42a9-a298-dfd645e9a76a" providerId="ADAL" clId="{750E9A50-ACEA-48D3-B2C6-355D5EC56876}" dt="2024-06-13T10:50:20.130" v="2504" actId="167"/>
          <ac:spMkLst>
            <pc:docMk/>
            <pc:sldMk cId="0" sldId="277"/>
            <ac:spMk id="9" creationId="{6A9A108F-4667-DAD9-51E9-FE9CE62E1AE1}"/>
          </ac:spMkLst>
        </pc:spChg>
        <pc:spChg chg="mod ord">
          <ac:chgData name="Deimonmi Nongrum [Chillibreeze]" userId="e937f645-8c95-42a9-a298-dfd645e9a76a" providerId="ADAL" clId="{750E9A50-ACEA-48D3-B2C6-355D5EC56876}" dt="2024-06-13T10:50:20.130" v="2504" actId="167"/>
          <ac:spMkLst>
            <pc:docMk/>
            <pc:sldMk cId="0" sldId="277"/>
            <ac:spMk id="10" creationId="{6052D7E5-010B-DB2D-E00A-218E03BEB926}"/>
          </ac:spMkLst>
        </pc:spChg>
        <pc:spChg chg="mod ord">
          <ac:chgData name="Deimonmi Nongrum [Chillibreeze]" userId="e937f645-8c95-42a9-a298-dfd645e9a76a" providerId="ADAL" clId="{750E9A50-ACEA-48D3-B2C6-355D5EC56876}" dt="2024-06-13T10:50:20.130" v="2504" actId="167"/>
          <ac:spMkLst>
            <pc:docMk/>
            <pc:sldMk cId="0" sldId="277"/>
            <ac:spMk id="11" creationId="{354C5E8E-5072-66DA-0CAD-8A4D3343841A}"/>
          </ac:spMkLst>
        </pc:spChg>
        <pc:spChg chg="mod ord">
          <ac:chgData name="Deimonmi Nongrum [Chillibreeze]" userId="e937f645-8c95-42a9-a298-dfd645e9a76a" providerId="ADAL" clId="{750E9A50-ACEA-48D3-B2C6-355D5EC56876}" dt="2024-06-13T10:50:20.130" v="2504" actId="167"/>
          <ac:spMkLst>
            <pc:docMk/>
            <pc:sldMk cId="0" sldId="277"/>
            <ac:spMk id="12" creationId="{0C9CBEAD-E30A-29AD-393A-C834E00D97EA}"/>
          </ac:spMkLst>
        </pc:spChg>
        <pc:spChg chg="mod ord">
          <ac:chgData name="Deimonmi Nongrum [Chillibreeze]" userId="e937f645-8c95-42a9-a298-dfd645e9a76a" providerId="ADAL" clId="{750E9A50-ACEA-48D3-B2C6-355D5EC56876}" dt="2024-06-13T10:50:20.130" v="2504" actId="167"/>
          <ac:spMkLst>
            <pc:docMk/>
            <pc:sldMk cId="0" sldId="277"/>
            <ac:spMk id="13" creationId="{7638B66D-A950-9427-28DD-F24B4BE0746D}"/>
          </ac:spMkLst>
        </pc:spChg>
        <pc:spChg chg="ord">
          <ac:chgData name="Deimonmi Nongrum [Chillibreeze]" userId="e937f645-8c95-42a9-a298-dfd645e9a76a" providerId="ADAL" clId="{750E9A50-ACEA-48D3-B2C6-355D5EC56876}" dt="2024-06-13T10:50:34.934" v="2510"/>
          <ac:spMkLst>
            <pc:docMk/>
            <pc:sldMk cId="0" sldId="277"/>
            <ac:spMk id="14" creationId="{781BF63E-CF33-079E-8E54-D4F660A1EEC9}"/>
          </ac:spMkLst>
        </pc:spChg>
        <pc:spChg chg="ord">
          <ac:chgData name="Deimonmi Nongrum [Chillibreeze]" userId="e937f645-8c95-42a9-a298-dfd645e9a76a" providerId="ADAL" clId="{750E9A50-ACEA-48D3-B2C6-355D5EC56876}" dt="2024-06-13T10:50:35.669" v="2511"/>
          <ac:spMkLst>
            <pc:docMk/>
            <pc:sldMk cId="0" sldId="277"/>
            <ac:spMk id="16" creationId="{05826B5A-A98F-BD71-67E6-D5B27276E087}"/>
          </ac:spMkLst>
        </pc:spChg>
        <pc:spChg chg="ord">
          <ac:chgData name="Deimonmi Nongrum [Chillibreeze]" userId="e937f645-8c95-42a9-a298-dfd645e9a76a" providerId="ADAL" clId="{750E9A50-ACEA-48D3-B2C6-355D5EC56876}" dt="2024-06-13T10:50:31.654" v="2507" actId="166"/>
          <ac:spMkLst>
            <pc:docMk/>
            <pc:sldMk cId="0" sldId="277"/>
            <ac:spMk id="17" creationId="{950068D5-9DB6-4F21-3024-3BF2D451E2B7}"/>
          </ac:spMkLst>
        </pc:spChg>
        <pc:spChg chg="ord">
          <ac:chgData name="Deimonmi Nongrum [Chillibreeze]" userId="e937f645-8c95-42a9-a298-dfd645e9a76a" providerId="ADAL" clId="{750E9A50-ACEA-48D3-B2C6-355D5EC56876}" dt="2024-06-13T10:50:33.061" v="2508"/>
          <ac:spMkLst>
            <pc:docMk/>
            <pc:sldMk cId="0" sldId="277"/>
            <ac:spMk id="24" creationId="{0BD52C36-FF14-F9B2-B2CC-D3D0981D9163}"/>
          </ac:spMkLst>
        </pc:spChg>
        <pc:spChg chg="del">
          <ac:chgData name="Deimonmi Nongrum [Chillibreeze]" userId="e937f645-8c95-42a9-a298-dfd645e9a76a" providerId="ADAL" clId="{750E9A50-ACEA-48D3-B2C6-355D5EC56876}" dt="2024-06-13T03:51:29.503" v="573" actId="478"/>
          <ac:spMkLst>
            <pc:docMk/>
            <pc:sldMk cId="0" sldId="277"/>
            <ac:spMk id="25" creationId="{09928E93-73AE-39AA-A508-3C8E067E1876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77"/>
            <ac:spMk id="4431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77"/>
            <ac:spMk id="4441" creationId="{00000000-0000-0000-0000-000000000000}"/>
          </ac:spMkLst>
        </pc:spChg>
        <pc:picChg chg="mod ord">
          <ac:chgData name="Deimonmi Nongrum [Chillibreeze]" userId="e937f645-8c95-42a9-a298-dfd645e9a76a" providerId="ADAL" clId="{750E9A50-ACEA-48D3-B2C6-355D5EC56876}" dt="2024-06-13T10:50:20.130" v="2504" actId="167"/>
          <ac:picMkLst>
            <pc:docMk/>
            <pc:sldMk cId="0" sldId="277"/>
            <ac:picMk id="5" creationId="{CC02B274-611F-8A4D-D316-DFCFAC62EA22}"/>
          </ac:picMkLst>
        </pc:picChg>
        <pc:picChg chg="mod ord">
          <ac:chgData name="Deimonmi Nongrum [Chillibreeze]" userId="e937f645-8c95-42a9-a298-dfd645e9a76a" providerId="ADAL" clId="{750E9A50-ACEA-48D3-B2C6-355D5EC56876}" dt="2024-06-13T10:50:20.130" v="2504" actId="167"/>
          <ac:picMkLst>
            <pc:docMk/>
            <pc:sldMk cId="0" sldId="277"/>
            <ac:picMk id="15" creationId="{6DA947FB-5A2E-313F-62E9-415A3E7C6472}"/>
          </ac:picMkLst>
        </pc:picChg>
        <pc:picChg chg="mod ord">
          <ac:chgData name="Deimonmi Nongrum [Chillibreeze]" userId="e937f645-8c95-42a9-a298-dfd645e9a76a" providerId="ADAL" clId="{750E9A50-ACEA-48D3-B2C6-355D5EC56876}" dt="2024-06-13T10:50:20.130" v="2504" actId="167"/>
          <ac:picMkLst>
            <pc:docMk/>
            <pc:sldMk cId="0" sldId="277"/>
            <ac:picMk id="27" creationId="{625BBC65-285D-9F39-B16E-4C15E812E653}"/>
          </ac:picMkLst>
        </pc:picChg>
        <pc:cxnChg chg="add mod">
          <ac:chgData name="Deimonmi Nongrum [Chillibreeze]" userId="e937f645-8c95-42a9-a298-dfd645e9a76a" providerId="ADAL" clId="{750E9A50-ACEA-48D3-B2C6-355D5EC56876}" dt="2024-06-13T03:55:01.433" v="632"/>
          <ac:cxnSpMkLst>
            <pc:docMk/>
            <pc:sldMk cId="0" sldId="277"/>
            <ac:cxnSpMk id="2" creationId="{CFF74F52-5975-F5A1-B586-5467B33193D9}"/>
          </ac:cxnSpMkLst>
        </pc:cxnChg>
        <pc:cxnChg chg="add del mod ord">
          <ac:chgData name="Deimonmi Nongrum [Chillibreeze]" userId="e937f645-8c95-42a9-a298-dfd645e9a76a" providerId="ADAL" clId="{750E9A50-ACEA-48D3-B2C6-355D5EC56876}" dt="2024-06-13T10:50:20.130" v="2504" actId="167"/>
          <ac:cxnSpMkLst>
            <pc:docMk/>
            <pc:sldMk cId="0" sldId="277"/>
            <ac:cxnSpMk id="23" creationId="{5C440E04-EE1D-6692-7146-A09574CE8A22}"/>
          </ac:cxnSpMkLst>
        </pc:cxnChg>
      </pc:sldChg>
      <pc:sldChg chg="addSp delSp modSp mod modClrScheme chgLayout">
        <pc:chgData name="Deimonmi Nongrum [Chillibreeze]" userId="e937f645-8c95-42a9-a298-dfd645e9a76a" providerId="ADAL" clId="{750E9A50-ACEA-48D3-B2C6-355D5EC56876}" dt="2024-06-13T10:51:02.869" v="2527"/>
        <pc:sldMkLst>
          <pc:docMk/>
          <pc:sldMk cId="0" sldId="278"/>
        </pc:sldMkLst>
        <pc:spChg chg="add mod">
          <ac:chgData name="Deimonmi Nongrum [Chillibreeze]" userId="e937f645-8c95-42a9-a298-dfd645e9a76a" providerId="ADAL" clId="{750E9A50-ACEA-48D3-B2C6-355D5EC56876}" dt="2024-06-12T03:54:58.780" v="29"/>
          <ac:spMkLst>
            <pc:docMk/>
            <pc:sldMk cId="0" sldId="278"/>
            <ac:spMk id="2" creationId="{E4F1F96F-E7A2-6813-77E8-BFC511AEFA78}"/>
          </ac:spMkLst>
        </pc:spChg>
        <pc:spChg chg="add mod">
          <ac:chgData name="Deimonmi Nongrum [Chillibreeze]" userId="e937f645-8c95-42a9-a298-dfd645e9a76a" providerId="ADAL" clId="{750E9A50-ACEA-48D3-B2C6-355D5EC56876}" dt="2024-06-13T03:55:00.806" v="628" actId="1076"/>
          <ac:spMkLst>
            <pc:docMk/>
            <pc:sldMk cId="0" sldId="278"/>
            <ac:spMk id="3" creationId="{31C09480-0DEB-F784-91C5-A5DE4D3005DB}"/>
          </ac:spMkLst>
        </pc:spChg>
        <pc:spChg chg="ord">
          <ac:chgData name="Deimonmi Nongrum [Chillibreeze]" userId="e937f645-8c95-42a9-a298-dfd645e9a76a" providerId="ADAL" clId="{750E9A50-ACEA-48D3-B2C6-355D5EC56876}" dt="2024-06-13T10:50:54.122" v="2520" actId="166"/>
          <ac:spMkLst>
            <pc:docMk/>
            <pc:sldMk cId="0" sldId="278"/>
            <ac:spMk id="4" creationId="{2FE3D0E1-31F6-31BC-D206-6657EEECF963}"/>
          </ac:spMkLst>
        </pc:spChg>
        <pc:spChg chg="mod ord">
          <ac:chgData name="Deimonmi Nongrum [Chillibreeze]" userId="e937f645-8c95-42a9-a298-dfd645e9a76a" providerId="ADAL" clId="{750E9A50-ACEA-48D3-B2C6-355D5EC56876}" dt="2024-06-13T10:50:47.818" v="2516" actId="167"/>
          <ac:spMkLst>
            <pc:docMk/>
            <pc:sldMk cId="0" sldId="278"/>
            <ac:spMk id="8" creationId="{90AEDA61-C20E-D49E-B0F6-6BB7317A6B36}"/>
          </ac:spMkLst>
        </pc:spChg>
        <pc:spChg chg="mod ord">
          <ac:chgData name="Deimonmi Nongrum [Chillibreeze]" userId="e937f645-8c95-42a9-a298-dfd645e9a76a" providerId="ADAL" clId="{750E9A50-ACEA-48D3-B2C6-355D5EC56876}" dt="2024-06-13T10:50:47.818" v="2516" actId="167"/>
          <ac:spMkLst>
            <pc:docMk/>
            <pc:sldMk cId="0" sldId="278"/>
            <ac:spMk id="9" creationId="{C906F526-8D3A-3240-704E-1DFA7EB79818}"/>
          </ac:spMkLst>
        </pc:spChg>
        <pc:spChg chg="mod ord">
          <ac:chgData name="Deimonmi Nongrum [Chillibreeze]" userId="e937f645-8c95-42a9-a298-dfd645e9a76a" providerId="ADAL" clId="{750E9A50-ACEA-48D3-B2C6-355D5EC56876}" dt="2024-06-13T10:50:56.869" v="2522"/>
          <ac:spMkLst>
            <pc:docMk/>
            <pc:sldMk cId="0" sldId="278"/>
            <ac:spMk id="11" creationId="{699F8EB4-35A9-53E1-9EA0-5728EECA4451}"/>
          </ac:spMkLst>
        </pc:spChg>
        <pc:spChg chg="add del ord">
          <ac:chgData name="Deimonmi Nongrum [Chillibreeze]" userId="e937f645-8c95-42a9-a298-dfd645e9a76a" providerId="ADAL" clId="{750E9A50-ACEA-48D3-B2C6-355D5EC56876}" dt="2024-06-13T10:50:59.764" v="2524"/>
          <ac:spMkLst>
            <pc:docMk/>
            <pc:sldMk cId="0" sldId="278"/>
            <ac:spMk id="12" creationId="{C3A9B2B6-A300-AC29-8E8F-B880372B04AB}"/>
          </ac:spMkLst>
        </pc:spChg>
        <pc:spChg chg="mod ord">
          <ac:chgData name="Deimonmi Nongrum [Chillibreeze]" userId="e937f645-8c95-42a9-a298-dfd645e9a76a" providerId="ADAL" clId="{750E9A50-ACEA-48D3-B2C6-355D5EC56876}" dt="2024-06-13T10:50:58.005" v="2523"/>
          <ac:spMkLst>
            <pc:docMk/>
            <pc:sldMk cId="0" sldId="278"/>
            <ac:spMk id="13" creationId="{A62ED95C-332F-765C-2C0D-01C769D69919}"/>
          </ac:spMkLst>
        </pc:spChg>
        <pc:spChg chg="mod ord">
          <ac:chgData name="Deimonmi Nongrum [Chillibreeze]" userId="e937f645-8c95-42a9-a298-dfd645e9a76a" providerId="ADAL" clId="{750E9A50-ACEA-48D3-B2C6-355D5EC56876}" dt="2024-06-13T10:50:47.818" v="2516" actId="167"/>
          <ac:spMkLst>
            <pc:docMk/>
            <pc:sldMk cId="0" sldId="278"/>
            <ac:spMk id="16" creationId="{522BDD3F-55CB-DDDE-4C23-D127BA9B09AE}"/>
          </ac:spMkLst>
        </pc:spChg>
        <pc:spChg chg="mod ord">
          <ac:chgData name="Deimonmi Nongrum [Chillibreeze]" userId="e937f645-8c95-42a9-a298-dfd645e9a76a" providerId="ADAL" clId="{750E9A50-ACEA-48D3-B2C6-355D5EC56876}" dt="2024-06-13T10:50:47.818" v="2516" actId="167"/>
          <ac:spMkLst>
            <pc:docMk/>
            <pc:sldMk cId="0" sldId="278"/>
            <ac:spMk id="17" creationId="{F3F07420-176D-BCFF-025E-7DA74C7BF648}"/>
          </ac:spMkLst>
        </pc:spChg>
        <pc:spChg chg="mod ord">
          <ac:chgData name="Deimonmi Nongrum [Chillibreeze]" userId="e937f645-8c95-42a9-a298-dfd645e9a76a" providerId="ADAL" clId="{750E9A50-ACEA-48D3-B2C6-355D5EC56876}" dt="2024-06-13T10:50:47.818" v="2516" actId="167"/>
          <ac:spMkLst>
            <pc:docMk/>
            <pc:sldMk cId="0" sldId="278"/>
            <ac:spMk id="18" creationId="{09403BFB-C617-0A1A-B8AF-0B5E6C94470A}"/>
          </ac:spMkLst>
        </pc:spChg>
        <pc:spChg chg="mod ord">
          <ac:chgData name="Deimonmi Nongrum [Chillibreeze]" userId="e937f645-8c95-42a9-a298-dfd645e9a76a" providerId="ADAL" clId="{750E9A50-ACEA-48D3-B2C6-355D5EC56876}" dt="2024-06-13T10:50:47.818" v="2516" actId="167"/>
          <ac:spMkLst>
            <pc:docMk/>
            <pc:sldMk cId="0" sldId="278"/>
            <ac:spMk id="19" creationId="{58FD851B-A115-3D5F-A8C6-9BE6E800D324}"/>
          </ac:spMkLst>
        </pc:spChg>
        <pc:spChg chg="mod ord">
          <ac:chgData name="Deimonmi Nongrum [Chillibreeze]" userId="e937f645-8c95-42a9-a298-dfd645e9a76a" providerId="ADAL" clId="{750E9A50-ACEA-48D3-B2C6-355D5EC56876}" dt="2024-06-13T10:50:47.818" v="2516" actId="167"/>
          <ac:spMkLst>
            <pc:docMk/>
            <pc:sldMk cId="0" sldId="278"/>
            <ac:spMk id="20" creationId="{9A7A16D4-EAB5-89A0-7C5B-F253C2764867}"/>
          </ac:spMkLst>
        </pc:spChg>
        <pc:spChg chg="mod ord">
          <ac:chgData name="Deimonmi Nongrum [Chillibreeze]" userId="e937f645-8c95-42a9-a298-dfd645e9a76a" providerId="ADAL" clId="{750E9A50-ACEA-48D3-B2C6-355D5EC56876}" dt="2024-06-13T10:50:47.818" v="2516" actId="167"/>
          <ac:spMkLst>
            <pc:docMk/>
            <pc:sldMk cId="0" sldId="278"/>
            <ac:spMk id="21" creationId="{D9AF2E45-EC27-2EBD-6C6A-AFA3D082D244}"/>
          </ac:spMkLst>
        </pc:spChg>
        <pc:spChg chg="mod ord">
          <ac:chgData name="Deimonmi Nongrum [Chillibreeze]" userId="e937f645-8c95-42a9-a298-dfd645e9a76a" providerId="ADAL" clId="{750E9A50-ACEA-48D3-B2C6-355D5EC56876}" dt="2024-06-13T10:50:47.818" v="2516" actId="167"/>
          <ac:spMkLst>
            <pc:docMk/>
            <pc:sldMk cId="0" sldId="278"/>
            <ac:spMk id="22" creationId="{5EDE2539-D904-E6E2-5CA9-4CC581509D2B}"/>
          </ac:spMkLst>
        </pc:spChg>
        <pc:spChg chg="mod ord">
          <ac:chgData name="Deimonmi Nongrum [Chillibreeze]" userId="e937f645-8c95-42a9-a298-dfd645e9a76a" providerId="ADAL" clId="{750E9A50-ACEA-48D3-B2C6-355D5EC56876}" dt="2024-06-13T10:50:47.818" v="2516" actId="167"/>
          <ac:spMkLst>
            <pc:docMk/>
            <pc:sldMk cId="0" sldId="278"/>
            <ac:spMk id="23" creationId="{FFD5B6AD-F391-89F3-D557-204D1BC2FC9F}"/>
          </ac:spMkLst>
        </pc:spChg>
        <pc:spChg chg="mod ord">
          <ac:chgData name="Deimonmi Nongrum [Chillibreeze]" userId="e937f645-8c95-42a9-a298-dfd645e9a76a" providerId="ADAL" clId="{750E9A50-ACEA-48D3-B2C6-355D5EC56876}" dt="2024-06-13T10:50:47.818" v="2516" actId="167"/>
          <ac:spMkLst>
            <pc:docMk/>
            <pc:sldMk cId="0" sldId="278"/>
            <ac:spMk id="24" creationId="{BD49E534-9055-9A49-235A-59F94C777584}"/>
          </ac:spMkLst>
        </pc:spChg>
        <pc:spChg chg="ord">
          <ac:chgData name="Deimonmi Nongrum [Chillibreeze]" userId="e937f645-8c95-42a9-a298-dfd645e9a76a" providerId="ADAL" clId="{750E9A50-ACEA-48D3-B2C6-355D5EC56876}" dt="2024-06-13T10:51:01.078" v="2525"/>
          <ac:spMkLst>
            <pc:docMk/>
            <pc:sldMk cId="0" sldId="278"/>
            <ac:spMk id="26" creationId="{C3374202-9B4F-CD99-DD58-4EA62F0417C2}"/>
          </ac:spMkLst>
        </pc:spChg>
        <pc:spChg chg="ord">
          <ac:chgData name="Deimonmi Nongrum [Chillibreeze]" userId="e937f645-8c95-42a9-a298-dfd645e9a76a" providerId="ADAL" clId="{750E9A50-ACEA-48D3-B2C6-355D5EC56876}" dt="2024-06-13T10:51:01.912" v="2526"/>
          <ac:spMkLst>
            <pc:docMk/>
            <pc:sldMk cId="0" sldId="278"/>
            <ac:spMk id="28" creationId="{BB489264-1C98-8803-7188-C4BA92BCCC8E}"/>
          </ac:spMkLst>
        </pc:spChg>
        <pc:spChg chg="ord">
          <ac:chgData name="Deimonmi Nongrum [Chillibreeze]" userId="e937f645-8c95-42a9-a298-dfd645e9a76a" providerId="ADAL" clId="{750E9A50-ACEA-48D3-B2C6-355D5EC56876}" dt="2024-06-13T10:51:02.869" v="2527"/>
          <ac:spMkLst>
            <pc:docMk/>
            <pc:sldMk cId="0" sldId="278"/>
            <ac:spMk id="30" creationId="{F87BE75B-FB1B-0C0D-D808-026115DE94B5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78"/>
            <ac:spMk id="4449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78"/>
            <ac:spMk id="4451" creationId="{00000000-0000-0000-0000-000000000000}"/>
          </ac:spMkLst>
        </pc:spChg>
        <pc:picChg chg="mod ord">
          <ac:chgData name="Deimonmi Nongrum [Chillibreeze]" userId="e937f645-8c95-42a9-a298-dfd645e9a76a" providerId="ADAL" clId="{750E9A50-ACEA-48D3-B2C6-355D5EC56876}" dt="2024-06-13T10:50:47.818" v="2516" actId="167"/>
          <ac:picMkLst>
            <pc:docMk/>
            <pc:sldMk cId="0" sldId="278"/>
            <ac:picMk id="7" creationId="{5AE0E102-371E-E9AB-99D8-3DB4AF44BE0D}"/>
          </ac:picMkLst>
        </pc:picChg>
        <pc:picChg chg="mod ord">
          <ac:chgData name="Deimonmi Nongrum [Chillibreeze]" userId="e937f645-8c95-42a9-a298-dfd645e9a76a" providerId="ADAL" clId="{750E9A50-ACEA-48D3-B2C6-355D5EC56876}" dt="2024-06-13T10:50:47.818" v="2516" actId="167"/>
          <ac:picMkLst>
            <pc:docMk/>
            <pc:sldMk cId="0" sldId="278"/>
            <ac:picMk id="25" creationId="{8F170A2B-CE6B-1642-1E61-D9E8A6B79C29}"/>
          </ac:picMkLst>
        </pc:picChg>
        <pc:picChg chg="mod ord">
          <ac:chgData name="Deimonmi Nongrum [Chillibreeze]" userId="e937f645-8c95-42a9-a298-dfd645e9a76a" providerId="ADAL" clId="{750E9A50-ACEA-48D3-B2C6-355D5EC56876}" dt="2024-06-13T10:50:47.818" v="2516" actId="167"/>
          <ac:picMkLst>
            <pc:docMk/>
            <pc:sldMk cId="0" sldId="278"/>
            <ac:picMk id="27" creationId="{17ECFC45-90A4-6916-96FD-D3A10EB27C42}"/>
          </ac:picMkLst>
        </pc:picChg>
        <pc:picChg chg="mod ord">
          <ac:chgData name="Deimonmi Nongrum [Chillibreeze]" userId="e937f645-8c95-42a9-a298-dfd645e9a76a" providerId="ADAL" clId="{750E9A50-ACEA-48D3-B2C6-355D5EC56876}" dt="2024-06-13T10:50:47.818" v="2516" actId="167"/>
          <ac:picMkLst>
            <pc:docMk/>
            <pc:sldMk cId="0" sldId="278"/>
            <ac:picMk id="29" creationId="{139CC9BB-0693-116F-66FC-394AE6ABCD37}"/>
          </ac:picMkLst>
        </pc:picChg>
        <pc:cxnChg chg="add mod">
          <ac:chgData name="Deimonmi Nongrum [Chillibreeze]" userId="e937f645-8c95-42a9-a298-dfd645e9a76a" providerId="ADAL" clId="{750E9A50-ACEA-48D3-B2C6-355D5EC56876}" dt="2024-06-13T03:54:58.965" v="625"/>
          <ac:cxnSpMkLst>
            <pc:docMk/>
            <pc:sldMk cId="0" sldId="278"/>
            <ac:cxnSpMk id="2" creationId="{E7C3207A-FC30-7167-6678-8A056DECA142}"/>
          </ac:cxnSpMkLst>
        </pc:cxnChg>
        <pc:cxnChg chg="add del mod ord">
          <ac:chgData name="Deimonmi Nongrum [Chillibreeze]" userId="e937f645-8c95-42a9-a298-dfd645e9a76a" providerId="ADAL" clId="{750E9A50-ACEA-48D3-B2C6-355D5EC56876}" dt="2024-06-13T10:50:47.818" v="2516" actId="167"/>
          <ac:cxnSpMkLst>
            <pc:docMk/>
            <pc:sldMk cId="0" sldId="278"/>
            <ac:cxnSpMk id="10" creationId="{748977C0-5D11-851A-2289-29897ED8F395}"/>
          </ac:cxnSpMkLst>
        </pc:cxnChg>
      </pc:sldChg>
      <pc:sldChg chg="addSp delSp modSp mod modClrScheme chgLayout">
        <pc:chgData name="Deimonmi Nongrum [Chillibreeze]" userId="e937f645-8c95-42a9-a298-dfd645e9a76a" providerId="ADAL" clId="{750E9A50-ACEA-48D3-B2C6-355D5EC56876}" dt="2024-06-13T10:51:41.285" v="2544"/>
        <pc:sldMkLst>
          <pc:docMk/>
          <pc:sldMk cId="0" sldId="279"/>
        </pc:sldMkLst>
        <pc:spChg chg="add mod">
          <ac:chgData name="Deimonmi Nongrum [Chillibreeze]" userId="e937f645-8c95-42a9-a298-dfd645e9a76a" providerId="ADAL" clId="{750E9A50-ACEA-48D3-B2C6-355D5EC56876}" dt="2024-06-12T03:54:59.677" v="30"/>
          <ac:spMkLst>
            <pc:docMk/>
            <pc:sldMk cId="0" sldId="279"/>
            <ac:spMk id="2" creationId="{1FE2944C-AFA8-EFB4-914A-E7022225D27B}"/>
          </ac:spMkLst>
        </pc:spChg>
        <pc:spChg chg="add mod">
          <ac:chgData name="Deimonmi Nongrum [Chillibreeze]" userId="e937f645-8c95-42a9-a298-dfd645e9a76a" providerId="ADAL" clId="{750E9A50-ACEA-48D3-B2C6-355D5EC56876}" dt="2024-06-13T03:54:54.555" v="620" actId="1076"/>
          <ac:spMkLst>
            <pc:docMk/>
            <pc:sldMk cId="0" sldId="279"/>
            <ac:spMk id="3" creationId="{22025F2E-71D3-A980-EDC6-2A05AAC01BCA}"/>
          </ac:spMkLst>
        </pc:spChg>
        <pc:spChg chg="ord">
          <ac:chgData name="Deimonmi Nongrum [Chillibreeze]" userId="e937f645-8c95-42a9-a298-dfd645e9a76a" providerId="ADAL" clId="{750E9A50-ACEA-48D3-B2C6-355D5EC56876}" dt="2024-06-13T10:51:33.273" v="2538"/>
          <ac:spMkLst>
            <pc:docMk/>
            <pc:sldMk cId="0" sldId="279"/>
            <ac:spMk id="4" creationId="{6F6A15FE-3F16-1D22-FA13-DBCAF1364F21}"/>
          </ac:spMkLst>
        </pc:spChg>
        <pc:spChg chg="mod ord">
          <ac:chgData name="Deimonmi Nongrum [Chillibreeze]" userId="e937f645-8c95-42a9-a298-dfd645e9a76a" providerId="ADAL" clId="{750E9A50-ACEA-48D3-B2C6-355D5EC56876}" dt="2024-06-13T10:51:29.666" v="2532" actId="167"/>
          <ac:spMkLst>
            <pc:docMk/>
            <pc:sldMk cId="0" sldId="279"/>
            <ac:spMk id="5" creationId="{498E8562-8991-68AB-3867-B85FEECDE04E}"/>
          </ac:spMkLst>
        </pc:spChg>
        <pc:spChg chg="mod ord">
          <ac:chgData name="Deimonmi Nongrum [Chillibreeze]" userId="e937f645-8c95-42a9-a298-dfd645e9a76a" providerId="ADAL" clId="{750E9A50-ACEA-48D3-B2C6-355D5EC56876}" dt="2024-06-13T10:51:29.666" v="2532" actId="167"/>
          <ac:spMkLst>
            <pc:docMk/>
            <pc:sldMk cId="0" sldId="279"/>
            <ac:spMk id="6" creationId="{C31AFF92-9183-5120-8A06-D2F5DD0A9970}"/>
          </ac:spMkLst>
        </pc:spChg>
        <pc:spChg chg="mod ord">
          <ac:chgData name="Deimonmi Nongrum [Chillibreeze]" userId="e937f645-8c95-42a9-a298-dfd645e9a76a" providerId="ADAL" clId="{750E9A50-ACEA-48D3-B2C6-355D5EC56876}" dt="2024-06-13T10:51:29.666" v="2532" actId="167"/>
          <ac:spMkLst>
            <pc:docMk/>
            <pc:sldMk cId="0" sldId="279"/>
            <ac:spMk id="7" creationId="{E543F595-4293-E243-C8B8-8CDFDC7A622C}"/>
          </ac:spMkLst>
        </pc:spChg>
        <pc:spChg chg="mod ord">
          <ac:chgData name="Deimonmi Nongrum [Chillibreeze]" userId="e937f645-8c95-42a9-a298-dfd645e9a76a" providerId="ADAL" clId="{750E9A50-ACEA-48D3-B2C6-355D5EC56876}" dt="2024-06-13T10:51:29.666" v="2532" actId="167"/>
          <ac:spMkLst>
            <pc:docMk/>
            <pc:sldMk cId="0" sldId="279"/>
            <ac:spMk id="8" creationId="{75DF8216-6BAB-084E-19B9-31FBFBC324C3}"/>
          </ac:spMkLst>
        </pc:spChg>
        <pc:spChg chg="mod ord">
          <ac:chgData name="Deimonmi Nongrum [Chillibreeze]" userId="e937f645-8c95-42a9-a298-dfd645e9a76a" providerId="ADAL" clId="{750E9A50-ACEA-48D3-B2C6-355D5EC56876}" dt="2024-06-13T10:51:29.666" v="2532" actId="167"/>
          <ac:spMkLst>
            <pc:docMk/>
            <pc:sldMk cId="0" sldId="279"/>
            <ac:spMk id="9" creationId="{DCA408E6-5390-9994-4219-DDF8DAE4A691}"/>
          </ac:spMkLst>
        </pc:spChg>
        <pc:spChg chg="mod ord">
          <ac:chgData name="Deimonmi Nongrum [Chillibreeze]" userId="e937f645-8c95-42a9-a298-dfd645e9a76a" providerId="ADAL" clId="{750E9A50-ACEA-48D3-B2C6-355D5EC56876}" dt="2024-06-13T10:51:29.666" v="2532" actId="167"/>
          <ac:spMkLst>
            <pc:docMk/>
            <pc:sldMk cId="0" sldId="279"/>
            <ac:spMk id="10" creationId="{35AF3AE9-FCCB-DE2A-2B14-B32640110957}"/>
          </ac:spMkLst>
        </pc:spChg>
        <pc:spChg chg="ord">
          <ac:chgData name="Deimonmi Nongrum [Chillibreeze]" userId="e937f645-8c95-42a9-a298-dfd645e9a76a" providerId="ADAL" clId="{750E9A50-ACEA-48D3-B2C6-355D5EC56876}" dt="2024-06-13T10:51:37.238" v="2542"/>
          <ac:spMkLst>
            <pc:docMk/>
            <pc:sldMk cId="0" sldId="279"/>
            <ac:spMk id="11" creationId="{5F30AD36-39A6-7CA3-6CCA-36B1D15C3F5C}"/>
          </ac:spMkLst>
        </pc:spChg>
        <pc:spChg chg="ord">
          <ac:chgData name="Deimonmi Nongrum [Chillibreeze]" userId="e937f645-8c95-42a9-a298-dfd645e9a76a" providerId="ADAL" clId="{750E9A50-ACEA-48D3-B2C6-355D5EC56876}" dt="2024-06-13T10:51:41.285" v="2544"/>
          <ac:spMkLst>
            <pc:docMk/>
            <pc:sldMk cId="0" sldId="279"/>
            <ac:spMk id="13" creationId="{F2923114-4D1A-641E-BBEE-E21704252055}"/>
          </ac:spMkLst>
        </pc:spChg>
        <pc:spChg chg="mod ord">
          <ac:chgData name="Deimonmi Nongrum [Chillibreeze]" userId="e937f645-8c95-42a9-a298-dfd645e9a76a" providerId="ADAL" clId="{750E9A50-ACEA-48D3-B2C6-355D5EC56876}" dt="2024-06-13T10:51:29.666" v="2532" actId="167"/>
          <ac:spMkLst>
            <pc:docMk/>
            <pc:sldMk cId="0" sldId="279"/>
            <ac:spMk id="16" creationId="{F65C7752-18D3-A4DA-FFF7-EE036B7488F6}"/>
          </ac:spMkLst>
        </pc:spChg>
        <pc:spChg chg="mod ord">
          <ac:chgData name="Deimonmi Nongrum [Chillibreeze]" userId="e937f645-8c95-42a9-a298-dfd645e9a76a" providerId="ADAL" clId="{750E9A50-ACEA-48D3-B2C6-355D5EC56876}" dt="2024-06-13T10:51:29.666" v="2532" actId="167"/>
          <ac:spMkLst>
            <pc:docMk/>
            <pc:sldMk cId="0" sldId="279"/>
            <ac:spMk id="17" creationId="{7752F4CF-27B6-E289-EA1E-1C973954187D}"/>
          </ac:spMkLst>
        </pc:spChg>
        <pc:spChg chg="mod ord">
          <ac:chgData name="Deimonmi Nongrum [Chillibreeze]" userId="e937f645-8c95-42a9-a298-dfd645e9a76a" providerId="ADAL" clId="{750E9A50-ACEA-48D3-B2C6-355D5EC56876}" dt="2024-06-13T10:51:34.312" v="2539"/>
          <ac:spMkLst>
            <pc:docMk/>
            <pc:sldMk cId="0" sldId="279"/>
            <ac:spMk id="19" creationId="{BB460927-46F0-A332-09DE-C40E6F5463DA}"/>
          </ac:spMkLst>
        </pc:spChg>
        <pc:spChg chg="add del ord">
          <ac:chgData name="Deimonmi Nongrum [Chillibreeze]" userId="e937f645-8c95-42a9-a298-dfd645e9a76a" providerId="ADAL" clId="{750E9A50-ACEA-48D3-B2C6-355D5EC56876}" dt="2024-06-13T10:51:36.450" v="2541"/>
          <ac:spMkLst>
            <pc:docMk/>
            <pc:sldMk cId="0" sldId="279"/>
            <ac:spMk id="20" creationId="{E917C5E0-FA04-EDB9-D376-81E57F1E6F4F}"/>
          </ac:spMkLst>
        </pc:spChg>
        <pc:spChg chg="mod ord">
          <ac:chgData name="Deimonmi Nongrum [Chillibreeze]" userId="e937f645-8c95-42a9-a298-dfd645e9a76a" providerId="ADAL" clId="{750E9A50-ACEA-48D3-B2C6-355D5EC56876}" dt="2024-06-13T10:51:35.408" v="2540"/>
          <ac:spMkLst>
            <pc:docMk/>
            <pc:sldMk cId="0" sldId="279"/>
            <ac:spMk id="21" creationId="{46FA337C-8F42-0F6E-4BC6-1659607EE928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79"/>
            <ac:spMk id="4471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79"/>
            <ac:spMk id="4481" creationId="{00000000-0000-0000-0000-000000000000}"/>
          </ac:spMkLst>
        </pc:spChg>
        <pc:picChg chg="mod ord">
          <ac:chgData name="Deimonmi Nongrum [Chillibreeze]" userId="e937f645-8c95-42a9-a298-dfd645e9a76a" providerId="ADAL" clId="{750E9A50-ACEA-48D3-B2C6-355D5EC56876}" dt="2024-06-13T10:51:29.666" v="2532" actId="167"/>
          <ac:picMkLst>
            <pc:docMk/>
            <pc:sldMk cId="0" sldId="279"/>
            <ac:picMk id="12" creationId="{B86630E2-AF9F-65A0-7BFF-11DC1BCB9720}"/>
          </ac:picMkLst>
        </pc:picChg>
        <pc:picChg chg="mod ord">
          <ac:chgData name="Deimonmi Nongrum [Chillibreeze]" userId="e937f645-8c95-42a9-a298-dfd645e9a76a" providerId="ADAL" clId="{750E9A50-ACEA-48D3-B2C6-355D5EC56876}" dt="2024-06-13T10:51:29.666" v="2532" actId="167"/>
          <ac:picMkLst>
            <pc:docMk/>
            <pc:sldMk cId="0" sldId="279"/>
            <ac:picMk id="14" creationId="{3890FAD3-22B3-6A56-8818-461EE427F9BC}"/>
          </ac:picMkLst>
        </pc:picChg>
        <pc:picChg chg="mod ord">
          <ac:chgData name="Deimonmi Nongrum [Chillibreeze]" userId="e937f645-8c95-42a9-a298-dfd645e9a76a" providerId="ADAL" clId="{750E9A50-ACEA-48D3-B2C6-355D5EC56876}" dt="2024-06-13T10:51:29.666" v="2532" actId="167"/>
          <ac:picMkLst>
            <pc:docMk/>
            <pc:sldMk cId="0" sldId="279"/>
            <ac:picMk id="15" creationId="{87591879-7E49-3918-8372-28F7B499D417}"/>
          </ac:picMkLst>
        </pc:picChg>
        <pc:cxnChg chg="add del mod">
          <ac:chgData name="Deimonmi Nongrum [Chillibreeze]" userId="e937f645-8c95-42a9-a298-dfd645e9a76a" providerId="ADAL" clId="{750E9A50-ACEA-48D3-B2C6-355D5EC56876}" dt="2024-06-13T03:54:54.555" v="620" actId="1076"/>
          <ac:cxnSpMkLst>
            <pc:docMk/>
            <pc:sldMk cId="0" sldId="279"/>
            <ac:cxnSpMk id="2" creationId="{39EE85D8-DC42-E83E-3ABF-0495CEE25081}"/>
          </ac:cxnSpMkLst>
        </pc:cxnChg>
        <pc:cxnChg chg="mod ord">
          <ac:chgData name="Deimonmi Nongrum [Chillibreeze]" userId="e937f645-8c95-42a9-a298-dfd645e9a76a" providerId="ADAL" clId="{750E9A50-ACEA-48D3-B2C6-355D5EC56876}" dt="2024-06-13T10:51:29.666" v="2532" actId="167"/>
          <ac:cxnSpMkLst>
            <pc:docMk/>
            <pc:sldMk cId="0" sldId="279"/>
            <ac:cxnSpMk id="18" creationId="{634E97F7-4C4B-271C-CE94-1D022B853D45}"/>
          </ac:cxnSpMkLst>
        </pc:cxnChg>
      </pc:sldChg>
      <pc:sldChg chg="addSp modSp mod modClrScheme chgLayout">
        <pc:chgData name="Deimonmi Nongrum [Chillibreeze]" userId="e937f645-8c95-42a9-a298-dfd645e9a76a" providerId="ADAL" clId="{750E9A50-ACEA-48D3-B2C6-355D5EC56876}" dt="2024-06-13T10:52:12.980" v="2558"/>
        <pc:sldMkLst>
          <pc:docMk/>
          <pc:sldMk cId="0" sldId="280"/>
        </pc:sldMkLst>
        <pc:spChg chg="add mod">
          <ac:chgData name="Deimonmi Nongrum [Chillibreeze]" userId="e937f645-8c95-42a9-a298-dfd645e9a76a" providerId="ADAL" clId="{750E9A50-ACEA-48D3-B2C6-355D5EC56876}" dt="2024-06-12T03:55:00.526" v="31"/>
          <ac:spMkLst>
            <pc:docMk/>
            <pc:sldMk cId="0" sldId="280"/>
            <ac:spMk id="2" creationId="{284DF9CF-9952-2446-51BF-CC31126E9D16}"/>
          </ac:spMkLst>
        </pc:spChg>
        <pc:spChg chg="ord">
          <ac:chgData name="Deimonmi Nongrum [Chillibreeze]" userId="e937f645-8c95-42a9-a298-dfd645e9a76a" providerId="ADAL" clId="{750E9A50-ACEA-48D3-B2C6-355D5EC56876}" dt="2024-06-13T10:52:09.297" v="2553"/>
          <ac:spMkLst>
            <pc:docMk/>
            <pc:sldMk cId="0" sldId="280"/>
            <ac:spMk id="4" creationId="{E1E09095-DC97-7BFE-72CE-4255A0407683}"/>
          </ac:spMkLst>
        </pc:spChg>
        <pc:spChg chg="ord">
          <ac:chgData name="Deimonmi Nongrum [Chillibreeze]" userId="e937f645-8c95-42a9-a298-dfd645e9a76a" providerId="ADAL" clId="{750E9A50-ACEA-48D3-B2C6-355D5EC56876}" dt="2024-06-13T10:52:10.097" v="2554"/>
          <ac:spMkLst>
            <pc:docMk/>
            <pc:sldMk cId="0" sldId="280"/>
            <ac:spMk id="8" creationId="{238202F8-4A9F-EB4F-6599-23A3C5800B30}"/>
          </ac:spMkLst>
        </pc:spChg>
        <pc:spChg chg="mod ord">
          <ac:chgData name="Deimonmi Nongrum [Chillibreeze]" userId="e937f645-8c95-42a9-a298-dfd645e9a76a" providerId="ADAL" clId="{750E9A50-ACEA-48D3-B2C6-355D5EC56876}" dt="2024-06-13T10:51:52.098" v="2546" actId="167"/>
          <ac:spMkLst>
            <pc:docMk/>
            <pc:sldMk cId="0" sldId="280"/>
            <ac:spMk id="13" creationId="{48F6FEF7-79BA-746E-471B-089EC7056C77}"/>
          </ac:spMkLst>
        </pc:spChg>
        <pc:spChg chg="mod ord">
          <ac:chgData name="Deimonmi Nongrum [Chillibreeze]" userId="e937f645-8c95-42a9-a298-dfd645e9a76a" providerId="ADAL" clId="{750E9A50-ACEA-48D3-B2C6-355D5EC56876}" dt="2024-06-13T10:51:52.098" v="2546" actId="167"/>
          <ac:spMkLst>
            <pc:docMk/>
            <pc:sldMk cId="0" sldId="280"/>
            <ac:spMk id="14" creationId="{7E82C28C-5519-4BDF-A8E5-C806E79A934F}"/>
          </ac:spMkLst>
        </pc:spChg>
        <pc:spChg chg="mod ord">
          <ac:chgData name="Deimonmi Nongrum [Chillibreeze]" userId="e937f645-8c95-42a9-a298-dfd645e9a76a" providerId="ADAL" clId="{750E9A50-ACEA-48D3-B2C6-355D5EC56876}" dt="2024-06-13T10:51:52.098" v="2546" actId="167"/>
          <ac:spMkLst>
            <pc:docMk/>
            <pc:sldMk cId="0" sldId="280"/>
            <ac:spMk id="15" creationId="{82AF57AB-7F82-9004-1A4F-29AF310D2CCB}"/>
          </ac:spMkLst>
        </pc:spChg>
        <pc:spChg chg="mod ord">
          <ac:chgData name="Deimonmi Nongrum [Chillibreeze]" userId="e937f645-8c95-42a9-a298-dfd645e9a76a" providerId="ADAL" clId="{750E9A50-ACEA-48D3-B2C6-355D5EC56876}" dt="2024-06-13T10:51:52.098" v="2546" actId="167"/>
          <ac:spMkLst>
            <pc:docMk/>
            <pc:sldMk cId="0" sldId="280"/>
            <ac:spMk id="16" creationId="{13CF078A-BFB3-B050-7602-B846FBE420D3}"/>
          </ac:spMkLst>
        </pc:spChg>
        <pc:spChg chg="mod ord">
          <ac:chgData name="Deimonmi Nongrum [Chillibreeze]" userId="e937f645-8c95-42a9-a298-dfd645e9a76a" providerId="ADAL" clId="{750E9A50-ACEA-48D3-B2C6-355D5EC56876}" dt="2024-06-13T10:51:52.098" v="2546" actId="167"/>
          <ac:spMkLst>
            <pc:docMk/>
            <pc:sldMk cId="0" sldId="280"/>
            <ac:spMk id="17" creationId="{7BF16BAC-E393-F72C-E82A-0F162D3F4A7E}"/>
          </ac:spMkLst>
        </pc:spChg>
        <pc:spChg chg="ord">
          <ac:chgData name="Deimonmi Nongrum [Chillibreeze]" userId="e937f645-8c95-42a9-a298-dfd645e9a76a" providerId="ADAL" clId="{750E9A50-ACEA-48D3-B2C6-355D5EC56876}" dt="2024-06-13T10:52:10.784" v="2555"/>
          <ac:spMkLst>
            <pc:docMk/>
            <pc:sldMk cId="0" sldId="280"/>
            <ac:spMk id="18" creationId="{1EE8FBC8-7FA0-0B1D-5D82-C2C8DA5E5452}"/>
          </ac:spMkLst>
        </pc:spChg>
        <pc:spChg chg="ord">
          <ac:chgData name="Deimonmi Nongrum [Chillibreeze]" userId="e937f645-8c95-42a9-a298-dfd645e9a76a" providerId="ADAL" clId="{750E9A50-ACEA-48D3-B2C6-355D5EC56876}" dt="2024-06-13T10:52:11.397" v="2556"/>
          <ac:spMkLst>
            <pc:docMk/>
            <pc:sldMk cId="0" sldId="280"/>
            <ac:spMk id="23" creationId="{463787BC-4890-F5FB-DBDA-8A0F402210D5}"/>
          </ac:spMkLst>
        </pc:spChg>
        <pc:spChg chg="ord">
          <ac:chgData name="Deimonmi Nongrum [Chillibreeze]" userId="e937f645-8c95-42a9-a298-dfd645e9a76a" providerId="ADAL" clId="{750E9A50-ACEA-48D3-B2C6-355D5EC56876}" dt="2024-06-13T10:52:12.293" v="2557"/>
          <ac:spMkLst>
            <pc:docMk/>
            <pc:sldMk cId="0" sldId="280"/>
            <ac:spMk id="28" creationId="{2146C49D-9EF5-05BC-E8E7-A25DD4AB12B9}"/>
          </ac:spMkLst>
        </pc:spChg>
        <pc:spChg chg="ord">
          <ac:chgData name="Deimonmi Nongrum [Chillibreeze]" userId="e937f645-8c95-42a9-a298-dfd645e9a76a" providerId="ADAL" clId="{750E9A50-ACEA-48D3-B2C6-355D5EC56876}" dt="2024-06-13T10:52:12.980" v="2558"/>
          <ac:spMkLst>
            <pc:docMk/>
            <pc:sldMk cId="0" sldId="280"/>
            <ac:spMk id="33" creationId="{65C25D6C-8990-431B-ADCB-2F124B9F22A6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80"/>
            <ac:spMk id="4489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80"/>
            <ac:spMk id="4491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80"/>
            <ac:spMk id="4492" creationId="{00000000-0000-0000-0000-000000000000}"/>
          </ac:spMkLst>
        </pc:spChg>
        <pc:grpChg chg="mod ord">
          <ac:chgData name="Deimonmi Nongrum [Chillibreeze]" userId="e937f645-8c95-42a9-a298-dfd645e9a76a" providerId="ADAL" clId="{750E9A50-ACEA-48D3-B2C6-355D5EC56876}" dt="2024-06-13T10:51:52.098" v="2546" actId="167"/>
          <ac:grpSpMkLst>
            <pc:docMk/>
            <pc:sldMk cId="0" sldId="280"/>
            <ac:grpSpMk id="19" creationId="{9E3E9B06-47FB-DE39-FA96-258D7BAE6525}"/>
          </ac:grpSpMkLst>
        </pc:grpChg>
        <pc:grpChg chg="mod ord">
          <ac:chgData name="Deimonmi Nongrum [Chillibreeze]" userId="e937f645-8c95-42a9-a298-dfd645e9a76a" providerId="ADAL" clId="{750E9A50-ACEA-48D3-B2C6-355D5EC56876}" dt="2024-06-13T10:51:52.098" v="2546" actId="167"/>
          <ac:grpSpMkLst>
            <pc:docMk/>
            <pc:sldMk cId="0" sldId="280"/>
            <ac:grpSpMk id="24" creationId="{68D20110-A15B-F219-A854-5630878D5074}"/>
          </ac:grpSpMkLst>
        </pc:grpChg>
        <pc:grpChg chg="mod ord">
          <ac:chgData name="Deimonmi Nongrum [Chillibreeze]" userId="e937f645-8c95-42a9-a298-dfd645e9a76a" providerId="ADAL" clId="{750E9A50-ACEA-48D3-B2C6-355D5EC56876}" dt="2024-06-13T10:51:52.098" v="2546" actId="167"/>
          <ac:grpSpMkLst>
            <pc:docMk/>
            <pc:sldMk cId="0" sldId="280"/>
            <ac:grpSpMk id="29" creationId="{09D8C550-91D1-73F2-DBA4-C99535C706F9}"/>
          </ac:grpSpMkLst>
        </pc:grpChg>
        <pc:picChg chg="mod ord">
          <ac:chgData name="Deimonmi Nongrum [Chillibreeze]" userId="e937f645-8c95-42a9-a298-dfd645e9a76a" providerId="ADAL" clId="{750E9A50-ACEA-48D3-B2C6-355D5EC56876}" dt="2024-06-13T10:51:52.098" v="2546" actId="167"/>
          <ac:picMkLst>
            <pc:docMk/>
            <pc:sldMk cId="0" sldId="280"/>
            <ac:picMk id="12" creationId="{34278999-07BA-2387-AE9F-0AF393E901D2}"/>
          </ac:picMkLst>
        </pc:picChg>
        <pc:cxnChg chg="mod ord">
          <ac:chgData name="Deimonmi Nongrum [Chillibreeze]" userId="e937f645-8c95-42a9-a298-dfd645e9a76a" providerId="ADAL" clId="{750E9A50-ACEA-48D3-B2C6-355D5EC56876}" dt="2024-06-13T10:51:52.098" v="2546" actId="167"/>
          <ac:cxnSpMkLst>
            <pc:docMk/>
            <pc:sldMk cId="0" sldId="280"/>
            <ac:cxnSpMk id="7" creationId="{092C4383-C573-BD80-B331-A519EFB669C5}"/>
          </ac:cxnSpMkLst>
        </pc:cxnChg>
      </pc:sldChg>
      <pc:sldChg chg="addSp delSp modSp mod setBg modClrScheme chgLayout">
        <pc:chgData name="Deimonmi Nongrum [Chillibreeze]" userId="e937f645-8c95-42a9-a298-dfd645e9a76a" providerId="ADAL" clId="{750E9A50-ACEA-48D3-B2C6-355D5EC56876}" dt="2024-06-13T14:22:33.612" v="7301" actId="13244"/>
        <pc:sldMkLst>
          <pc:docMk/>
          <pc:sldMk cId="0" sldId="281"/>
        </pc:sldMkLst>
        <pc:spChg chg="add del mod">
          <ac:chgData name="Deimonmi Nongrum [Chillibreeze]" userId="e937f645-8c95-42a9-a298-dfd645e9a76a" providerId="ADAL" clId="{750E9A50-ACEA-48D3-B2C6-355D5EC56876}" dt="2024-06-13T03:57:28.605" v="660" actId="6264"/>
          <ac:spMkLst>
            <pc:docMk/>
            <pc:sldMk cId="0" sldId="281"/>
            <ac:spMk id="2" creationId="{5A9F0256-020B-1F0C-C58E-2E824107B146}"/>
          </ac:spMkLst>
        </pc:spChg>
        <pc:spChg chg="add del mod">
          <ac:chgData name="Deimonmi Nongrum [Chillibreeze]" userId="e937f645-8c95-42a9-a298-dfd645e9a76a" providerId="ADAL" clId="{750E9A50-ACEA-48D3-B2C6-355D5EC56876}" dt="2024-06-13T03:57:28.769" v="661" actId="6264"/>
          <ac:spMkLst>
            <pc:docMk/>
            <pc:sldMk cId="0" sldId="281"/>
            <ac:spMk id="3" creationId="{C9F351B6-FC74-AB8B-D65E-B5E7E3EA424F}"/>
          </ac:spMkLst>
        </pc:spChg>
        <pc:spChg chg="add del mod">
          <ac:chgData name="Deimonmi Nongrum [Chillibreeze]" userId="e937f645-8c95-42a9-a298-dfd645e9a76a" providerId="ADAL" clId="{750E9A50-ACEA-48D3-B2C6-355D5EC56876}" dt="2024-06-13T03:57:28.958" v="662" actId="6264"/>
          <ac:spMkLst>
            <pc:docMk/>
            <pc:sldMk cId="0" sldId="281"/>
            <ac:spMk id="4" creationId="{3049FB43-4FA9-0231-59D7-86DF4F44EE8D}"/>
          </ac:spMkLst>
        </pc:spChg>
        <pc:spChg chg="add del">
          <ac:chgData name="Deimonmi Nongrum [Chillibreeze]" userId="e937f645-8c95-42a9-a298-dfd645e9a76a" providerId="ADAL" clId="{750E9A50-ACEA-48D3-B2C6-355D5EC56876}" dt="2024-06-13T14:20:28.714" v="7278" actId="22"/>
          <ac:spMkLst>
            <pc:docMk/>
            <pc:sldMk cId="0" sldId="281"/>
            <ac:spMk id="4" creationId="{DED48895-D7F4-DB51-2567-D5BE84B75F6D}"/>
          </ac:spMkLst>
        </pc:spChg>
        <pc:spChg chg="add del mod">
          <ac:chgData name="Deimonmi Nongrum [Chillibreeze]" userId="e937f645-8c95-42a9-a298-dfd645e9a76a" providerId="ADAL" clId="{750E9A50-ACEA-48D3-B2C6-355D5EC56876}" dt="2024-06-13T03:57:29.083" v="663" actId="6264"/>
          <ac:spMkLst>
            <pc:docMk/>
            <pc:sldMk cId="0" sldId="281"/>
            <ac:spMk id="5" creationId="{620D33AE-9350-E5E5-0290-4C24C4CA1437}"/>
          </ac:spMkLst>
        </pc:spChg>
        <pc:spChg chg="add del mod">
          <ac:chgData name="Deimonmi Nongrum [Chillibreeze]" userId="e937f645-8c95-42a9-a298-dfd645e9a76a" providerId="ADAL" clId="{750E9A50-ACEA-48D3-B2C6-355D5EC56876}" dt="2024-06-13T03:57:58.594" v="666" actId="6264"/>
          <ac:spMkLst>
            <pc:docMk/>
            <pc:sldMk cId="0" sldId="281"/>
            <ac:spMk id="6" creationId="{D17B96A3-EC10-4C65-D002-DD6F5521FB25}"/>
          </ac:spMkLst>
        </pc:spChg>
        <pc:spChg chg="add mod ord">
          <ac:chgData name="Deimonmi Nongrum [Chillibreeze]" userId="e937f645-8c95-42a9-a298-dfd645e9a76a" providerId="ADAL" clId="{750E9A50-ACEA-48D3-B2C6-355D5EC56876}" dt="2024-06-13T14:22:33.612" v="7301" actId="13244"/>
          <ac:spMkLst>
            <pc:docMk/>
            <pc:sldMk cId="0" sldId="281"/>
            <ac:spMk id="6" creationId="{D59ED4A3-9BA3-D25C-CF12-F8C65F812AEC}"/>
          </ac:spMkLst>
        </pc:spChg>
        <pc:spChg chg="add del mod">
          <ac:chgData name="Deimonmi Nongrum [Chillibreeze]" userId="e937f645-8c95-42a9-a298-dfd645e9a76a" providerId="ADAL" clId="{750E9A50-ACEA-48D3-B2C6-355D5EC56876}" dt="2024-06-13T03:57:58.908" v="667" actId="6264"/>
          <ac:spMkLst>
            <pc:docMk/>
            <pc:sldMk cId="0" sldId="281"/>
            <ac:spMk id="7" creationId="{D83BA3D5-AF6B-382C-0B4D-F1CF85DFA46C}"/>
          </ac:spMkLst>
        </pc:spChg>
        <pc:spChg chg="add del mod">
          <ac:chgData name="Deimonmi Nongrum [Chillibreeze]" userId="e937f645-8c95-42a9-a298-dfd645e9a76a" providerId="ADAL" clId="{750E9A50-ACEA-48D3-B2C6-355D5EC56876}" dt="2024-06-13T03:57:58.939" v="668" actId="6264"/>
          <ac:spMkLst>
            <pc:docMk/>
            <pc:sldMk cId="0" sldId="281"/>
            <ac:spMk id="8" creationId="{AD7B074E-6947-7267-4683-1AE8F19E0A72}"/>
          </ac:spMkLst>
        </pc:spChg>
        <pc:spChg chg="add del mod">
          <ac:chgData name="Deimonmi Nongrum [Chillibreeze]" userId="e937f645-8c95-42a9-a298-dfd645e9a76a" providerId="ADAL" clId="{750E9A50-ACEA-48D3-B2C6-355D5EC56876}" dt="2024-06-13T03:57:59.082" v="669" actId="6264"/>
          <ac:spMkLst>
            <pc:docMk/>
            <pc:sldMk cId="0" sldId="281"/>
            <ac:spMk id="9" creationId="{C81DC8F2-BE22-11F5-6242-9D4181B13756}"/>
          </ac:spMkLst>
        </pc:spChg>
        <pc:spChg chg="add del mod ord">
          <ac:chgData name="Deimonmi Nongrum [Chillibreeze]" userId="e937f645-8c95-42a9-a298-dfd645e9a76a" providerId="ADAL" clId="{750E9A50-ACEA-48D3-B2C6-355D5EC56876}" dt="2024-06-13T03:58:09.169" v="673" actId="6264"/>
          <ac:spMkLst>
            <pc:docMk/>
            <pc:sldMk cId="0" sldId="281"/>
            <ac:spMk id="10" creationId="{E3F169D4-3FC4-C339-D5D8-675ED049BBD7}"/>
          </ac:spMkLst>
        </pc:spChg>
        <pc:spChg chg="add del mod ord">
          <ac:chgData name="Deimonmi Nongrum [Chillibreeze]" userId="e937f645-8c95-42a9-a298-dfd645e9a76a" providerId="ADAL" clId="{750E9A50-ACEA-48D3-B2C6-355D5EC56876}" dt="2024-06-13T03:58:09.357" v="674" actId="6264"/>
          <ac:spMkLst>
            <pc:docMk/>
            <pc:sldMk cId="0" sldId="281"/>
            <ac:spMk id="11" creationId="{B37A3229-E991-588A-4169-B3F69613ECCA}"/>
          </ac:spMkLst>
        </pc:spChg>
        <pc:spChg chg="add del mod ord">
          <ac:chgData name="Deimonmi Nongrum [Chillibreeze]" userId="e937f645-8c95-42a9-a298-dfd645e9a76a" providerId="ADAL" clId="{750E9A50-ACEA-48D3-B2C6-355D5EC56876}" dt="2024-06-13T03:58:09.524" v="675" actId="6264"/>
          <ac:spMkLst>
            <pc:docMk/>
            <pc:sldMk cId="0" sldId="281"/>
            <ac:spMk id="12" creationId="{F56696D7-6A18-EEA7-3188-7B1C24FAA43D}"/>
          </ac:spMkLst>
        </pc:spChg>
        <pc:spChg chg="add del mod ord">
          <ac:chgData name="Deimonmi Nongrum [Chillibreeze]" userId="e937f645-8c95-42a9-a298-dfd645e9a76a" providerId="ADAL" clId="{750E9A50-ACEA-48D3-B2C6-355D5EC56876}" dt="2024-06-13T03:58:09.699" v="676" actId="6264"/>
          <ac:spMkLst>
            <pc:docMk/>
            <pc:sldMk cId="0" sldId="281"/>
            <ac:spMk id="13" creationId="{CCE986D7-6201-C83B-1365-D35F3B49448A}"/>
          </ac:spMkLst>
        </pc:spChg>
        <pc:spChg chg="add del mod ord">
          <ac:chgData name="Deimonmi Nongrum [Chillibreeze]" userId="e937f645-8c95-42a9-a298-dfd645e9a76a" providerId="ADAL" clId="{750E9A50-ACEA-48D3-B2C6-355D5EC56876}" dt="2024-06-13T03:58:09.859" v="677" actId="6264"/>
          <ac:spMkLst>
            <pc:docMk/>
            <pc:sldMk cId="0" sldId="281"/>
            <ac:spMk id="14" creationId="{07001B9B-6C54-3B73-B56D-1F0024872768}"/>
          </ac:spMkLst>
        </pc:spChg>
        <pc:spChg chg="add del mod ord">
          <ac:chgData name="Deimonmi Nongrum [Chillibreeze]" userId="e937f645-8c95-42a9-a298-dfd645e9a76a" providerId="ADAL" clId="{750E9A50-ACEA-48D3-B2C6-355D5EC56876}" dt="2024-06-13T03:58:09.989" v="678" actId="6264"/>
          <ac:spMkLst>
            <pc:docMk/>
            <pc:sldMk cId="0" sldId="281"/>
            <ac:spMk id="15" creationId="{B206AC94-8D4F-446B-400E-7FCF98C86772}"/>
          </ac:spMkLst>
        </pc:spChg>
        <pc:spChg chg="add mod ord">
          <ac:chgData name="Deimonmi Nongrum [Chillibreeze]" userId="e937f645-8c95-42a9-a298-dfd645e9a76a" providerId="ADAL" clId="{750E9A50-ACEA-48D3-B2C6-355D5EC56876}" dt="2024-06-13T10:52:43.921" v="2570"/>
          <ac:spMkLst>
            <pc:docMk/>
            <pc:sldMk cId="0" sldId="281"/>
            <ac:spMk id="16" creationId="{48A1603B-D608-CFC8-551B-802E5EFD0123}"/>
          </ac:spMkLst>
        </pc:spChg>
        <pc:spChg chg="add del mod ord">
          <ac:chgData name="Deimonmi Nongrum [Chillibreeze]" userId="e937f645-8c95-42a9-a298-dfd645e9a76a" providerId="ADAL" clId="{750E9A50-ACEA-48D3-B2C6-355D5EC56876}" dt="2024-06-13T04:01:58.455" v="735" actId="478"/>
          <ac:spMkLst>
            <pc:docMk/>
            <pc:sldMk cId="0" sldId="281"/>
            <ac:spMk id="18" creationId="{9A6F1EEC-DF96-B84D-D54B-05EFBAD906DC}"/>
          </ac:spMkLst>
        </pc:spChg>
        <pc:spChg chg="add del mod topLvl">
          <ac:chgData name="Deimonmi Nongrum [Chillibreeze]" userId="e937f645-8c95-42a9-a298-dfd645e9a76a" providerId="ADAL" clId="{750E9A50-ACEA-48D3-B2C6-355D5EC56876}" dt="2024-06-13T10:52:26.730" v="2559" actId="164"/>
          <ac:spMkLst>
            <pc:docMk/>
            <pc:sldMk cId="0" sldId="281"/>
            <ac:spMk id="19" creationId="{D456A5A3-DF8D-6E5B-CD22-D239691266D5}"/>
          </ac:spMkLst>
        </pc:spChg>
        <pc:spChg chg="add del mod topLvl">
          <ac:chgData name="Deimonmi Nongrum [Chillibreeze]" userId="e937f645-8c95-42a9-a298-dfd645e9a76a" providerId="ADAL" clId="{750E9A50-ACEA-48D3-B2C6-355D5EC56876}" dt="2024-06-13T10:52:26.730" v="2559" actId="164"/>
          <ac:spMkLst>
            <pc:docMk/>
            <pc:sldMk cId="0" sldId="281"/>
            <ac:spMk id="20" creationId="{C4E73D8E-FA0A-0707-F8A4-C13980CF4563}"/>
          </ac:spMkLst>
        </pc:spChg>
        <pc:spChg chg="add del mod topLvl">
          <ac:chgData name="Deimonmi Nongrum [Chillibreeze]" userId="e937f645-8c95-42a9-a298-dfd645e9a76a" providerId="ADAL" clId="{750E9A50-ACEA-48D3-B2C6-355D5EC56876}" dt="2024-06-13T10:52:26.730" v="2559" actId="164"/>
          <ac:spMkLst>
            <pc:docMk/>
            <pc:sldMk cId="0" sldId="281"/>
            <ac:spMk id="21" creationId="{D1AAEFBF-17AE-BBD6-6248-744B8F8CE1CE}"/>
          </ac:spMkLst>
        </pc:spChg>
        <pc:spChg chg="add del mod">
          <ac:chgData name="Deimonmi Nongrum [Chillibreeze]" userId="e937f645-8c95-42a9-a298-dfd645e9a76a" providerId="ADAL" clId="{750E9A50-ACEA-48D3-B2C6-355D5EC56876}" dt="2024-06-13T04:02:06.460" v="737" actId="478"/>
          <ac:spMkLst>
            <pc:docMk/>
            <pc:sldMk cId="0" sldId="281"/>
            <ac:spMk id="23" creationId="{49400320-ADF4-7590-5D40-E133FD35E1A7}"/>
          </ac:spMkLst>
        </pc:spChg>
        <pc:spChg chg="add del mod">
          <ac:chgData name="Deimonmi Nongrum [Chillibreeze]" userId="e937f645-8c95-42a9-a298-dfd645e9a76a" providerId="ADAL" clId="{750E9A50-ACEA-48D3-B2C6-355D5EC56876}" dt="2024-06-13T04:02:06.460" v="737" actId="478"/>
          <ac:spMkLst>
            <pc:docMk/>
            <pc:sldMk cId="0" sldId="281"/>
            <ac:spMk id="24" creationId="{24F699A0-278D-DB09-3504-E56B3C201E06}"/>
          </ac:spMkLst>
        </pc:spChg>
        <pc:spChg chg="add del mod">
          <ac:chgData name="Deimonmi Nongrum [Chillibreeze]" userId="e937f645-8c95-42a9-a298-dfd645e9a76a" providerId="ADAL" clId="{750E9A50-ACEA-48D3-B2C6-355D5EC56876}" dt="2024-06-13T04:02:06.460" v="737" actId="478"/>
          <ac:spMkLst>
            <pc:docMk/>
            <pc:sldMk cId="0" sldId="281"/>
            <ac:spMk id="25" creationId="{E8A285C2-CA51-403D-AA8C-819E2BB94E5F}"/>
          </ac:spMkLst>
        </pc:spChg>
        <pc:spChg chg="add mod ord">
          <ac:chgData name="Deimonmi Nongrum [Chillibreeze]" userId="e937f645-8c95-42a9-a298-dfd645e9a76a" providerId="ADAL" clId="{750E9A50-ACEA-48D3-B2C6-355D5EC56876}" dt="2024-06-13T10:52:40.062" v="2563" actId="167"/>
          <ac:spMkLst>
            <pc:docMk/>
            <pc:sldMk cId="0" sldId="281"/>
            <ac:spMk id="28" creationId="{0BD53600-D444-C1FB-57B8-A5CDA0EB7EC1}"/>
          </ac:spMkLst>
        </pc:spChg>
        <pc:spChg chg="add del mod">
          <ac:chgData name="Deimonmi Nongrum [Chillibreeze]" userId="e937f645-8c95-42a9-a298-dfd645e9a76a" providerId="ADAL" clId="{750E9A50-ACEA-48D3-B2C6-355D5EC56876}" dt="2024-06-13T04:02:36.803" v="745" actId="478"/>
          <ac:spMkLst>
            <pc:docMk/>
            <pc:sldMk cId="0" sldId="281"/>
            <ac:spMk id="29" creationId="{073A5584-43EA-BB37-5C7C-0512FA3FC581}"/>
          </ac:spMkLst>
        </pc:spChg>
        <pc:spChg chg="add mod ord">
          <ac:chgData name="Deimonmi Nongrum [Chillibreeze]" userId="e937f645-8c95-42a9-a298-dfd645e9a76a" providerId="ADAL" clId="{750E9A50-ACEA-48D3-B2C6-355D5EC56876}" dt="2024-06-13T10:52:40.062" v="2563" actId="167"/>
          <ac:spMkLst>
            <pc:docMk/>
            <pc:sldMk cId="0" sldId="281"/>
            <ac:spMk id="30" creationId="{4552D2B9-8ACD-2381-6126-C7A911C0EA60}"/>
          </ac:spMkLst>
        </pc:spChg>
        <pc:spChg chg="add del mod">
          <ac:chgData name="Deimonmi Nongrum [Chillibreeze]" userId="e937f645-8c95-42a9-a298-dfd645e9a76a" providerId="ADAL" clId="{750E9A50-ACEA-48D3-B2C6-355D5EC56876}" dt="2024-06-13T04:05:05.619" v="828" actId="478"/>
          <ac:spMkLst>
            <pc:docMk/>
            <pc:sldMk cId="0" sldId="281"/>
            <ac:spMk id="31" creationId="{CAF0BC83-A071-CD9A-E8AD-C1010E4061E9}"/>
          </ac:spMkLst>
        </pc:spChg>
        <pc:spChg chg="mod">
          <ac:chgData name="Deimonmi Nongrum [Chillibreeze]" userId="e937f645-8c95-42a9-a298-dfd645e9a76a" providerId="ADAL" clId="{750E9A50-ACEA-48D3-B2C6-355D5EC56876}" dt="2024-06-13T04:10:39.620" v="910"/>
          <ac:spMkLst>
            <pc:docMk/>
            <pc:sldMk cId="0" sldId="281"/>
            <ac:spMk id="34" creationId="{31D83A9C-FCB7-BE4A-3695-FFDCCCA13341}"/>
          </ac:spMkLst>
        </pc:spChg>
        <pc:spChg chg="mod">
          <ac:chgData name="Deimonmi Nongrum [Chillibreeze]" userId="e937f645-8c95-42a9-a298-dfd645e9a76a" providerId="ADAL" clId="{750E9A50-ACEA-48D3-B2C6-355D5EC56876}" dt="2024-06-13T04:10:39.620" v="910"/>
          <ac:spMkLst>
            <pc:docMk/>
            <pc:sldMk cId="0" sldId="281"/>
            <ac:spMk id="35" creationId="{26708C79-BE09-4FC1-FAD3-1C7CF258B521}"/>
          </ac:spMkLst>
        </pc:spChg>
        <pc:spChg chg="mod">
          <ac:chgData name="Deimonmi Nongrum [Chillibreeze]" userId="e937f645-8c95-42a9-a298-dfd645e9a76a" providerId="ADAL" clId="{750E9A50-ACEA-48D3-B2C6-355D5EC56876}" dt="2024-06-13T04:10:39.620" v="910"/>
          <ac:spMkLst>
            <pc:docMk/>
            <pc:sldMk cId="0" sldId="281"/>
            <ac:spMk id="36" creationId="{C8C1E079-1F84-348E-9CD1-B4DE46DD2928}"/>
          </ac:spMkLst>
        </pc:spChg>
        <pc:spChg chg="mod">
          <ac:chgData name="Deimonmi Nongrum [Chillibreeze]" userId="e937f645-8c95-42a9-a298-dfd645e9a76a" providerId="ADAL" clId="{750E9A50-ACEA-48D3-B2C6-355D5EC56876}" dt="2024-06-13T04:10:39.620" v="910"/>
          <ac:spMkLst>
            <pc:docMk/>
            <pc:sldMk cId="0" sldId="281"/>
            <ac:spMk id="37" creationId="{64F0A3E1-06C5-BD3C-1B9B-5DCE674D8641}"/>
          </ac:spMkLst>
        </pc:spChg>
        <pc:spChg chg="mod">
          <ac:chgData name="Deimonmi Nongrum [Chillibreeze]" userId="e937f645-8c95-42a9-a298-dfd645e9a76a" providerId="ADAL" clId="{750E9A50-ACEA-48D3-B2C6-355D5EC56876}" dt="2024-06-13T04:10:39.620" v="910"/>
          <ac:spMkLst>
            <pc:docMk/>
            <pc:sldMk cId="0" sldId="281"/>
            <ac:spMk id="38" creationId="{68A1C5FD-9198-9EE1-BC2F-7FB9659C8A22}"/>
          </ac:spMkLst>
        </pc:spChg>
        <pc:spChg chg="mod">
          <ac:chgData name="Deimonmi Nongrum [Chillibreeze]" userId="e937f645-8c95-42a9-a298-dfd645e9a76a" providerId="ADAL" clId="{750E9A50-ACEA-48D3-B2C6-355D5EC56876}" dt="2024-06-13T04:10:39.620" v="910"/>
          <ac:spMkLst>
            <pc:docMk/>
            <pc:sldMk cId="0" sldId="281"/>
            <ac:spMk id="39" creationId="{925525F5-95C7-B346-C0EC-586151425B51}"/>
          </ac:spMkLst>
        </pc:spChg>
        <pc:spChg chg="mod">
          <ac:chgData name="Deimonmi Nongrum [Chillibreeze]" userId="e937f645-8c95-42a9-a298-dfd645e9a76a" providerId="ADAL" clId="{750E9A50-ACEA-48D3-B2C6-355D5EC56876}" dt="2024-06-13T04:10:39.620" v="910"/>
          <ac:spMkLst>
            <pc:docMk/>
            <pc:sldMk cId="0" sldId="281"/>
            <ac:spMk id="40" creationId="{B0AEEE1F-4319-7808-8F59-749A40AB99E6}"/>
          </ac:spMkLst>
        </pc:spChg>
        <pc:spChg chg="add del mod">
          <ac:chgData name="Deimonmi Nongrum [Chillibreeze]" userId="e937f645-8c95-42a9-a298-dfd645e9a76a" providerId="ADAL" clId="{750E9A50-ACEA-48D3-B2C6-355D5EC56876}" dt="2024-06-13T04:10:45.057" v="912"/>
          <ac:spMkLst>
            <pc:docMk/>
            <pc:sldMk cId="0" sldId="281"/>
            <ac:spMk id="41" creationId="{FB44D701-5FF9-DFFA-AE99-68A425EC4CF5}"/>
          </ac:spMkLst>
        </pc:spChg>
        <pc:spChg chg="add del mod">
          <ac:chgData name="Deimonmi Nongrum [Chillibreeze]" userId="e937f645-8c95-42a9-a298-dfd645e9a76a" providerId="ADAL" clId="{750E9A50-ACEA-48D3-B2C6-355D5EC56876}" dt="2024-06-13T04:10:45.057" v="912"/>
          <ac:spMkLst>
            <pc:docMk/>
            <pc:sldMk cId="0" sldId="281"/>
            <ac:spMk id="42" creationId="{718A8F61-A4E3-9586-6D44-5B387A8F8EED}"/>
          </ac:spMkLst>
        </pc:spChg>
        <pc:spChg chg="add del mod">
          <ac:chgData name="Deimonmi Nongrum [Chillibreeze]" userId="e937f645-8c95-42a9-a298-dfd645e9a76a" providerId="ADAL" clId="{750E9A50-ACEA-48D3-B2C6-355D5EC56876}" dt="2024-06-13T04:10:45.057" v="912"/>
          <ac:spMkLst>
            <pc:docMk/>
            <pc:sldMk cId="0" sldId="281"/>
            <ac:spMk id="43" creationId="{C3AA13B4-018B-4C5E-562C-E3991371479D}"/>
          </ac:spMkLst>
        </pc:spChg>
        <pc:spChg chg="mod">
          <ac:chgData name="Deimonmi Nongrum [Chillibreeze]" userId="e937f645-8c95-42a9-a298-dfd645e9a76a" providerId="ADAL" clId="{750E9A50-ACEA-48D3-B2C6-355D5EC56876}" dt="2024-06-13T10:52:26.730" v="2559" actId="164"/>
          <ac:spMkLst>
            <pc:docMk/>
            <pc:sldMk cId="0" sldId="281"/>
            <ac:spMk id="44" creationId="{3FDB9E2D-5C8F-2457-0172-F8188AF1D0C5}"/>
          </ac:spMkLst>
        </pc:spChg>
        <pc:spChg chg="del mod">
          <ac:chgData name="Deimonmi Nongrum [Chillibreeze]" userId="e937f645-8c95-42a9-a298-dfd645e9a76a" providerId="ADAL" clId="{750E9A50-ACEA-48D3-B2C6-355D5EC56876}" dt="2024-06-13T04:11:21.465" v="932" actId="478"/>
          <ac:spMkLst>
            <pc:docMk/>
            <pc:sldMk cId="0" sldId="281"/>
            <ac:spMk id="45" creationId="{DBECE40F-A48D-ED97-3802-AA8D292F3577}"/>
          </ac:spMkLst>
        </pc:spChg>
        <pc:spChg chg="del mod">
          <ac:chgData name="Deimonmi Nongrum [Chillibreeze]" userId="e937f645-8c95-42a9-a298-dfd645e9a76a" providerId="ADAL" clId="{750E9A50-ACEA-48D3-B2C6-355D5EC56876}" dt="2024-06-13T04:11:22.141" v="933" actId="478"/>
          <ac:spMkLst>
            <pc:docMk/>
            <pc:sldMk cId="0" sldId="281"/>
            <ac:spMk id="46" creationId="{A8D07EA6-E10C-0733-8DCE-A415CD52FF14}"/>
          </ac:spMkLst>
        </pc:spChg>
        <pc:spChg chg="del mod">
          <ac:chgData name="Deimonmi Nongrum [Chillibreeze]" userId="e937f645-8c95-42a9-a298-dfd645e9a76a" providerId="ADAL" clId="{750E9A50-ACEA-48D3-B2C6-355D5EC56876}" dt="2024-06-13T04:11:21.036" v="931" actId="478"/>
          <ac:spMkLst>
            <pc:docMk/>
            <pc:sldMk cId="0" sldId="281"/>
            <ac:spMk id="47" creationId="{4074CEEF-5CDA-6FCF-3E96-2FE2ABC4BFE8}"/>
          </ac:spMkLst>
        </pc:spChg>
        <pc:spChg chg="del mod">
          <ac:chgData name="Deimonmi Nongrum [Chillibreeze]" userId="e937f645-8c95-42a9-a298-dfd645e9a76a" providerId="ADAL" clId="{750E9A50-ACEA-48D3-B2C6-355D5EC56876}" dt="2024-06-13T04:11:23.240" v="934" actId="478"/>
          <ac:spMkLst>
            <pc:docMk/>
            <pc:sldMk cId="0" sldId="281"/>
            <ac:spMk id="48" creationId="{B4F0560B-DC85-1475-8368-783C822AC9CB}"/>
          </ac:spMkLst>
        </pc:spChg>
        <pc:spChg chg="del mod">
          <ac:chgData name="Deimonmi Nongrum [Chillibreeze]" userId="e937f645-8c95-42a9-a298-dfd645e9a76a" providerId="ADAL" clId="{750E9A50-ACEA-48D3-B2C6-355D5EC56876}" dt="2024-06-13T04:11:23.240" v="934" actId="478"/>
          <ac:spMkLst>
            <pc:docMk/>
            <pc:sldMk cId="0" sldId="281"/>
            <ac:spMk id="49" creationId="{8BBA2E8C-2939-C264-B844-1C69BB509F4C}"/>
          </ac:spMkLst>
        </pc:spChg>
        <pc:spChg chg="del mod">
          <ac:chgData name="Deimonmi Nongrum [Chillibreeze]" userId="e937f645-8c95-42a9-a298-dfd645e9a76a" providerId="ADAL" clId="{750E9A50-ACEA-48D3-B2C6-355D5EC56876}" dt="2024-06-13T04:11:23.240" v="934" actId="478"/>
          <ac:spMkLst>
            <pc:docMk/>
            <pc:sldMk cId="0" sldId="281"/>
            <ac:spMk id="50" creationId="{F3D953CA-171E-A3A3-9C31-2F8EA598961B}"/>
          </ac:spMkLst>
        </pc:spChg>
        <pc:spChg chg="add del mod ord">
          <ac:chgData name="Deimonmi Nongrum [Chillibreeze]" userId="e937f645-8c95-42a9-a298-dfd645e9a76a" providerId="ADAL" clId="{750E9A50-ACEA-48D3-B2C6-355D5EC56876}" dt="2024-06-13T04:12:20.767" v="951" actId="478"/>
          <ac:spMkLst>
            <pc:docMk/>
            <pc:sldMk cId="0" sldId="281"/>
            <ac:spMk id="52" creationId="{1057E9BC-6803-E601-F062-EAB24C45DABF}"/>
          </ac:spMkLst>
        </pc:spChg>
        <pc:spChg chg="del mod ord">
          <ac:chgData name="Deimonmi Nongrum [Chillibreeze]" userId="e937f645-8c95-42a9-a298-dfd645e9a76a" providerId="ADAL" clId="{750E9A50-ACEA-48D3-B2C6-355D5EC56876}" dt="2024-06-13T03:57:58.594" v="666" actId="6264"/>
          <ac:spMkLst>
            <pc:docMk/>
            <pc:sldMk cId="0" sldId="281"/>
            <ac:spMk id="4511" creationId="{00000000-0000-0000-0000-000000000000}"/>
          </ac:spMkLst>
        </pc:spChg>
        <pc:spChg chg="del mod">
          <ac:chgData name="Deimonmi Nongrum [Chillibreeze]" userId="e937f645-8c95-42a9-a298-dfd645e9a76a" providerId="ADAL" clId="{750E9A50-ACEA-48D3-B2C6-355D5EC56876}" dt="2024-06-13T04:11:20.314" v="930" actId="478"/>
          <ac:spMkLst>
            <pc:docMk/>
            <pc:sldMk cId="0" sldId="281"/>
            <ac:spMk id="4523" creationId="{00000000-0000-0000-0000-000000000000}"/>
          </ac:spMkLst>
        </pc:spChg>
        <pc:spChg chg="del mod ord">
          <ac:chgData name="Deimonmi Nongrum [Chillibreeze]" userId="e937f645-8c95-42a9-a298-dfd645e9a76a" providerId="ADAL" clId="{750E9A50-ACEA-48D3-B2C6-355D5EC56876}" dt="2024-06-13T03:58:09.009" v="672" actId="6264"/>
          <ac:spMkLst>
            <pc:docMk/>
            <pc:sldMk cId="0" sldId="281"/>
            <ac:spMk id="4524" creationId="{00000000-0000-0000-0000-000000000000}"/>
          </ac:spMkLst>
        </pc:spChg>
        <pc:spChg chg="del mod">
          <ac:chgData name="Deimonmi Nongrum [Chillibreeze]" userId="e937f645-8c95-42a9-a298-dfd645e9a76a" providerId="ADAL" clId="{750E9A50-ACEA-48D3-B2C6-355D5EC56876}" dt="2024-06-13T04:04:33.602" v="825" actId="478"/>
          <ac:spMkLst>
            <pc:docMk/>
            <pc:sldMk cId="0" sldId="281"/>
            <ac:spMk id="4525" creationId="{00000000-0000-0000-0000-000000000000}"/>
          </ac:spMkLst>
        </pc:spChg>
        <pc:grpChg chg="add mod">
          <ac:chgData name="Deimonmi Nongrum [Chillibreeze]" userId="e937f645-8c95-42a9-a298-dfd645e9a76a" providerId="ADAL" clId="{750E9A50-ACEA-48D3-B2C6-355D5EC56876}" dt="2024-06-13T10:54:10.417" v="2793" actId="962"/>
          <ac:grpSpMkLst>
            <pc:docMk/>
            <pc:sldMk cId="0" sldId="281"/>
            <ac:grpSpMk id="2" creationId="{D9B9D9BC-1D11-FD51-D1C0-4EF10D440CC7}"/>
          </ac:grpSpMkLst>
        </pc:grpChg>
        <pc:grpChg chg="add del mod">
          <ac:chgData name="Deimonmi Nongrum [Chillibreeze]" userId="e937f645-8c95-42a9-a298-dfd645e9a76a" providerId="ADAL" clId="{750E9A50-ACEA-48D3-B2C6-355D5EC56876}" dt="2024-06-13T04:01:13.652" v="705" actId="165"/>
          <ac:grpSpMkLst>
            <pc:docMk/>
            <pc:sldMk cId="0" sldId="281"/>
            <ac:grpSpMk id="22" creationId="{ADE7FA6D-1B65-9FA2-9BE1-FBEC291A5230}"/>
          </ac:grpSpMkLst>
        </pc:grpChg>
        <pc:grpChg chg="add del mod">
          <ac:chgData name="Deimonmi Nongrum [Chillibreeze]" userId="e937f645-8c95-42a9-a298-dfd645e9a76a" providerId="ADAL" clId="{750E9A50-ACEA-48D3-B2C6-355D5EC56876}" dt="2024-06-13T04:01:51.869" v="732" actId="165"/>
          <ac:grpSpMkLst>
            <pc:docMk/>
            <pc:sldMk cId="0" sldId="281"/>
            <ac:grpSpMk id="26" creationId="{7EC5E27C-B7C9-50C2-7D90-5EFCE46F6996}"/>
          </ac:grpSpMkLst>
        </pc:grpChg>
        <pc:grpChg chg="add del mod">
          <ac:chgData name="Deimonmi Nongrum [Chillibreeze]" userId="e937f645-8c95-42a9-a298-dfd645e9a76a" providerId="ADAL" clId="{750E9A50-ACEA-48D3-B2C6-355D5EC56876}" dt="2024-06-13T04:05:51.689" v="842" actId="165"/>
          <ac:grpSpMkLst>
            <pc:docMk/>
            <pc:sldMk cId="0" sldId="281"/>
            <ac:grpSpMk id="27" creationId="{113CAA3C-46FB-AE36-918D-E4A111CF3965}"/>
          </ac:grpSpMkLst>
        </pc:grpChg>
        <pc:grpChg chg="del mod">
          <ac:chgData name="Deimonmi Nongrum [Chillibreeze]" userId="e937f645-8c95-42a9-a298-dfd645e9a76a" providerId="ADAL" clId="{750E9A50-ACEA-48D3-B2C6-355D5EC56876}" dt="2024-06-13T04:11:20.314" v="930" actId="478"/>
          <ac:grpSpMkLst>
            <pc:docMk/>
            <pc:sldMk cId="0" sldId="281"/>
            <ac:grpSpMk id="4515" creationId="{00000000-0000-0000-0000-000000000000}"/>
          </ac:grpSpMkLst>
        </pc:grpChg>
        <pc:picChg chg="add del mod ord">
          <ac:chgData name="Deimonmi Nongrum [Chillibreeze]" userId="e937f645-8c95-42a9-a298-dfd645e9a76a" providerId="ADAL" clId="{750E9A50-ACEA-48D3-B2C6-355D5EC56876}" dt="2024-06-13T03:59:27.227" v="688" actId="478"/>
          <ac:picMkLst>
            <pc:docMk/>
            <pc:sldMk cId="0" sldId="281"/>
            <ac:picMk id="17" creationId="{8AA4E107-2878-8009-61E7-A96973BABBD9}"/>
          </ac:picMkLst>
        </pc:picChg>
        <pc:picChg chg="add mod modCrop">
          <ac:chgData name="Deimonmi Nongrum [Chillibreeze]" userId="e937f645-8c95-42a9-a298-dfd645e9a76a" providerId="ADAL" clId="{750E9A50-ACEA-48D3-B2C6-355D5EC56876}" dt="2024-06-13T10:52:26.730" v="2559" actId="164"/>
          <ac:picMkLst>
            <pc:docMk/>
            <pc:sldMk cId="0" sldId="281"/>
            <ac:picMk id="33" creationId="{7CA73FCE-B8DE-CCC9-38B0-9A8542192424}"/>
          </ac:picMkLst>
        </pc:picChg>
        <pc:picChg chg="add mod">
          <ac:chgData name="Deimonmi Nongrum [Chillibreeze]" userId="e937f645-8c95-42a9-a298-dfd645e9a76a" providerId="ADAL" clId="{750E9A50-ACEA-48D3-B2C6-355D5EC56876}" dt="2024-06-13T10:52:26.730" v="2559" actId="164"/>
          <ac:picMkLst>
            <pc:docMk/>
            <pc:sldMk cId="0" sldId="281"/>
            <ac:picMk id="51" creationId="{5844A9E0-B63B-96EE-49D2-97E6BC0BC44A}"/>
          </ac:picMkLst>
        </pc:picChg>
        <pc:picChg chg="add mod">
          <ac:chgData name="Deimonmi Nongrum [Chillibreeze]" userId="e937f645-8c95-42a9-a298-dfd645e9a76a" providerId="ADAL" clId="{750E9A50-ACEA-48D3-B2C6-355D5EC56876}" dt="2024-06-13T10:52:26.730" v="2559" actId="164"/>
          <ac:picMkLst>
            <pc:docMk/>
            <pc:sldMk cId="0" sldId="281"/>
            <ac:picMk id="1028" creationId="{9631728D-93E4-01FD-70FC-FBBD5222AA05}"/>
          </ac:picMkLst>
        </pc:picChg>
        <pc:picChg chg="add mod">
          <ac:chgData name="Deimonmi Nongrum [Chillibreeze]" userId="e937f645-8c95-42a9-a298-dfd645e9a76a" providerId="ADAL" clId="{750E9A50-ACEA-48D3-B2C6-355D5EC56876}" dt="2024-06-13T10:52:26.730" v="2559" actId="164"/>
          <ac:picMkLst>
            <pc:docMk/>
            <pc:sldMk cId="0" sldId="281"/>
            <ac:picMk id="1030" creationId="{2367F9B5-F2C5-2098-5B47-6E31C088EB7E}"/>
          </ac:picMkLst>
        </pc:picChg>
        <pc:picChg chg="add del mod">
          <ac:chgData name="Deimonmi Nongrum [Chillibreeze]" userId="e937f645-8c95-42a9-a298-dfd645e9a76a" providerId="ADAL" clId="{750E9A50-ACEA-48D3-B2C6-355D5EC56876}" dt="2024-06-13T04:10:51.246" v="914" actId="21"/>
          <ac:picMkLst>
            <pc:docMk/>
            <pc:sldMk cId="0" sldId="281"/>
            <ac:picMk id="1032" creationId="{5844A9E0-B63B-96EE-49D2-97E6BC0BC44A}"/>
          </ac:picMkLst>
        </pc:picChg>
        <pc:picChg chg="del mod">
          <ac:chgData name="Deimonmi Nongrum [Chillibreeze]" userId="e937f645-8c95-42a9-a298-dfd645e9a76a" providerId="ADAL" clId="{750E9A50-ACEA-48D3-B2C6-355D5EC56876}" dt="2024-06-13T04:04:34.736" v="826" actId="478"/>
          <ac:picMkLst>
            <pc:docMk/>
            <pc:sldMk cId="0" sldId="281"/>
            <ac:picMk id="4510" creationId="{00000000-0000-0000-0000-000000000000}"/>
          </ac:picMkLst>
        </pc:picChg>
        <pc:picChg chg="del mod">
          <ac:chgData name="Deimonmi Nongrum [Chillibreeze]" userId="e937f645-8c95-42a9-a298-dfd645e9a76a" providerId="ADAL" clId="{750E9A50-ACEA-48D3-B2C6-355D5EC56876}" dt="2024-06-13T04:09:38.421" v="896" actId="478"/>
          <ac:picMkLst>
            <pc:docMk/>
            <pc:sldMk cId="0" sldId="281"/>
            <ac:picMk id="4512" creationId="{00000000-0000-0000-0000-000000000000}"/>
          </ac:picMkLst>
        </pc:picChg>
        <pc:picChg chg="del mod">
          <ac:chgData name="Deimonmi Nongrum [Chillibreeze]" userId="e937f645-8c95-42a9-a298-dfd645e9a76a" providerId="ADAL" clId="{750E9A50-ACEA-48D3-B2C6-355D5EC56876}" dt="2024-06-13T04:11:20.314" v="930" actId="478"/>
          <ac:picMkLst>
            <pc:docMk/>
            <pc:sldMk cId="0" sldId="281"/>
            <ac:picMk id="4513" creationId="{00000000-0000-0000-0000-000000000000}"/>
          </ac:picMkLst>
        </pc:picChg>
        <pc:picChg chg="del mod">
          <ac:chgData name="Deimonmi Nongrum [Chillibreeze]" userId="e937f645-8c95-42a9-a298-dfd645e9a76a" providerId="ADAL" clId="{750E9A50-ACEA-48D3-B2C6-355D5EC56876}" dt="2024-06-13T04:11:20.314" v="930" actId="478"/>
          <ac:picMkLst>
            <pc:docMk/>
            <pc:sldMk cId="0" sldId="281"/>
            <ac:picMk id="4514" creationId="{00000000-0000-0000-0000-000000000000}"/>
          </ac:picMkLst>
        </pc:picChg>
        <pc:cxnChg chg="add mod">
          <ac:chgData name="Deimonmi Nongrum [Chillibreeze]" userId="e937f645-8c95-42a9-a298-dfd645e9a76a" providerId="ADAL" clId="{750E9A50-ACEA-48D3-B2C6-355D5EC56876}" dt="2024-06-13T14:20:57.855" v="7289"/>
          <ac:cxnSpMkLst>
            <pc:docMk/>
            <pc:sldMk cId="0" sldId="281"/>
            <ac:cxnSpMk id="5" creationId="{AF8B9EEE-1DAD-3659-6C73-3EE13E344362}"/>
          </ac:cxnSpMkLst>
        </pc:cxnChg>
      </pc:sldChg>
      <pc:sldChg chg="addSp delSp modSp mod modClrScheme chgLayout">
        <pc:chgData name="Deimonmi Nongrum [Chillibreeze]" userId="e937f645-8c95-42a9-a298-dfd645e9a76a" providerId="ADAL" clId="{750E9A50-ACEA-48D3-B2C6-355D5EC56876}" dt="2024-06-13T10:55:46.592" v="2879" actId="299"/>
        <pc:sldMkLst>
          <pc:docMk/>
          <pc:sldMk cId="0" sldId="282"/>
        </pc:sldMkLst>
        <pc:spChg chg="add mod">
          <ac:chgData name="Deimonmi Nongrum [Chillibreeze]" userId="e937f645-8c95-42a9-a298-dfd645e9a76a" providerId="ADAL" clId="{750E9A50-ACEA-48D3-B2C6-355D5EC56876}" dt="2024-06-12T03:56:07.865" v="32"/>
          <ac:spMkLst>
            <pc:docMk/>
            <pc:sldMk cId="0" sldId="282"/>
            <ac:spMk id="2" creationId="{08C437D1-7A40-24F6-D8D8-ABCCDBCB5786}"/>
          </ac:spMkLst>
        </pc:spChg>
        <pc:spChg chg="add del mod">
          <ac:chgData name="Deimonmi Nongrum [Chillibreeze]" userId="e937f645-8c95-42a9-a298-dfd645e9a76a" providerId="ADAL" clId="{750E9A50-ACEA-48D3-B2C6-355D5EC56876}" dt="2024-06-13T10:54:50.850" v="2836" actId="6264"/>
          <ac:spMkLst>
            <pc:docMk/>
            <pc:sldMk cId="0" sldId="282"/>
            <ac:spMk id="2" creationId="{43DDFE30-FEB1-519C-F95A-2DF5BCF6B963}"/>
          </ac:spMkLst>
        </pc:spChg>
        <pc:spChg chg="add del mod">
          <ac:chgData name="Deimonmi Nongrum [Chillibreeze]" userId="e937f645-8c95-42a9-a298-dfd645e9a76a" providerId="ADAL" clId="{750E9A50-ACEA-48D3-B2C6-355D5EC56876}" dt="2024-06-13T10:55:03.987" v="2842" actId="21"/>
          <ac:spMkLst>
            <pc:docMk/>
            <pc:sldMk cId="0" sldId="282"/>
            <ac:spMk id="3" creationId="{A3503301-F533-6AFD-C61B-2A65BAB798E4}"/>
          </ac:spMkLst>
        </pc:spChg>
        <pc:spChg chg="add del mod">
          <ac:chgData name="Deimonmi Nongrum [Chillibreeze]" userId="e937f645-8c95-42a9-a298-dfd645e9a76a" providerId="ADAL" clId="{750E9A50-ACEA-48D3-B2C6-355D5EC56876}" dt="2024-06-13T10:55:12.392" v="2844" actId="478"/>
          <ac:spMkLst>
            <pc:docMk/>
            <pc:sldMk cId="0" sldId="282"/>
            <ac:spMk id="4" creationId="{A3503301-F533-6AFD-C61B-2A65BAB798E4}"/>
          </ac:spMkLst>
        </pc:spChg>
        <pc:spChg chg="mod ord">
          <ac:chgData name="Deimonmi Nongrum [Chillibreeze]" userId="e937f645-8c95-42a9-a298-dfd645e9a76a" providerId="ADAL" clId="{750E9A50-ACEA-48D3-B2C6-355D5EC56876}" dt="2024-06-13T10:54:26.882" v="2796" actId="167"/>
          <ac:spMkLst>
            <pc:docMk/>
            <pc:sldMk cId="0" sldId="282"/>
            <ac:spMk id="23" creationId="{894DF438-7408-F4C8-2A73-91B004F9ED0F}"/>
          </ac:spMkLst>
        </pc:spChg>
        <pc:spChg chg="mod ord">
          <ac:chgData name="Deimonmi Nongrum [Chillibreeze]" userId="e937f645-8c95-42a9-a298-dfd645e9a76a" providerId="ADAL" clId="{750E9A50-ACEA-48D3-B2C6-355D5EC56876}" dt="2024-06-13T10:54:26.882" v="2796" actId="167"/>
          <ac:spMkLst>
            <pc:docMk/>
            <pc:sldMk cId="0" sldId="282"/>
            <ac:spMk id="24" creationId="{5B5005E9-FD72-E2B8-F28F-936F050676B2}"/>
          </ac:spMkLst>
        </pc:spChg>
        <pc:spChg chg="mod ord">
          <ac:chgData name="Deimonmi Nongrum [Chillibreeze]" userId="e937f645-8c95-42a9-a298-dfd645e9a76a" providerId="ADAL" clId="{750E9A50-ACEA-48D3-B2C6-355D5EC56876}" dt="2024-06-13T10:54:26.882" v="2796" actId="167"/>
          <ac:spMkLst>
            <pc:docMk/>
            <pc:sldMk cId="0" sldId="282"/>
            <ac:spMk id="25" creationId="{735D2B41-8741-E9E6-EA01-4F4CF6D0F255}"/>
          </ac:spMkLst>
        </pc:spChg>
        <pc:spChg chg="mod ord">
          <ac:chgData name="Deimonmi Nongrum [Chillibreeze]" userId="e937f645-8c95-42a9-a298-dfd645e9a76a" providerId="ADAL" clId="{750E9A50-ACEA-48D3-B2C6-355D5EC56876}" dt="2024-06-13T10:54:26.882" v="2796" actId="167"/>
          <ac:spMkLst>
            <pc:docMk/>
            <pc:sldMk cId="0" sldId="282"/>
            <ac:spMk id="29" creationId="{23FACB9F-DF7C-02EB-0484-12F92DF60380}"/>
          </ac:spMkLst>
        </pc:spChg>
        <pc:spChg chg="mod ord">
          <ac:chgData name="Deimonmi Nongrum [Chillibreeze]" userId="e937f645-8c95-42a9-a298-dfd645e9a76a" providerId="ADAL" clId="{750E9A50-ACEA-48D3-B2C6-355D5EC56876}" dt="2024-06-13T10:55:46.592" v="2879" actId="299"/>
          <ac:spMkLst>
            <pc:docMk/>
            <pc:sldMk cId="0" sldId="282"/>
            <ac:spMk id="35" creationId="{D4C33E14-F434-2581-BC56-8E1C3AC197F3}"/>
          </ac:spMkLst>
        </pc:spChg>
        <pc:spChg chg="mod ord">
          <ac:chgData name="Deimonmi Nongrum [Chillibreeze]" userId="e937f645-8c95-42a9-a298-dfd645e9a76a" providerId="ADAL" clId="{750E9A50-ACEA-48D3-B2C6-355D5EC56876}" dt="2024-06-13T10:54:26.882" v="2796" actId="167"/>
          <ac:spMkLst>
            <pc:docMk/>
            <pc:sldMk cId="0" sldId="282"/>
            <ac:spMk id="37" creationId="{A83DE006-9F87-DB91-374B-028D251E92FF}"/>
          </ac:spMkLst>
        </pc:spChg>
        <pc:spChg chg="ord">
          <ac:chgData name="Deimonmi Nongrum [Chillibreeze]" userId="e937f645-8c95-42a9-a298-dfd645e9a76a" providerId="ADAL" clId="{750E9A50-ACEA-48D3-B2C6-355D5EC56876}" dt="2024-06-13T10:54:32.869" v="2803"/>
          <ac:spMkLst>
            <pc:docMk/>
            <pc:sldMk cId="0" sldId="282"/>
            <ac:spMk id="38" creationId="{3BF8F80A-C5FA-F26D-16E9-F2E94BA7DAFE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82"/>
            <ac:spMk id="4531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82"/>
            <ac:spMk id="4533" creationId="{00000000-0000-0000-0000-000000000000}"/>
          </ac:spMkLst>
        </pc:spChg>
        <pc:grpChg chg="mod ord">
          <ac:chgData name="Deimonmi Nongrum [Chillibreeze]" userId="e937f645-8c95-42a9-a298-dfd645e9a76a" providerId="ADAL" clId="{750E9A50-ACEA-48D3-B2C6-355D5EC56876}" dt="2024-06-13T10:54:26.882" v="2796" actId="167"/>
          <ac:grpSpMkLst>
            <pc:docMk/>
            <pc:sldMk cId="0" sldId="282"/>
            <ac:grpSpMk id="26" creationId="{20498451-48B1-269A-63B4-4D08BACA1550}"/>
          </ac:grpSpMkLst>
        </pc:grpChg>
        <pc:grpChg chg="mod ord">
          <ac:chgData name="Deimonmi Nongrum [Chillibreeze]" userId="e937f645-8c95-42a9-a298-dfd645e9a76a" providerId="ADAL" clId="{750E9A50-ACEA-48D3-B2C6-355D5EC56876}" dt="2024-06-13T10:54:26.882" v="2796" actId="167"/>
          <ac:grpSpMkLst>
            <pc:docMk/>
            <pc:sldMk cId="0" sldId="282"/>
            <ac:grpSpMk id="31" creationId="{2210D7BF-78D5-4026-697C-A56272BEBF96}"/>
          </ac:grpSpMkLst>
        </pc:grpChg>
        <pc:picChg chg="mod ord">
          <ac:chgData name="Deimonmi Nongrum [Chillibreeze]" userId="e937f645-8c95-42a9-a298-dfd645e9a76a" providerId="ADAL" clId="{750E9A50-ACEA-48D3-B2C6-355D5EC56876}" dt="2024-06-13T10:54:26.882" v="2796" actId="167"/>
          <ac:picMkLst>
            <pc:docMk/>
            <pc:sldMk cId="0" sldId="282"/>
            <ac:picMk id="30" creationId="{1A07DE57-3CB8-00F6-A50D-31B78DCF10E6}"/>
          </ac:picMkLst>
        </pc:picChg>
        <pc:picChg chg="mod ord">
          <ac:chgData name="Deimonmi Nongrum [Chillibreeze]" userId="e937f645-8c95-42a9-a298-dfd645e9a76a" providerId="ADAL" clId="{750E9A50-ACEA-48D3-B2C6-355D5EC56876}" dt="2024-06-13T10:54:40.490" v="2835" actId="962"/>
          <ac:picMkLst>
            <pc:docMk/>
            <pc:sldMk cId="0" sldId="282"/>
            <ac:picMk id="40" creationId="{9E4E6ACC-6EF4-8E72-CB89-5AACA2939B19}"/>
          </ac:picMkLst>
        </pc:picChg>
      </pc:sldChg>
      <pc:sldChg chg="addSp delSp modSp mod modClrScheme chgLayout">
        <pc:chgData name="Deimonmi Nongrum [Chillibreeze]" userId="e937f645-8c95-42a9-a298-dfd645e9a76a" providerId="ADAL" clId="{750E9A50-ACEA-48D3-B2C6-355D5EC56876}" dt="2024-06-13T12:09:06.880" v="4234" actId="962"/>
        <pc:sldMkLst>
          <pc:docMk/>
          <pc:sldMk cId="0" sldId="283"/>
        </pc:sldMkLst>
        <pc:spChg chg="add del mod">
          <ac:chgData name="Deimonmi Nongrum [Chillibreeze]" userId="e937f645-8c95-42a9-a298-dfd645e9a76a" providerId="ADAL" clId="{750E9A50-ACEA-48D3-B2C6-355D5EC56876}" dt="2024-06-13T10:56:01.202" v="2880" actId="478"/>
          <ac:spMkLst>
            <pc:docMk/>
            <pc:sldMk cId="0" sldId="283"/>
            <ac:spMk id="2" creationId="{40F9961E-256C-F591-8A05-9FF213F128AE}"/>
          </ac:spMkLst>
        </pc:spChg>
        <pc:spChg chg="add mod">
          <ac:chgData name="Deimonmi Nongrum [Chillibreeze]" userId="e937f645-8c95-42a9-a298-dfd645e9a76a" providerId="ADAL" clId="{750E9A50-ACEA-48D3-B2C6-355D5EC56876}" dt="2024-06-12T03:56:09.075" v="33"/>
          <ac:spMkLst>
            <pc:docMk/>
            <pc:sldMk cId="0" sldId="283"/>
            <ac:spMk id="2" creationId="{D3C206CB-76CF-51C2-2A8D-03CBCD5777A8}"/>
          </ac:spMkLst>
        </pc:spChg>
        <pc:spChg chg="add del mod">
          <ac:chgData name="Deimonmi Nongrum [Chillibreeze]" userId="e937f645-8c95-42a9-a298-dfd645e9a76a" providerId="ADAL" clId="{750E9A50-ACEA-48D3-B2C6-355D5EC56876}" dt="2024-06-13T10:55:25.444" v="2848" actId="6264"/>
          <ac:spMkLst>
            <pc:docMk/>
            <pc:sldMk cId="0" sldId="283"/>
            <ac:spMk id="3" creationId="{7CD2CF5D-2BCF-1AB5-CD74-6128D0EA21F6}"/>
          </ac:spMkLst>
        </pc:spChg>
        <pc:spChg chg="add del mod ord">
          <ac:chgData name="Deimonmi Nongrum [Chillibreeze]" userId="e937f645-8c95-42a9-a298-dfd645e9a76a" providerId="ADAL" clId="{750E9A50-ACEA-48D3-B2C6-355D5EC56876}" dt="2024-06-13T10:55:29.826" v="2851" actId="6264"/>
          <ac:spMkLst>
            <pc:docMk/>
            <pc:sldMk cId="0" sldId="283"/>
            <ac:spMk id="4" creationId="{101466AC-6519-F8E4-302F-4A5D26B7A023}"/>
          </ac:spMkLst>
        </pc:spChg>
        <pc:spChg chg="mod ord">
          <ac:chgData name="Deimonmi Nongrum [Chillibreeze]" userId="e937f645-8c95-42a9-a298-dfd645e9a76a" providerId="ADAL" clId="{750E9A50-ACEA-48D3-B2C6-355D5EC56876}" dt="2024-06-13T10:56:27.493" v="2884" actId="167"/>
          <ac:spMkLst>
            <pc:docMk/>
            <pc:sldMk cId="0" sldId="283"/>
            <ac:spMk id="5" creationId="{151B6B05-27DB-2A8A-F9CA-4A277B2DEC13}"/>
          </ac:spMkLst>
        </pc:spChg>
        <pc:spChg chg="mod ord">
          <ac:chgData name="Deimonmi Nongrum [Chillibreeze]" userId="e937f645-8c95-42a9-a298-dfd645e9a76a" providerId="ADAL" clId="{750E9A50-ACEA-48D3-B2C6-355D5EC56876}" dt="2024-06-13T10:56:27.493" v="2884" actId="167"/>
          <ac:spMkLst>
            <pc:docMk/>
            <pc:sldMk cId="0" sldId="283"/>
            <ac:spMk id="6" creationId="{7F4980D3-88D0-0358-93E3-B299B216F113}"/>
          </ac:spMkLst>
        </pc:spChg>
        <pc:spChg chg="mod ord">
          <ac:chgData name="Deimonmi Nongrum [Chillibreeze]" userId="e937f645-8c95-42a9-a298-dfd645e9a76a" providerId="ADAL" clId="{750E9A50-ACEA-48D3-B2C6-355D5EC56876}" dt="2024-06-13T10:56:27.493" v="2884" actId="167"/>
          <ac:spMkLst>
            <pc:docMk/>
            <pc:sldMk cId="0" sldId="283"/>
            <ac:spMk id="7" creationId="{C92A4EF7-CCE8-0412-17F3-B7F4E309EB5D}"/>
          </ac:spMkLst>
        </pc:spChg>
        <pc:spChg chg="mod ord">
          <ac:chgData name="Deimonmi Nongrum [Chillibreeze]" userId="e937f645-8c95-42a9-a298-dfd645e9a76a" providerId="ADAL" clId="{750E9A50-ACEA-48D3-B2C6-355D5EC56876}" dt="2024-06-13T10:56:27.493" v="2884" actId="167"/>
          <ac:spMkLst>
            <pc:docMk/>
            <pc:sldMk cId="0" sldId="283"/>
            <ac:spMk id="11" creationId="{16CED005-4E87-21F5-4CE6-09D2D067EEE8}"/>
          </ac:spMkLst>
        </pc:spChg>
        <pc:spChg chg="add del mod ord">
          <ac:chgData name="Deimonmi Nongrum [Chillibreeze]" userId="e937f645-8c95-42a9-a298-dfd645e9a76a" providerId="ADAL" clId="{750E9A50-ACEA-48D3-B2C6-355D5EC56876}" dt="2024-06-13T10:55:30.023" v="2852" actId="6264"/>
          <ac:spMkLst>
            <pc:docMk/>
            <pc:sldMk cId="0" sldId="283"/>
            <ac:spMk id="16" creationId="{479278F0-A008-3CBF-5FD7-7C34D4E3D984}"/>
          </ac:spMkLst>
        </pc:spChg>
        <pc:spChg chg="mod ord">
          <ac:chgData name="Deimonmi Nongrum [Chillibreeze]" userId="e937f645-8c95-42a9-a298-dfd645e9a76a" providerId="ADAL" clId="{750E9A50-ACEA-48D3-B2C6-355D5EC56876}" dt="2024-06-13T10:56:27.493" v="2884" actId="167"/>
          <ac:spMkLst>
            <pc:docMk/>
            <pc:sldMk cId="0" sldId="283"/>
            <ac:spMk id="17" creationId="{5FB698BC-C9AB-707C-DE52-5695F57411B9}"/>
          </ac:spMkLst>
        </pc:spChg>
        <pc:spChg chg="ord">
          <ac:chgData name="Deimonmi Nongrum [Chillibreeze]" userId="e937f645-8c95-42a9-a298-dfd645e9a76a" providerId="ADAL" clId="{750E9A50-ACEA-48D3-B2C6-355D5EC56876}" dt="2024-06-13T10:56:33.653" v="2892"/>
          <ac:spMkLst>
            <pc:docMk/>
            <pc:sldMk cId="0" sldId="283"/>
            <ac:spMk id="18" creationId="{E998B36D-62C2-D2F9-2732-A8A1DE851393}"/>
          </ac:spMkLst>
        </pc:spChg>
        <pc:spChg chg="add del mod ord">
          <ac:chgData name="Deimonmi Nongrum [Chillibreeze]" userId="e937f645-8c95-42a9-a298-dfd645e9a76a" providerId="ADAL" clId="{750E9A50-ACEA-48D3-B2C6-355D5EC56876}" dt="2024-06-13T10:55:30.145" v="2853" actId="6264"/>
          <ac:spMkLst>
            <pc:docMk/>
            <pc:sldMk cId="0" sldId="283"/>
            <ac:spMk id="20" creationId="{C435C55D-4925-6A69-E25C-CD8416ABD657}"/>
          </ac:spMkLst>
        </pc:spChg>
        <pc:spChg chg="del mod ord">
          <ac:chgData name="Deimonmi Nongrum [Chillibreeze]" userId="e937f645-8c95-42a9-a298-dfd645e9a76a" providerId="ADAL" clId="{750E9A50-ACEA-48D3-B2C6-355D5EC56876}" dt="2024-06-13T10:55:29.649" v="2850" actId="6264"/>
          <ac:spMkLst>
            <pc:docMk/>
            <pc:sldMk cId="0" sldId="283"/>
            <ac:spMk id="21" creationId="{AC2AA5CD-1100-269C-4D75-66787C793D3C}"/>
          </ac:spMkLst>
        </pc:spChg>
        <pc:spChg chg="add mod ord">
          <ac:chgData name="Deimonmi Nongrum [Chillibreeze]" userId="e937f645-8c95-42a9-a298-dfd645e9a76a" providerId="ADAL" clId="{750E9A50-ACEA-48D3-B2C6-355D5EC56876}" dt="2024-06-13T10:56:31.651" v="2890"/>
          <ac:spMkLst>
            <pc:docMk/>
            <pc:sldMk cId="0" sldId="283"/>
            <ac:spMk id="22" creationId="{8645B82C-A306-CCBC-0713-411BF6699FE8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83"/>
            <ac:spMk id="4544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83"/>
            <ac:spMk id="4546" creationId="{00000000-0000-0000-0000-000000000000}"/>
          </ac:spMkLst>
        </pc:spChg>
        <pc:grpChg chg="mod ord">
          <ac:chgData name="Deimonmi Nongrum [Chillibreeze]" userId="e937f645-8c95-42a9-a298-dfd645e9a76a" providerId="ADAL" clId="{750E9A50-ACEA-48D3-B2C6-355D5EC56876}" dt="2024-06-13T10:56:27.493" v="2884" actId="167"/>
          <ac:grpSpMkLst>
            <pc:docMk/>
            <pc:sldMk cId="0" sldId="283"/>
            <ac:grpSpMk id="8" creationId="{03CC77B8-8068-475D-3C4C-B2BDC5E1921F}"/>
          </ac:grpSpMkLst>
        </pc:grpChg>
        <pc:grpChg chg="mod ord">
          <ac:chgData name="Deimonmi Nongrum [Chillibreeze]" userId="e937f645-8c95-42a9-a298-dfd645e9a76a" providerId="ADAL" clId="{750E9A50-ACEA-48D3-B2C6-355D5EC56876}" dt="2024-06-13T10:56:27.493" v="2884" actId="167"/>
          <ac:grpSpMkLst>
            <pc:docMk/>
            <pc:sldMk cId="0" sldId="283"/>
            <ac:grpSpMk id="12" creationId="{F50CF7BD-81B2-FA1C-8AA6-D1E4E76C8AED}"/>
          </ac:grpSpMkLst>
        </pc:grpChg>
        <pc:picChg chg="mod ord">
          <ac:chgData name="Deimonmi Nongrum [Chillibreeze]" userId="e937f645-8c95-42a9-a298-dfd645e9a76a" providerId="ADAL" clId="{750E9A50-ACEA-48D3-B2C6-355D5EC56876}" dt="2024-06-13T10:56:27.493" v="2884" actId="167"/>
          <ac:picMkLst>
            <pc:docMk/>
            <pc:sldMk cId="0" sldId="283"/>
            <ac:picMk id="19" creationId="{7457F8DD-9A51-C356-66CE-8E0181045615}"/>
          </ac:picMkLst>
        </pc:picChg>
        <pc:picChg chg="mod ord">
          <ac:chgData name="Deimonmi Nongrum [Chillibreeze]" userId="e937f645-8c95-42a9-a298-dfd645e9a76a" providerId="ADAL" clId="{750E9A50-ACEA-48D3-B2C6-355D5EC56876}" dt="2024-06-13T12:09:06.880" v="4234" actId="962"/>
          <ac:picMkLst>
            <pc:docMk/>
            <pc:sldMk cId="0" sldId="283"/>
            <ac:picMk id="26" creationId="{6171C311-B2AF-1E21-6A39-5A851F6563BF}"/>
          </ac:picMkLst>
        </pc:picChg>
      </pc:sldChg>
      <pc:sldChg chg="addSp delSp modSp mod modClrScheme chgLayout">
        <pc:chgData name="Deimonmi Nongrum [Chillibreeze]" userId="e937f645-8c95-42a9-a298-dfd645e9a76a" providerId="ADAL" clId="{750E9A50-ACEA-48D3-B2C6-355D5EC56876}" dt="2024-06-13T12:12:29.682" v="4548" actId="962"/>
        <pc:sldMkLst>
          <pc:docMk/>
          <pc:sldMk cId="0" sldId="284"/>
        </pc:sldMkLst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84"/>
            <ac:spMk id="2" creationId="{5936A221-99AF-82C4-1FB3-E5B4815CDF04}"/>
          </ac:spMkLst>
        </pc:spChg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284"/>
            <ac:spMk id="2" creationId="{BFAD0BC2-36A3-6687-D93E-3CE22B11E500}"/>
          </ac:spMkLst>
        </pc:spChg>
        <pc:spChg chg="add mod">
          <ac:chgData name="Deimonmi Nongrum [Chillibreeze]" userId="e937f645-8c95-42a9-a298-dfd645e9a76a" providerId="ADAL" clId="{750E9A50-ACEA-48D3-B2C6-355D5EC56876}" dt="2024-06-12T03:56:11.414" v="34"/>
          <ac:spMkLst>
            <pc:docMk/>
            <pc:sldMk cId="0" sldId="284"/>
            <ac:spMk id="3" creationId="{64D04133-B5CD-97D1-07E4-C74B493D262E}"/>
          </ac:spMkLst>
        </pc:spChg>
        <pc:spChg chg="ord">
          <ac:chgData name="Deimonmi Nongrum [Chillibreeze]" userId="e937f645-8c95-42a9-a298-dfd645e9a76a" providerId="ADAL" clId="{750E9A50-ACEA-48D3-B2C6-355D5EC56876}" dt="2024-06-13T10:57:11.006" v="2900" actId="167"/>
          <ac:spMkLst>
            <pc:docMk/>
            <pc:sldMk cId="0" sldId="284"/>
            <ac:spMk id="4" creationId="{30F67B84-ED86-BD7D-49A6-3BED13966F83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84"/>
            <ac:spMk id="4" creationId="{D7B34FB4-7E91-FE60-E6A7-4EF7EACB39C1}"/>
          </ac:spMkLst>
        </pc:spChg>
        <pc:spChg chg="ord">
          <ac:chgData name="Deimonmi Nongrum [Chillibreeze]" userId="e937f645-8c95-42a9-a298-dfd645e9a76a" providerId="ADAL" clId="{750E9A50-ACEA-48D3-B2C6-355D5EC56876}" dt="2024-06-13T10:57:11.006" v="2900" actId="167"/>
          <ac:spMkLst>
            <pc:docMk/>
            <pc:sldMk cId="0" sldId="284"/>
            <ac:spMk id="5" creationId="{13FB194F-54E5-5C65-E89B-6D6E78A289F6}"/>
          </ac:spMkLst>
        </pc:spChg>
        <pc:spChg chg="ord">
          <ac:chgData name="Deimonmi Nongrum [Chillibreeze]" userId="e937f645-8c95-42a9-a298-dfd645e9a76a" providerId="ADAL" clId="{750E9A50-ACEA-48D3-B2C6-355D5EC56876}" dt="2024-06-13T10:57:11.006" v="2900" actId="167"/>
          <ac:spMkLst>
            <pc:docMk/>
            <pc:sldMk cId="0" sldId="284"/>
            <ac:spMk id="6" creationId="{08ADCAAD-ADA6-7B9F-FF6B-B64920418A02}"/>
          </ac:spMkLst>
        </pc:spChg>
        <pc:spChg chg="mod ord">
          <ac:chgData name="Deimonmi Nongrum [Chillibreeze]" userId="e937f645-8c95-42a9-a298-dfd645e9a76a" providerId="ADAL" clId="{750E9A50-ACEA-48D3-B2C6-355D5EC56876}" dt="2024-06-13T12:03:51.783" v="4055" actId="20577"/>
          <ac:spMkLst>
            <pc:docMk/>
            <pc:sldMk cId="0" sldId="284"/>
            <ac:spMk id="15" creationId="{662DA307-3A2E-124A-75A9-9BE0AD291E51}"/>
          </ac:spMkLst>
        </pc:spChg>
        <pc:grpChg chg="ord">
          <ac:chgData name="Deimonmi Nongrum [Chillibreeze]" userId="e937f645-8c95-42a9-a298-dfd645e9a76a" providerId="ADAL" clId="{750E9A50-ACEA-48D3-B2C6-355D5EC56876}" dt="2024-06-13T10:57:11.006" v="2900" actId="167"/>
          <ac:grpSpMkLst>
            <pc:docMk/>
            <pc:sldMk cId="0" sldId="284"/>
            <ac:grpSpMk id="11" creationId="{990871C5-85F2-15DB-16EF-15260937F708}"/>
          </ac:grpSpMkLst>
        </pc:grpChg>
        <pc:grpChg chg="mod ord">
          <ac:chgData name="Deimonmi Nongrum [Chillibreeze]" userId="e937f645-8c95-42a9-a298-dfd645e9a76a" providerId="ADAL" clId="{750E9A50-ACEA-48D3-B2C6-355D5EC56876}" dt="2024-06-13T12:12:29.682" v="4548" actId="962"/>
          <ac:grpSpMkLst>
            <pc:docMk/>
            <pc:sldMk cId="0" sldId="284"/>
            <ac:grpSpMk id="32" creationId="{4D61A36F-A021-5792-82BD-E0A6466CF039}"/>
          </ac:grpSpMkLst>
        </pc:grpChg>
        <pc:picChg chg="ord">
          <ac:chgData name="Deimonmi Nongrum [Chillibreeze]" userId="e937f645-8c95-42a9-a298-dfd645e9a76a" providerId="ADAL" clId="{750E9A50-ACEA-48D3-B2C6-355D5EC56876}" dt="2024-06-13T10:57:11.006" v="2900" actId="167"/>
          <ac:picMkLst>
            <pc:docMk/>
            <pc:sldMk cId="0" sldId="284"/>
            <ac:picMk id="18" creationId="{A617897A-BE7C-796A-423D-9E598E431790}"/>
          </ac:picMkLst>
        </pc:picChg>
      </pc:sldChg>
      <pc:sldChg chg="addSp delSp modSp mod modClrScheme chgLayout">
        <pc:chgData name="Deimonmi Nongrum [Chillibreeze]" userId="e937f645-8c95-42a9-a298-dfd645e9a76a" providerId="ADAL" clId="{750E9A50-ACEA-48D3-B2C6-355D5EC56876}" dt="2024-06-13T10:58:43.111" v="3025" actId="962"/>
        <pc:sldMkLst>
          <pc:docMk/>
          <pc:sldMk cId="0" sldId="285"/>
        </pc:sldMkLst>
        <pc:spChg chg="add del mod">
          <ac:chgData name="Deimonmi Nongrum [Chillibreeze]" userId="e937f645-8c95-42a9-a298-dfd645e9a76a" providerId="ADAL" clId="{750E9A50-ACEA-48D3-B2C6-355D5EC56876}" dt="2024-06-13T03:30:32.421" v="497" actId="478"/>
          <ac:spMkLst>
            <pc:docMk/>
            <pc:sldMk cId="0" sldId="285"/>
            <ac:spMk id="2" creationId="{4D4AA768-D322-E80D-80A2-B4578EDA74F4}"/>
          </ac:spMkLst>
        </pc:spChg>
        <pc:spChg chg="add del mod">
          <ac:chgData name="Deimonmi Nongrum [Chillibreeze]" userId="e937f645-8c95-42a9-a298-dfd645e9a76a" providerId="ADAL" clId="{750E9A50-ACEA-48D3-B2C6-355D5EC56876}" dt="2024-06-13T03:27:44.318" v="464" actId="6264"/>
          <ac:spMkLst>
            <pc:docMk/>
            <pc:sldMk cId="0" sldId="285"/>
            <ac:spMk id="3" creationId="{024ABF71-A12D-F011-BF74-3C3DA502BF75}"/>
          </ac:spMkLst>
        </pc:spChg>
        <pc:spChg chg="add del mod">
          <ac:chgData name="Deimonmi Nongrum [Chillibreeze]" userId="e937f645-8c95-42a9-a298-dfd645e9a76a" providerId="ADAL" clId="{750E9A50-ACEA-48D3-B2C6-355D5EC56876}" dt="2024-06-13T03:27:44.490" v="465" actId="6264"/>
          <ac:spMkLst>
            <pc:docMk/>
            <pc:sldMk cId="0" sldId="285"/>
            <ac:spMk id="4" creationId="{FA1386C1-7334-9F1E-E9FB-4C72397B3AF8}"/>
          </ac:spMkLst>
        </pc:spChg>
        <pc:spChg chg="add del mod">
          <ac:chgData name="Deimonmi Nongrum [Chillibreeze]" userId="e937f645-8c95-42a9-a298-dfd645e9a76a" providerId="ADAL" clId="{750E9A50-ACEA-48D3-B2C6-355D5EC56876}" dt="2024-06-13T03:27:44.663" v="466" actId="6264"/>
          <ac:spMkLst>
            <pc:docMk/>
            <pc:sldMk cId="0" sldId="285"/>
            <ac:spMk id="5" creationId="{AF8A3DE9-1484-2876-EA2C-B0F19548A63F}"/>
          </ac:spMkLst>
        </pc:spChg>
        <pc:spChg chg="add del mod">
          <ac:chgData name="Deimonmi Nongrum [Chillibreeze]" userId="e937f645-8c95-42a9-a298-dfd645e9a76a" providerId="ADAL" clId="{750E9A50-ACEA-48D3-B2C6-355D5EC56876}" dt="2024-06-13T03:27:44.851" v="467" actId="6264"/>
          <ac:spMkLst>
            <pc:docMk/>
            <pc:sldMk cId="0" sldId="285"/>
            <ac:spMk id="6" creationId="{B91350D7-004B-3E94-1E01-061B8C9FC102}"/>
          </ac:spMkLst>
        </pc:spChg>
        <pc:spChg chg="add del mod">
          <ac:chgData name="Deimonmi Nongrum [Chillibreeze]" userId="e937f645-8c95-42a9-a298-dfd645e9a76a" providerId="ADAL" clId="{750E9A50-ACEA-48D3-B2C6-355D5EC56876}" dt="2024-06-13T03:27:45.024" v="468" actId="6264"/>
          <ac:spMkLst>
            <pc:docMk/>
            <pc:sldMk cId="0" sldId="285"/>
            <ac:spMk id="7" creationId="{65EB01E5-34A1-422A-FC33-643DDBD7FC08}"/>
          </ac:spMkLst>
        </pc:spChg>
        <pc:spChg chg="add del mod">
          <ac:chgData name="Deimonmi Nongrum [Chillibreeze]" userId="e937f645-8c95-42a9-a298-dfd645e9a76a" providerId="ADAL" clId="{750E9A50-ACEA-48D3-B2C6-355D5EC56876}" dt="2024-06-13T03:27:45.197" v="469" actId="6264"/>
          <ac:spMkLst>
            <pc:docMk/>
            <pc:sldMk cId="0" sldId="285"/>
            <ac:spMk id="8" creationId="{78A23BC4-7820-CE2E-66A0-9344782DD5F1}"/>
          </ac:spMkLst>
        </pc:spChg>
        <pc:spChg chg="add del mod">
          <ac:chgData name="Deimonmi Nongrum [Chillibreeze]" userId="e937f645-8c95-42a9-a298-dfd645e9a76a" providerId="ADAL" clId="{750E9A50-ACEA-48D3-B2C6-355D5EC56876}" dt="2024-06-13T03:27:45.354" v="470" actId="6264"/>
          <ac:spMkLst>
            <pc:docMk/>
            <pc:sldMk cId="0" sldId="285"/>
            <ac:spMk id="9" creationId="{118F4A92-9438-1B4A-F95E-93E90DC07795}"/>
          </ac:spMkLst>
        </pc:spChg>
        <pc:spChg chg="add del mod ord">
          <ac:chgData name="Deimonmi Nongrum [Chillibreeze]" userId="e937f645-8c95-42a9-a298-dfd645e9a76a" providerId="ADAL" clId="{750E9A50-ACEA-48D3-B2C6-355D5EC56876}" dt="2024-06-13T03:27:48.561" v="473" actId="6264"/>
          <ac:spMkLst>
            <pc:docMk/>
            <pc:sldMk cId="0" sldId="285"/>
            <ac:spMk id="10" creationId="{859C5C50-137F-06E7-9AF1-9163ED1F4D3C}"/>
          </ac:spMkLst>
        </pc:spChg>
        <pc:spChg chg="add del mod ord">
          <ac:chgData name="Deimonmi Nongrum [Chillibreeze]" userId="e937f645-8c95-42a9-a298-dfd645e9a76a" providerId="ADAL" clId="{750E9A50-ACEA-48D3-B2C6-355D5EC56876}" dt="2024-06-13T03:27:48.734" v="474" actId="6264"/>
          <ac:spMkLst>
            <pc:docMk/>
            <pc:sldMk cId="0" sldId="285"/>
            <ac:spMk id="11" creationId="{C705885D-BA35-C979-0EE9-0146CBC3A3E7}"/>
          </ac:spMkLst>
        </pc:spChg>
        <pc:spChg chg="add del mod ord">
          <ac:chgData name="Deimonmi Nongrum [Chillibreeze]" userId="e937f645-8c95-42a9-a298-dfd645e9a76a" providerId="ADAL" clId="{750E9A50-ACEA-48D3-B2C6-355D5EC56876}" dt="2024-06-13T03:27:48.921" v="475" actId="6264"/>
          <ac:spMkLst>
            <pc:docMk/>
            <pc:sldMk cId="0" sldId="285"/>
            <ac:spMk id="12" creationId="{58BF7E8C-A2B6-2F7F-B397-338303A04E9A}"/>
          </ac:spMkLst>
        </pc:spChg>
        <pc:spChg chg="add del mod ord">
          <ac:chgData name="Deimonmi Nongrum [Chillibreeze]" userId="e937f645-8c95-42a9-a298-dfd645e9a76a" providerId="ADAL" clId="{750E9A50-ACEA-48D3-B2C6-355D5EC56876}" dt="2024-06-13T03:27:49.078" v="476" actId="6264"/>
          <ac:spMkLst>
            <pc:docMk/>
            <pc:sldMk cId="0" sldId="285"/>
            <ac:spMk id="13" creationId="{BA2FED47-2C4C-2EA7-0D47-81495EF94D12}"/>
          </ac:spMkLst>
        </pc:spChg>
        <pc:spChg chg="add mod ord">
          <ac:chgData name="Deimonmi Nongrum [Chillibreeze]" userId="e937f645-8c95-42a9-a298-dfd645e9a76a" providerId="ADAL" clId="{750E9A50-ACEA-48D3-B2C6-355D5EC56876}" dt="2024-06-13T10:57:35.050" v="2917"/>
          <ac:spMkLst>
            <pc:docMk/>
            <pc:sldMk cId="0" sldId="285"/>
            <ac:spMk id="14" creationId="{94EB06B4-162E-D0FA-D854-DC430BE8D3E6}"/>
          </ac:spMkLst>
        </pc:spChg>
        <pc:spChg chg="add del mod">
          <ac:chgData name="Deimonmi Nongrum [Chillibreeze]" userId="e937f645-8c95-42a9-a298-dfd645e9a76a" providerId="ADAL" clId="{750E9A50-ACEA-48D3-B2C6-355D5EC56876}" dt="2024-06-13T03:30:54.095" v="503" actId="478"/>
          <ac:spMkLst>
            <pc:docMk/>
            <pc:sldMk cId="0" sldId="285"/>
            <ac:spMk id="16" creationId="{16740F18-3C5B-0856-276A-5DE888CD036F}"/>
          </ac:spMkLst>
        </pc:spChg>
        <pc:spChg chg="add del mod">
          <ac:chgData name="Deimonmi Nongrum [Chillibreeze]" userId="e937f645-8c95-42a9-a298-dfd645e9a76a" providerId="ADAL" clId="{750E9A50-ACEA-48D3-B2C6-355D5EC56876}" dt="2024-06-13T03:30:51.990" v="502" actId="21"/>
          <ac:spMkLst>
            <pc:docMk/>
            <pc:sldMk cId="0" sldId="285"/>
            <ac:spMk id="20" creationId="{20F8AA2B-47BB-DE38-9C9B-97F22D7C6773}"/>
          </ac:spMkLst>
        </pc:spChg>
        <pc:spChg chg="add mod ord">
          <ac:chgData name="Deimonmi Nongrum [Chillibreeze]" userId="e937f645-8c95-42a9-a298-dfd645e9a76a" providerId="ADAL" clId="{750E9A50-ACEA-48D3-B2C6-355D5EC56876}" dt="2024-06-13T10:57:30.197" v="2911" actId="167"/>
          <ac:spMkLst>
            <pc:docMk/>
            <pc:sldMk cId="0" sldId="285"/>
            <ac:spMk id="21" creationId="{8A3CDB58-BC02-40C6-116F-E476ED8CB65B}"/>
          </ac:spMkLst>
        </pc:spChg>
        <pc:spChg chg="mod">
          <ac:chgData name="Deimonmi Nongrum [Chillibreeze]" userId="e937f645-8c95-42a9-a298-dfd645e9a76a" providerId="ADAL" clId="{750E9A50-ACEA-48D3-B2C6-355D5EC56876}" dt="2024-06-13T03:29:22.966" v="478"/>
          <ac:spMkLst>
            <pc:docMk/>
            <pc:sldMk cId="0" sldId="285"/>
            <ac:spMk id="23" creationId="{8B094120-7DCA-1F11-2FF7-38121724BB2D}"/>
          </ac:spMkLst>
        </pc:spChg>
        <pc:spChg chg="mod">
          <ac:chgData name="Deimonmi Nongrum [Chillibreeze]" userId="e937f645-8c95-42a9-a298-dfd645e9a76a" providerId="ADAL" clId="{750E9A50-ACEA-48D3-B2C6-355D5EC56876}" dt="2024-06-13T03:29:22.966" v="478"/>
          <ac:spMkLst>
            <pc:docMk/>
            <pc:sldMk cId="0" sldId="285"/>
            <ac:spMk id="24" creationId="{91EE5FFF-CBED-A0FD-3D38-453E4D49886F}"/>
          </ac:spMkLst>
        </pc:spChg>
        <pc:spChg chg="add mod ord">
          <ac:chgData name="Deimonmi Nongrum [Chillibreeze]" userId="e937f645-8c95-42a9-a298-dfd645e9a76a" providerId="ADAL" clId="{750E9A50-ACEA-48D3-B2C6-355D5EC56876}" dt="2024-06-13T10:57:37.519" v="2919"/>
          <ac:spMkLst>
            <pc:docMk/>
            <pc:sldMk cId="0" sldId="285"/>
            <ac:spMk id="26" creationId="{3A5B901A-166F-6AB3-1490-534CCD286379}"/>
          </ac:spMkLst>
        </pc:spChg>
        <pc:spChg chg="mod">
          <ac:chgData name="Deimonmi Nongrum [Chillibreeze]" userId="e937f645-8c95-42a9-a298-dfd645e9a76a" providerId="ADAL" clId="{750E9A50-ACEA-48D3-B2C6-355D5EC56876}" dt="2024-06-13T03:29:22.966" v="478"/>
          <ac:spMkLst>
            <pc:docMk/>
            <pc:sldMk cId="0" sldId="285"/>
            <ac:spMk id="28" creationId="{053D84B4-9F7B-006D-54FB-FE6875867ABA}"/>
          </ac:spMkLst>
        </pc:spChg>
        <pc:spChg chg="mod">
          <ac:chgData name="Deimonmi Nongrum [Chillibreeze]" userId="e937f645-8c95-42a9-a298-dfd645e9a76a" providerId="ADAL" clId="{750E9A50-ACEA-48D3-B2C6-355D5EC56876}" dt="2024-06-13T03:29:22.966" v="478"/>
          <ac:spMkLst>
            <pc:docMk/>
            <pc:sldMk cId="0" sldId="285"/>
            <ac:spMk id="29" creationId="{9F2110E8-AD51-F329-C1D0-62422BCCCB3E}"/>
          </ac:spMkLst>
        </pc:spChg>
        <pc:spChg chg="add mod ord">
          <ac:chgData name="Deimonmi Nongrum [Chillibreeze]" userId="e937f645-8c95-42a9-a298-dfd645e9a76a" providerId="ADAL" clId="{750E9A50-ACEA-48D3-B2C6-355D5EC56876}" dt="2024-06-13T10:57:38.171" v="2920"/>
          <ac:spMkLst>
            <pc:docMk/>
            <pc:sldMk cId="0" sldId="285"/>
            <ac:spMk id="31" creationId="{56F71DC2-A408-4F0D-9C12-1B4C3677C0B3}"/>
          </ac:spMkLst>
        </pc:spChg>
        <pc:spChg chg="add mod ord">
          <ac:chgData name="Deimonmi Nongrum [Chillibreeze]" userId="e937f645-8c95-42a9-a298-dfd645e9a76a" providerId="ADAL" clId="{750E9A50-ACEA-48D3-B2C6-355D5EC56876}" dt="2024-06-13T10:57:30.197" v="2911" actId="167"/>
          <ac:spMkLst>
            <pc:docMk/>
            <pc:sldMk cId="0" sldId="285"/>
            <ac:spMk id="32" creationId="{9061733B-FA79-214F-CE04-16C26F0634C6}"/>
          </ac:spMkLst>
        </pc:spChg>
        <pc:spChg chg="add mod ord">
          <ac:chgData name="Deimonmi Nongrum [Chillibreeze]" userId="e937f645-8c95-42a9-a298-dfd645e9a76a" providerId="ADAL" clId="{750E9A50-ACEA-48D3-B2C6-355D5EC56876}" dt="2024-06-13T10:57:30.197" v="2911" actId="167"/>
          <ac:spMkLst>
            <pc:docMk/>
            <pc:sldMk cId="0" sldId="285"/>
            <ac:spMk id="33" creationId="{86AB841E-0E5A-6B23-12D6-99723D2DDF2F}"/>
          </ac:spMkLst>
        </pc:spChg>
        <pc:spChg chg="add mod ord">
          <ac:chgData name="Deimonmi Nongrum [Chillibreeze]" userId="e937f645-8c95-42a9-a298-dfd645e9a76a" providerId="ADAL" clId="{750E9A50-ACEA-48D3-B2C6-355D5EC56876}" dt="2024-06-13T10:57:35.796" v="2918"/>
          <ac:spMkLst>
            <pc:docMk/>
            <pc:sldMk cId="0" sldId="285"/>
            <ac:spMk id="36" creationId="{20F8AA2B-47BB-DE38-9C9B-97F22D7C6773}"/>
          </ac:spMkLst>
        </pc:spChg>
        <pc:spChg chg="del mod ord">
          <ac:chgData name="Deimonmi Nongrum [Chillibreeze]" userId="e937f645-8c95-42a9-a298-dfd645e9a76a" providerId="ADAL" clId="{750E9A50-ACEA-48D3-B2C6-355D5EC56876}" dt="2024-06-13T03:27:44.318" v="464" actId="6264"/>
          <ac:spMkLst>
            <pc:docMk/>
            <pc:sldMk cId="0" sldId="285"/>
            <ac:spMk id="4571" creationId="{00000000-0000-0000-0000-000000000000}"/>
          </ac:spMkLst>
        </pc:spChg>
        <pc:spChg chg="del mod ord">
          <ac:chgData name="Deimonmi Nongrum [Chillibreeze]" userId="e937f645-8c95-42a9-a298-dfd645e9a76a" providerId="ADAL" clId="{750E9A50-ACEA-48D3-B2C6-355D5EC56876}" dt="2024-06-13T03:30:31.415" v="496" actId="478"/>
          <ac:spMkLst>
            <pc:docMk/>
            <pc:sldMk cId="0" sldId="285"/>
            <ac:spMk id="4572" creationId="{00000000-0000-0000-0000-000000000000}"/>
          </ac:spMkLst>
        </pc:spChg>
        <pc:spChg chg="del mod ord">
          <ac:chgData name="Deimonmi Nongrum [Chillibreeze]" userId="e937f645-8c95-42a9-a298-dfd645e9a76a" providerId="ADAL" clId="{750E9A50-ACEA-48D3-B2C6-355D5EC56876}" dt="2024-06-13T03:27:48.248" v="472" actId="6264"/>
          <ac:spMkLst>
            <pc:docMk/>
            <pc:sldMk cId="0" sldId="285"/>
            <ac:spMk id="4573" creationId="{00000000-0000-0000-0000-000000000000}"/>
          </ac:spMkLst>
        </pc:spChg>
        <pc:spChg chg="del mod">
          <ac:chgData name="Deimonmi Nongrum [Chillibreeze]" userId="e937f645-8c95-42a9-a298-dfd645e9a76a" providerId="ADAL" clId="{750E9A50-ACEA-48D3-B2C6-355D5EC56876}" dt="2024-06-13T03:30:31.415" v="496" actId="478"/>
          <ac:spMkLst>
            <pc:docMk/>
            <pc:sldMk cId="0" sldId="285"/>
            <ac:spMk id="4574" creationId="{00000000-0000-0000-0000-000000000000}"/>
          </ac:spMkLst>
        </pc:spChg>
        <pc:spChg chg="del mod ord">
          <ac:chgData name="Deimonmi Nongrum [Chillibreeze]" userId="e937f645-8c95-42a9-a298-dfd645e9a76a" providerId="ADAL" clId="{750E9A50-ACEA-48D3-B2C6-355D5EC56876}" dt="2024-06-13T03:30:31.415" v="496" actId="478"/>
          <ac:spMkLst>
            <pc:docMk/>
            <pc:sldMk cId="0" sldId="285"/>
            <ac:spMk id="4575" creationId="{00000000-0000-0000-0000-000000000000}"/>
          </ac:spMkLst>
        </pc:spChg>
        <pc:spChg chg="del mod">
          <ac:chgData name="Deimonmi Nongrum [Chillibreeze]" userId="e937f645-8c95-42a9-a298-dfd645e9a76a" providerId="ADAL" clId="{750E9A50-ACEA-48D3-B2C6-355D5EC56876}" dt="2024-06-13T03:30:31.415" v="496" actId="478"/>
          <ac:spMkLst>
            <pc:docMk/>
            <pc:sldMk cId="0" sldId="285"/>
            <ac:spMk id="4576" creationId="{00000000-0000-0000-0000-000000000000}"/>
          </ac:spMkLst>
        </pc:spChg>
        <pc:spChg chg="del mod">
          <ac:chgData name="Deimonmi Nongrum [Chillibreeze]" userId="e937f645-8c95-42a9-a298-dfd645e9a76a" providerId="ADAL" clId="{750E9A50-ACEA-48D3-B2C6-355D5EC56876}" dt="2024-06-13T03:30:31.415" v="496" actId="478"/>
          <ac:spMkLst>
            <pc:docMk/>
            <pc:sldMk cId="0" sldId="285"/>
            <ac:spMk id="4578" creationId="{00000000-0000-0000-0000-000000000000}"/>
          </ac:spMkLst>
        </pc:spChg>
        <pc:grpChg chg="add mod ord">
          <ac:chgData name="Deimonmi Nongrum [Chillibreeze]" userId="e937f645-8c95-42a9-a298-dfd645e9a76a" providerId="ADAL" clId="{750E9A50-ACEA-48D3-B2C6-355D5EC56876}" dt="2024-06-13T10:57:30.197" v="2911" actId="167"/>
          <ac:grpSpMkLst>
            <pc:docMk/>
            <pc:sldMk cId="0" sldId="285"/>
            <ac:grpSpMk id="22" creationId="{3A1310B7-1331-0E70-FCD4-2D864D55D765}"/>
          </ac:grpSpMkLst>
        </pc:grpChg>
        <pc:grpChg chg="add mod ord">
          <ac:chgData name="Deimonmi Nongrum [Chillibreeze]" userId="e937f645-8c95-42a9-a298-dfd645e9a76a" providerId="ADAL" clId="{750E9A50-ACEA-48D3-B2C6-355D5EC56876}" dt="2024-06-13T10:57:30.197" v="2911" actId="167"/>
          <ac:grpSpMkLst>
            <pc:docMk/>
            <pc:sldMk cId="0" sldId="285"/>
            <ac:grpSpMk id="27" creationId="{135A9400-7F95-BB9A-C5FF-8724C10F9837}"/>
          </ac:grpSpMkLst>
        </pc:grpChg>
        <pc:picChg chg="add mod ord">
          <ac:chgData name="Deimonmi Nongrum [Chillibreeze]" userId="e937f645-8c95-42a9-a298-dfd645e9a76a" providerId="ADAL" clId="{750E9A50-ACEA-48D3-B2C6-355D5EC56876}" dt="2024-06-13T10:57:30.197" v="2911" actId="167"/>
          <ac:picMkLst>
            <pc:docMk/>
            <pc:sldMk cId="0" sldId="285"/>
            <ac:picMk id="17" creationId="{FABE713B-2641-0CEB-9CE7-CEA1C9070461}"/>
          </ac:picMkLst>
        </pc:picChg>
        <pc:picChg chg="add mod ord">
          <ac:chgData name="Deimonmi Nongrum [Chillibreeze]" userId="e937f645-8c95-42a9-a298-dfd645e9a76a" providerId="ADAL" clId="{750E9A50-ACEA-48D3-B2C6-355D5EC56876}" dt="2024-06-13T10:57:30.197" v="2911" actId="167"/>
          <ac:picMkLst>
            <pc:docMk/>
            <pc:sldMk cId="0" sldId="285"/>
            <ac:picMk id="18" creationId="{10243D24-FAAA-17C0-B9B1-B25A79E6C638}"/>
          </ac:picMkLst>
        </pc:picChg>
        <pc:picChg chg="mod">
          <ac:chgData name="Deimonmi Nongrum [Chillibreeze]" userId="e937f645-8c95-42a9-a298-dfd645e9a76a" providerId="ADAL" clId="{750E9A50-ACEA-48D3-B2C6-355D5EC56876}" dt="2024-06-13T03:29:22.966" v="478"/>
          <ac:picMkLst>
            <pc:docMk/>
            <pc:sldMk cId="0" sldId="285"/>
            <ac:picMk id="25" creationId="{D02B668F-6FFA-DFC5-225A-CA2E5D35016A}"/>
          </ac:picMkLst>
        </pc:picChg>
        <pc:picChg chg="mod">
          <ac:chgData name="Deimonmi Nongrum [Chillibreeze]" userId="e937f645-8c95-42a9-a298-dfd645e9a76a" providerId="ADAL" clId="{750E9A50-ACEA-48D3-B2C6-355D5EC56876}" dt="2024-06-13T03:29:22.966" v="478"/>
          <ac:picMkLst>
            <pc:docMk/>
            <pc:sldMk cId="0" sldId="285"/>
            <ac:picMk id="30" creationId="{F5772257-726D-BDFB-A113-71EF57713C0A}"/>
          </ac:picMkLst>
        </pc:picChg>
        <pc:picChg chg="add mod ord">
          <ac:chgData name="Deimonmi Nongrum [Chillibreeze]" userId="e937f645-8c95-42a9-a298-dfd645e9a76a" providerId="ADAL" clId="{750E9A50-ACEA-48D3-B2C6-355D5EC56876}" dt="2024-06-13T10:57:30.197" v="2911" actId="167"/>
          <ac:picMkLst>
            <pc:docMk/>
            <pc:sldMk cId="0" sldId="285"/>
            <ac:picMk id="34" creationId="{949AB1BB-DE8F-90CC-0C09-BD62451FE18C}"/>
          </ac:picMkLst>
        </pc:picChg>
        <pc:picChg chg="add del mod">
          <ac:chgData name="Deimonmi Nongrum [Chillibreeze]" userId="e937f645-8c95-42a9-a298-dfd645e9a76a" providerId="ADAL" clId="{750E9A50-ACEA-48D3-B2C6-355D5EC56876}" dt="2024-06-13T03:31:31.879" v="521"/>
          <ac:picMkLst>
            <pc:docMk/>
            <pc:sldMk cId="0" sldId="285"/>
            <ac:picMk id="35" creationId="{A6BF07B6-EE56-3952-EA21-8FE0E40B5BB9}"/>
          </ac:picMkLst>
        </pc:picChg>
        <pc:picChg chg="add del mod">
          <ac:chgData name="Deimonmi Nongrum [Chillibreeze]" userId="e937f645-8c95-42a9-a298-dfd645e9a76a" providerId="ADAL" clId="{750E9A50-ACEA-48D3-B2C6-355D5EC56876}" dt="2024-06-13T03:31:31.879" v="521"/>
          <ac:picMkLst>
            <pc:docMk/>
            <pc:sldMk cId="0" sldId="285"/>
            <ac:picMk id="37" creationId="{6933C865-74CC-EAAC-4E36-964E58F6D059}"/>
          </ac:picMkLst>
        </pc:picChg>
        <pc:picChg chg="mod ord modCrop">
          <ac:chgData name="Deimonmi Nongrum [Chillibreeze]" userId="e937f645-8c95-42a9-a298-dfd645e9a76a" providerId="ADAL" clId="{750E9A50-ACEA-48D3-B2C6-355D5EC56876}" dt="2024-06-13T10:58:43.111" v="3025" actId="962"/>
          <ac:picMkLst>
            <pc:docMk/>
            <pc:sldMk cId="0" sldId="285"/>
            <ac:picMk id="38" creationId="{CA6C28BF-FB0E-7732-6D70-41B8BF1A742E}"/>
          </ac:picMkLst>
        </pc:picChg>
        <pc:picChg chg="del mod">
          <ac:chgData name="Deimonmi Nongrum [Chillibreeze]" userId="e937f645-8c95-42a9-a298-dfd645e9a76a" providerId="ADAL" clId="{750E9A50-ACEA-48D3-B2C6-355D5EC56876}" dt="2024-06-13T03:30:31.415" v="496" actId="478"/>
          <ac:picMkLst>
            <pc:docMk/>
            <pc:sldMk cId="0" sldId="285"/>
            <ac:picMk id="4577" creationId="{00000000-0000-0000-0000-000000000000}"/>
          </ac:picMkLst>
        </pc:picChg>
        <pc:cxnChg chg="add mod ord">
          <ac:chgData name="Deimonmi Nongrum [Chillibreeze]" userId="e937f645-8c95-42a9-a298-dfd645e9a76a" providerId="ADAL" clId="{750E9A50-ACEA-48D3-B2C6-355D5EC56876}" dt="2024-06-13T10:57:30.197" v="2911" actId="167"/>
          <ac:cxnSpMkLst>
            <pc:docMk/>
            <pc:sldMk cId="0" sldId="285"/>
            <ac:cxnSpMk id="15" creationId="{E8A5545E-4F6D-71F3-EADC-74FD3212D1B1}"/>
          </ac:cxnSpMkLst>
        </pc:cxnChg>
        <pc:cxnChg chg="add mod ord">
          <ac:chgData name="Deimonmi Nongrum [Chillibreeze]" userId="e937f645-8c95-42a9-a298-dfd645e9a76a" providerId="ADAL" clId="{750E9A50-ACEA-48D3-B2C6-355D5EC56876}" dt="2024-06-13T10:57:30.197" v="2911" actId="167"/>
          <ac:cxnSpMkLst>
            <pc:docMk/>
            <pc:sldMk cId="0" sldId="285"/>
            <ac:cxnSpMk id="19" creationId="{4E1B153E-E446-1FE2-54ED-98D492050C11}"/>
          </ac:cxnSpMkLst>
        </pc:cxnChg>
      </pc:sldChg>
      <pc:sldChg chg="addSp delSp modSp mod modClrScheme chgLayout">
        <pc:chgData name="Deimonmi Nongrum [Chillibreeze]" userId="e937f645-8c95-42a9-a298-dfd645e9a76a" providerId="ADAL" clId="{750E9A50-ACEA-48D3-B2C6-355D5EC56876}" dt="2024-06-13T14:52:42.868" v="7379" actId="1036"/>
        <pc:sldMkLst>
          <pc:docMk/>
          <pc:sldMk cId="0" sldId="286"/>
        </pc:sldMkLst>
        <pc:spChg chg="add mod">
          <ac:chgData name="Deimonmi Nongrum [Chillibreeze]" userId="e937f645-8c95-42a9-a298-dfd645e9a76a" providerId="ADAL" clId="{750E9A50-ACEA-48D3-B2C6-355D5EC56876}" dt="2024-06-13T11:58:07.720" v="3996" actId="13244"/>
          <ac:spMkLst>
            <pc:docMk/>
            <pc:sldMk cId="0" sldId="286"/>
            <ac:spMk id="2" creationId="{3E1DFDFE-6FB3-9153-07E9-8AAD02C45AE6}"/>
          </ac:spMkLst>
        </pc:spChg>
        <pc:spChg chg="add mod">
          <ac:chgData name="Deimonmi Nongrum [Chillibreeze]" userId="e937f645-8c95-42a9-a298-dfd645e9a76a" providerId="ADAL" clId="{750E9A50-ACEA-48D3-B2C6-355D5EC56876}" dt="2024-06-12T03:56:14.995" v="36"/>
          <ac:spMkLst>
            <pc:docMk/>
            <pc:sldMk cId="0" sldId="286"/>
            <ac:spMk id="2" creationId="{AA6B2488-101B-B5F7-B5FA-B8C15E4F4AC9}"/>
          </ac:spMkLst>
        </pc:spChg>
        <pc:spChg chg="add mod ord">
          <ac:chgData name="Deimonmi Nongrum [Chillibreeze]" userId="e937f645-8c95-42a9-a298-dfd645e9a76a" providerId="ADAL" clId="{750E9A50-ACEA-48D3-B2C6-355D5EC56876}" dt="2024-06-13T14:22:41.380" v="7302" actId="13244"/>
          <ac:spMkLst>
            <pc:docMk/>
            <pc:sldMk cId="0" sldId="286"/>
            <ac:spMk id="4" creationId="{9724FFC6-4683-A90A-B0FC-C367B5D44919}"/>
          </ac:spMkLst>
        </pc:spChg>
        <pc:spChg chg="add del mod">
          <ac:chgData name="Deimonmi Nongrum [Chillibreeze]" userId="e937f645-8c95-42a9-a298-dfd645e9a76a" providerId="ADAL" clId="{750E9A50-ACEA-48D3-B2C6-355D5EC56876}" dt="2024-06-13T14:23:05.387" v="7305" actId="478"/>
          <ac:spMkLst>
            <pc:docMk/>
            <pc:sldMk cId="0" sldId="286"/>
            <ac:spMk id="5" creationId="{70BDAB1F-C2C1-3025-AFE4-411E0F70ABCD}"/>
          </ac:spMkLst>
        </pc:spChg>
        <pc:spChg chg="mod">
          <ac:chgData name="Deimonmi Nongrum [Chillibreeze]" userId="e937f645-8c95-42a9-a298-dfd645e9a76a" providerId="ADAL" clId="{750E9A50-ACEA-48D3-B2C6-355D5EC56876}" dt="2024-06-13T14:50:28.198" v="7326"/>
          <ac:spMkLst>
            <pc:docMk/>
            <pc:sldMk cId="0" sldId="286"/>
            <ac:spMk id="8" creationId="{25F50139-CE81-D482-3726-AD4E512FEC9C}"/>
          </ac:spMkLst>
        </pc:spChg>
        <pc:spChg chg="mod">
          <ac:chgData name="Deimonmi Nongrum [Chillibreeze]" userId="e937f645-8c95-42a9-a298-dfd645e9a76a" providerId="ADAL" clId="{750E9A50-ACEA-48D3-B2C6-355D5EC56876}" dt="2024-06-13T14:50:28.198" v="7326"/>
          <ac:spMkLst>
            <pc:docMk/>
            <pc:sldMk cId="0" sldId="286"/>
            <ac:spMk id="9" creationId="{6475CDE7-4405-781B-05FA-9DD46608B28C}"/>
          </ac:spMkLst>
        </pc:spChg>
        <pc:spChg chg="mod">
          <ac:chgData name="Deimonmi Nongrum [Chillibreeze]" userId="e937f645-8c95-42a9-a298-dfd645e9a76a" providerId="ADAL" clId="{750E9A50-ACEA-48D3-B2C6-355D5EC56876}" dt="2024-06-13T14:50:28.198" v="7326"/>
          <ac:spMkLst>
            <pc:docMk/>
            <pc:sldMk cId="0" sldId="286"/>
            <ac:spMk id="10" creationId="{521C05F7-6646-0A5E-6FF1-A50E28D5BABD}"/>
          </ac:spMkLst>
        </pc:spChg>
        <pc:spChg chg="add mod">
          <ac:chgData name="Deimonmi Nongrum [Chillibreeze]" userId="e937f645-8c95-42a9-a298-dfd645e9a76a" providerId="ADAL" clId="{750E9A50-ACEA-48D3-B2C6-355D5EC56876}" dt="2024-06-13T14:52:42.868" v="7379" actId="1036"/>
          <ac:spMkLst>
            <pc:docMk/>
            <pc:sldMk cId="0" sldId="286"/>
            <ac:spMk id="11" creationId="{28226B24-F312-8792-64F7-029BFB805D5F}"/>
          </ac:spMkLst>
        </pc:spChg>
        <pc:spChg chg="del mod ord">
          <ac:chgData name="Deimonmi Nongrum [Chillibreeze]" userId="e937f645-8c95-42a9-a298-dfd645e9a76a" providerId="ADAL" clId="{750E9A50-ACEA-48D3-B2C6-355D5EC56876}" dt="2024-06-13T14:50:12.309" v="7324" actId="478"/>
          <ac:spMkLst>
            <pc:docMk/>
            <pc:sldMk cId="0" sldId="286"/>
            <ac:spMk id="12" creationId="{0BBC05DC-6730-BC26-B760-84D96C293147}"/>
          </ac:spMkLst>
        </pc:spChg>
        <pc:spChg chg="del mod">
          <ac:chgData name="Deimonmi Nongrum [Chillibreeze]" userId="e937f645-8c95-42a9-a298-dfd645e9a76a" providerId="ADAL" clId="{750E9A50-ACEA-48D3-B2C6-355D5EC56876}" dt="2024-06-13T14:50:19.021" v="7325" actId="478"/>
          <ac:spMkLst>
            <pc:docMk/>
            <pc:sldMk cId="0" sldId="286"/>
            <ac:spMk id="13" creationId="{311EA480-A1C5-CCD1-91AD-3CF81E23CB7E}"/>
          </ac:spMkLst>
        </pc:spChg>
        <pc:spChg chg="del mod">
          <ac:chgData name="Deimonmi Nongrum [Chillibreeze]" userId="e937f645-8c95-42a9-a298-dfd645e9a76a" providerId="ADAL" clId="{750E9A50-ACEA-48D3-B2C6-355D5EC56876}" dt="2024-06-13T14:50:19.021" v="7325" actId="478"/>
          <ac:spMkLst>
            <pc:docMk/>
            <pc:sldMk cId="0" sldId="286"/>
            <ac:spMk id="14" creationId="{46203514-F2E1-10BF-E476-A832BDD4D48B}"/>
          </ac:spMkLst>
        </pc:spChg>
        <pc:spChg chg="del mod">
          <ac:chgData name="Deimonmi Nongrum [Chillibreeze]" userId="e937f645-8c95-42a9-a298-dfd645e9a76a" providerId="ADAL" clId="{750E9A50-ACEA-48D3-B2C6-355D5EC56876}" dt="2024-06-13T14:50:19.021" v="7325" actId="478"/>
          <ac:spMkLst>
            <pc:docMk/>
            <pc:sldMk cId="0" sldId="286"/>
            <ac:spMk id="15" creationId="{E1002921-2DB9-F83D-37BA-D7FA7F18505A}"/>
          </ac:spMkLst>
        </pc:spChg>
        <pc:spChg chg="add mod">
          <ac:chgData name="Deimonmi Nongrum [Chillibreeze]" userId="e937f645-8c95-42a9-a298-dfd645e9a76a" providerId="ADAL" clId="{750E9A50-ACEA-48D3-B2C6-355D5EC56876}" dt="2024-06-13T14:52:42.868" v="7379" actId="1036"/>
          <ac:spMkLst>
            <pc:docMk/>
            <pc:sldMk cId="0" sldId="286"/>
            <ac:spMk id="17" creationId="{3D482530-9F07-D7A1-3399-67E4493ACFA0}"/>
          </ac:spMkLst>
        </pc:spChg>
        <pc:spChg chg="mod">
          <ac:chgData name="Deimonmi Nongrum [Chillibreeze]" userId="e937f645-8c95-42a9-a298-dfd645e9a76a" providerId="ADAL" clId="{750E9A50-ACEA-48D3-B2C6-355D5EC56876}" dt="2024-06-13T14:22:55.115" v="7303" actId="571"/>
          <ac:spMkLst>
            <pc:docMk/>
            <pc:sldMk cId="0" sldId="286"/>
            <ac:spMk id="21" creationId="{0FFD5322-3C05-2779-A9B6-EB384C9FAC6B}"/>
          </ac:spMkLst>
        </pc:spChg>
        <pc:spChg chg="mod">
          <ac:chgData name="Deimonmi Nongrum [Chillibreeze]" userId="e937f645-8c95-42a9-a298-dfd645e9a76a" providerId="ADAL" clId="{750E9A50-ACEA-48D3-B2C6-355D5EC56876}" dt="2024-06-13T14:22:55.115" v="7303" actId="571"/>
          <ac:spMkLst>
            <pc:docMk/>
            <pc:sldMk cId="0" sldId="286"/>
            <ac:spMk id="22" creationId="{40A958E9-ECE3-E72A-A216-44185B1E2AA1}"/>
          </ac:spMkLst>
        </pc:spChg>
        <pc:spChg chg="add mod">
          <ac:chgData name="Deimonmi Nongrum [Chillibreeze]" userId="e937f645-8c95-42a9-a298-dfd645e9a76a" providerId="ADAL" clId="{750E9A50-ACEA-48D3-B2C6-355D5EC56876}" dt="2024-06-13T14:52:42.868" v="7379" actId="1036"/>
          <ac:spMkLst>
            <pc:docMk/>
            <pc:sldMk cId="0" sldId="286"/>
            <ac:spMk id="23" creationId="{1F22D53F-2216-927D-8716-E70B14788F4C}"/>
          </ac:spMkLst>
        </pc:spChg>
        <pc:spChg chg="del mod ord">
          <ac:chgData name="Deimonmi Nongrum [Chillibreeze]" userId="e937f645-8c95-42a9-a298-dfd645e9a76a" providerId="ADAL" clId="{750E9A50-ACEA-48D3-B2C6-355D5EC56876}" dt="2024-06-13T14:50:39.001" v="7328" actId="21"/>
          <ac:spMkLst>
            <pc:docMk/>
            <pc:sldMk cId="0" sldId="286"/>
            <ac:spMk id="25" creationId="{3D482530-9F07-D7A1-3399-67E4493ACFA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86"/>
            <ac:spMk id="4583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86"/>
            <ac:spMk id="4584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86"/>
            <ac:spMk id="4585" creationId="{00000000-0000-0000-0000-000000000000}"/>
          </ac:spMkLst>
        </pc:spChg>
        <pc:spChg chg="del mod">
          <ac:chgData name="Deimonmi Nongrum [Chillibreeze]" userId="e937f645-8c95-42a9-a298-dfd645e9a76a" providerId="ADAL" clId="{750E9A50-ACEA-48D3-B2C6-355D5EC56876}" dt="2024-06-13T14:50:19.021" v="7325" actId="478"/>
          <ac:spMkLst>
            <pc:docMk/>
            <pc:sldMk cId="0" sldId="286"/>
            <ac:spMk id="4590" creationId="{00000000-0000-0000-0000-000000000000}"/>
          </ac:spMkLst>
        </pc:spChg>
        <pc:grpChg chg="add mod">
          <ac:chgData name="Deimonmi Nongrum [Chillibreeze]" userId="e937f645-8c95-42a9-a298-dfd645e9a76a" providerId="ADAL" clId="{750E9A50-ACEA-48D3-B2C6-355D5EC56876}" dt="2024-06-13T14:52:42.868" v="7379" actId="1036"/>
          <ac:grpSpMkLst>
            <pc:docMk/>
            <pc:sldMk cId="0" sldId="286"/>
            <ac:grpSpMk id="7" creationId="{FFEBF41A-3C4A-07F5-0C35-CD03B4FB363C}"/>
          </ac:grpSpMkLst>
        </pc:grpChg>
        <pc:grpChg chg="del mod">
          <ac:chgData name="Deimonmi Nongrum [Chillibreeze]" userId="e937f645-8c95-42a9-a298-dfd645e9a76a" providerId="ADAL" clId="{750E9A50-ACEA-48D3-B2C6-355D5EC56876}" dt="2024-06-13T14:50:06.199" v="7323" actId="478"/>
          <ac:grpSpMkLst>
            <pc:docMk/>
            <pc:sldMk cId="0" sldId="286"/>
            <ac:grpSpMk id="16" creationId="{E5BD7957-EE50-F7E1-5EC4-A00B8C29F742}"/>
          </ac:grpSpMkLst>
        </pc:grpChg>
        <pc:grpChg chg="mod">
          <ac:chgData name="Deimonmi Nongrum [Chillibreeze]" userId="e937f645-8c95-42a9-a298-dfd645e9a76a" providerId="ADAL" clId="{750E9A50-ACEA-48D3-B2C6-355D5EC56876}" dt="2024-06-13T14:22:55.115" v="7303" actId="571"/>
          <ac:grpSpMkLst>
            <pc:docMk/>
            <pc:sldMk cId="0" sldId="286"/>
            <ac:grpSpMk id="19" creationId="{6E286D62-03BB-174A-B73A-AEAD28239285}"/>
          </ac:grpSpMkLst>
        </pc:grpChg>
        <pc:picChg chg="add mod">
          <ac:chgData name="Deimonmi Nongrum [Chillibreeze]" userId="e937f645-8c95-42a9-a298-dfd645e9a76a" providerId="ADAL" clId="{750E9A50-ACEA-48D3-B2C6-355D5EC56876}" dt="2024-06-13T14:50:28.198" v="7326"/>
          <ac:picMkLst>
            <pc:docMk/>
            <pc:sldMk cId="0" sldId="286"/>
            <ac:picMk id="5" creationId="{2C06F075-C34B-AE8D-B2D4-CA485D0BF2E9}"/>
          </ac:picMkLst>
        </pc:picChg>
        <pc:picChg chg="add mod">
          <ac:chgData name="Deimonmi Nongrum [Chillibreeze]" userId="e937f645-8c95-42a9-a298-dfd645e9a76a" providerId="ADAL" clId="{750E9A50-ACEA-48D3-B2C6-355D5EC56876}" dt="2024-06-13T14:50:28.198" v="7326"/>
          <ac:picMkLst>
            <pc:docMk/>
            <pc:sldMk cId="0" sldId="286"/>
            <ac:picMk id="6" creationId="{432F2231-D0D3-194E-6D79-A54ED7867710}"/>
          </ac:picMkLst>
        </pc:picChg>
        <pc:picChg chg="mod">
          <ac:chgData name="Deimonmi Nongrum [Chillibreeze]" userId="e937f645-8c95-42a9-a298-dfd645e9a76a" providerId="ADAL" clId="{750E9A50-ACEA-48D3-B2C6-355D5EC56876}" dt="2024-06-13T14:22:55.115" v="7303" actId="571"/>
          <ac:picMkLst>
            <pc:docMk/>
            <pc:sldMk cId="0" sldId="286"/>
            <ac:picMk id="18" creationId="{1258BED8-1AF5-BE18-AC8F-02342ABEABF0}"/>
          </ac:picMkLst>
        </pc:picChg>
        <pc:picChg chg="mod">
          <ac:chgData name="Deimonmi Nongrum [Chillibreeze]" userId="e937f645-8c95-42a9-a298-dfd645e9a76a" providerId="ADAL" clId="{750E9A50-ACEA-48D3-B2C6-355D5EC56876}" dt="2024-06-13T14:22:55.115" v="7303" actId="571"/>
          <ac:picMkLst>
            <pc:docMk/>
            <pc:sldMk cId="0" sldId="286"/>
            <ac:picMk id="20" creationId="{303AB8AE-B18D-3B0F-96DE-E9FAC109C542}"/>
          </ac:picMkLst>
        </pc:picChg>
        <pc:picChg chg="add mod">
          <ac:chgData name="Deimonmi Nongrum [Chillibreeze]" userId="e937f645-8c95-42a9-a298-dfd645e9a76a" providerId="ADAL" clId="{750E9A50-ACEA-48D3-B2C6-355D5EC56876}" dt="2024-06-13T14:52:42.868" v="7379" actId="1036"/>
          <ac:picMkLst>
            <pc:docMk/>
            <pc:sldMk cId="0" sldId="286"/>
            <ac:picMk id="24" creationId="{4F7EE9A1-9842-670E-1D06-A8D9780B57E0}"/>
          </ac:picMkLst>
        </pc:picChg>
        <pc:cxnChg chg="add mod">
          <ac:chgData name="Deimonmi Nongrum [Chillibreeze]" userId="e937f645-8c95-42a9-a298-dfd645e9a76a" providerId="ADAL" clId="{750E9A50-ACEA-48D3-B2C6-355D5EC56876}" dt="2024-06-13T14:52:39.698" v="7373" actId="1036"/>
          <ac:cxnSpMkLst>
            <pc:docMk/>
            <pc:sldMk cId="0" sldId="286"/>
            <ac:cxnSpMk id="3" creationId="{19120F20-7738-F0D7-C9D0-2C5AFC0B80AD}"/>
          </ac:cxnSpMkLst>
        </pc:cxnChg>
      </pc:sldChg>
      <pc:sldChg chg="addSp delSp modSp mod modClrScheme chgLayout">
        <pc:chgData name="Deimonmi Nongrum [Chillibreeze]" userId="e937f645-8c95-42a9-a298-dfd645e9a76a" providerId="ADAL" clId="{750E9A50-ACEA-48D3-B2C6-355D5EC56876}" dt="2024-06-13T11:58:13.066" v="3997" actId="33553"/>
        <pc:sldMkLst>
          <pc:docMk/>
          <pc:sldMk cId="0" sldId="287"/>
        </pc:sldMkLst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87"/>
            <ac:spMk id="2" creationId="{E6C4F9F2-275D-287E-546A-0693182356EF}"/>
          </ac:spMkLst>
        </pc:spChg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287"/>
            <ac:spMk id="2" creationId="{F981F5A6-4097-4F49-63FB-3FBDAD5333E1}"/>
          </ac:spMkLst>
        </pc:spChg>
        <pc:spChg chg="add mod">
          <ac:chgData name="Deimonmi Nongrum [Chillibreeze]" userId="e937f645-8c95-42a9-a298-dfd645e9a76a" providerId="ADAL" clId="{750E9A50-ACEA-48D3-B2C6-355D5EC56876}" dt="2024-06-12T03:56:16.409" v="37"/>
          <ac:spMkLst>
            <pc:docMk/>
            <pc:sldMk cId="0" sldId="287"/>
            <ac:spMk id="3" creationId="{C2577221-0EC2-C448-E242-F583BED52138}"/>
          </ac:spMkLst>
        </pc:spChg>
        <pc:spChg chg="mod ord">
          <ac:chgData name="Deimonmi Nongrum [Chillibreeze]" userId="e937f645-8c95-42a9-a298-dfd645e9a76a" providerId="ADAL" clId="{750E9A50-ACEA-48D3-B2C6-355D5EC56876}" dt="2024-06-13T10:59:21.390" v="3036" actId="167"/>
          <ac:spMkLst>
            <pc:docMk/>
            <pc:sldMk cId="0" sldId="287"/>
            <ac:spMk id="4" creationId="{4FC12E89-15C4-E2AA-46D7-4F4F2279ED75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87"/>
            <ac:spMk id="4" creationId="{A9CBDAF2-0ACD-4DA5-4F25-EED95C780798}"/>
          </ac:spMkLst>
        </pc:spChg>
        <pc:spChg chg="mod ord">
          <ac:chgData name="Deimonmi Nongrum [Chillibreeze]" userId="e937f645-8c95-42a9-a298-dfd645e9a76a" providerId="ADAL" clId="{750E9A50-ACEA-48D3-B2C6-355D5EC56876}" dt="2024-06-13T10:59:21.390" v="3036" actId="167"/>
          <ac:spMkLst>
            <pc:docMk/>
            <pc:sldMk cId="0" sldId="287"/>
            <ac:spMk id="5" creationId="{87A5758B-2058-F505-F299-8B4AABAB477F}"/>
          </ac:spMkLst>
        </pc:spChg>
        <pc:spChg chg="mod ord">
          <ac:chgData name="Deimonmi Nongrum [Chillibreeze]" userId="e937f645-8c95-42a9-a298-dfd645e9a76a" providerId="ADAL" clId="{750E9A50-ACEA-48D3-B2C6-355D5EC56876}" dt="2024-06-13T11:58:13.066" v="3997" actId="33553"/>
          <ac:spMkLst>
            <pc:docMk/>
            <pc:sldMk cId="0" sldId="287"/>
            <ac:spMk id="6" creationId="{53E3D1B2-DC96-4625-2C4A-E33022C62745}"/>
          </ac:spMkLst>
        </pc:spChg>
        <pc:spChg chg="ord">
          <ac:chgData name="Deimonmi Nongrum [Chillibreeze]" userId="e937f645-8c95-42a9-a298-dfd645e9a76a" providerId="ADAL" clId="{750E9A50-ACEA-48D3-B2C6-355D5EC56876}" dt="2024-06-13T10:59:27.223" v="3038"/>
          <ac:spMkLst>
            <pc:docMk/>
            <pc:sldMk cId="0" sldId="287"/>
            <ac:spMk id="15" creationId="{1E00CE7B-E56A-D440-31C4-29C9EA04E151}"/>
          </ac:spMkLst>
        </pc:spChg>
        <pc:grpChg chg="mod ord">
          <ac:chgData name="Deimonmi Nongrum [Chillibreeze]" userId="e937f645-8c95-42a9-a298-dfd645e9a76a" providerId="ADAL" clId="{750E9A50-ACEA-48D3-B2C6-355D5EC56876}" dt="2024-06-13T10:59:21.390" v="3036" actId="167"/>
          <ac:grpSpMkLst>
            <pc:docMk/>
            <pc:sldMk cId="0" sldId="287"/>
            <ac:grpSpMk id="10" creationId="{6D8C0D9F-574B-C213-46D4-105E50DF06B5}"/>
          </ac:grpSpMkLst>
        </pc:grpChg>
        <pc:picChg chg="mod ord">
          <ac:chgData name="Deimonmi Nongrum [Chillibreeze]" userId="e937f645-8c95-42a9-a298-dfd645e9a76a" providerId="ADAL" clId="{750E9A50-ACEA-48D3-B2C6-355D5EC56876}" dt="2024-06-13T10:59:21.390" v="3036" actId="167"/>
          <ac:picMkLst>
            <pc:docMk/>
            <pc:sldMk cId="0" sldId="287"/>
            <ac:picMk id="7" creationId="{19C51B7F-87A3-C86B-CC4F-7D83E8211C8A}"/>
          </ac:picMkLst>
        </pc:picChg>
        <pc:picChg chg="mod ord">
          <ac:chgData name="Deimonmi Nongrum [Chillibreeze]" userId="e937f645-8c95-42a9-a298-dfd645e9a76a" providerId="ADAL" clId="{750E9A50-ACEA-48D3-B2C6-355D5EC56876}" dt="2024-06-13T10:59:21.390" v="3036" actId="167"/>
          <ac:picMkLst>
            <pc:docMk/>
            <pc:sldMk cId="0" sldId="287"/>
            <ac:picMk id="8" creationId="{7D174BBA-1D90-682D-B21E-BD67AE3A59DF}"/>
          </ac:picMkLst>
        </pc:picChg>
        <pc:picChg chg="mod ord">
          <ac:chgData name="Deimonmi Nongrum [Chillibreeze]" userId="e937f645-8c95-42a9-a298-dfd645e9a76a" providerId="ADAL" clId="{750E9A50-ACEA-48D3-B2C6-355D5EC56876}" dt="2024-06-13T10:59:21.390" v="3036" actId="167"/>
          <ac:picMkLst>
            <pc:docMk/>
            <pc:sldMk cId="0" sldId="287"/>
            <ac:picMk id="9" creationId="{B06500F4-10B3-861B-9CD3-50DF2B047B62}"/>
          </ac:picMkLst>
        </pc:picChg>
        <pc:picChg chg="mod ord">
          <ac:chgData name="Deimonmi Nongrum [Chillibreeze]" userId="e937f645-8c95-42a9-a298-dfd645e9a76a" providerId="ADAL" clId="{750E9A50-ACEA-48D3-B2C6-355D5EC56876}" dt="2024-06-13T10:59:21.390" v="3036" actId="167"/>
          <ac:picMkLst>
            <pc:docMk/>
            <pc:sldMk cId="0" sldId="287"/>
            <ac:picMk id="13" creationId="{EEEDD14B-11C7-4732-D238-4E80BADE559B}"/>
          </ac:picMkLst>
        </pc:picChg>
        <pc:picChg chg="mod ord">
          <ac:chgData name="Deimonmi Nongrum [Chillibreeze]" userId="e937f645-8c95-42a9-a298-dfd645e9a76a" providerId="ADAL" clId="{750E9A50-ACEA-48D3-B2C6-355D5EC56876}" dt="2024-06-13T10:59:21.390" v="3036" actId="167"/>
          <ac:picMkLst>
            <pc:docMk/>
            <pc:sldMk cId="0" sldId="287"/>
            <ac:picMk id="14" creationId="{E4047542-20B3-2DB2-B316-5A1893C208AB}"/>
          </ac:picMkLst>
        </pc:picChg>
        <pc:picChg chg="mod ord">
          <ac:chgData name="Deimonmi Nongrum [Chillibreeze]" userId="e937f645-8c95-42a9-a298-dfd645e9a76a" providerId="ADAL" clId="{750E9A50-ACEA-48D3-B2C6-355D5EC56876}" dt="2024-06-13T10:59:21.390" v="3036" actId="167"/>
          <ac:picMkLst>
            <pc:docMk/>
            <pc:sldMk cId="0" sldId="287"/>
            <ac:picMk id="16" creationId="{3B4121EE-4300-F7F3-C2F2-E149FF8D54D5}"/>
          </ac:picMkLst>
        </pc:picChg>
      </pc:sldChg>
      <pc:sldChg chg="addSp delSp modSp mod modClrScheme delAnim modAnim chgLayout">
        <pc:chgData name="Deimonmi Nongrum [Chillibreeze]" userId="e937f645-8c95-42a9-a298-dfd645e9a76a" providerId="ADAL" clId="{750E9A50-ACEA-48D3-B2C6-355D5EC56876}" dt="2024-06-13T11:01:21.745" v="3070"/>
        <pc:sldMkLst>
          <pc:docMk/>
          <pc:sldMk cId="0" sldId="288"/>
        </pc:sldMkLst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88"/>
            <ac:spMk id="2" creationId="{2743060B-EF46-3781-A789-2ECE39D7804B}"/>
          </ac:spMkLst>
        </pc:spChg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288"/>
            <ac:spMk id="2" creationId="{295376F9-9185-FCF9-F238-9EF7D3B46984}"/>
          </ac:spMkLst>
        </pc:spChg>
        <pc:spChg chg="add del mod">
          <ac:chgData name="Deimonmi Nongrum [Chillibreeze]" userId="e937f645-8c95-42a9-a298-dfd645e9a76a" providerId="ADAL" clId="{750E9A50-ACEA-48D3-B2C6-355D5EC56876}" dt="2024-06-13T10:59:37.667" v="3040" actId="6264"/>
          <ac:spMkLst>
            <pc:docMk/>
            <pc:sldMk cId="0" sldId="288"/>
            <ac:spMk id="2" creationId="{C09AD5C7-CF2D-2D9D-DC8F-EE7C60CB1D63}"/>
          </ac:spMkLst>
        </pc:spChg>
        <pc:spChg chg="add del mod">
          <ac:chgData name="Deimonmi Nongrum [Chillibreeze]" userId="e937f645-8c95-42a9-a298-dfd645e9a76a" providerId="ADAL" clId="{750E9A50-ACEA-48D3-B2C6-355D5EC56876}" dt="2024-06-13T10:59:37.859" v="3041" actId="6264"/>
          <ac:spMkLst>
            <pc:docMk/>
            <pc:sldMk cId="0" sldId="288"/>
            <ac:spMk id="3" creationId="{70FD7ED4-62D8-EB6A-98F5-EA2225FAE312}"/>
          </ac:spMkLst>
        </pc:spChg>
        <pc:spChg chg="add mod">
          <ac:chgData name="Deimonmi Nongrum [Chillibreeze]" userId="e937f645-8c95-42a9-a298-dfd645e9a76a" providerId="ADAL" clId="{750E9A50-ACEA-48D3-B2C6-355D5EC56876}" dt="2024-06-12T03:56:17.540" v="38"/>
          <ac:spMkLst>
            <pc:docMk/>
            <pc:sldMk cId="0" sldId="288"/>
            <ac:spMk id="3" creationId="{B4A7CBBA-81D0-F383-CF03-89A031DA2FA2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88"/>
            <ac:spMk id="4" creationId="{CB3385D3-A9A6-87F7-9DA9-EFC19D4F98AD}"/>
          </ac:spMkLst>
        </pc:spChg>
        <pc:spChg chg="del mod ord">
          <ac:chgData name="Deimonmi Nongrum [Chillibreeze]" userId="e937f645-8c95-42a9-a298-dfd645e9a76a" providerId="ADAL" clId="{750E9A50-ACEA-48D3-B2C6-355D5EC56876}" dt="2024-06-13T11:00:44.994" v="3069" actId="478"/>
          <ac:spMkLst>
            <pc:docMk/>
            <pc:sldMk cId="0" sldId="288"/>
            <ac:spMk id="6" creationId="{1FD36572-911A-E909-BB1C-226A6214C285}"/>
          </ac:spMkLst>
        </pc:spChg>
        <pc:spChg chg="del mod ord">
          <ac:chgData name="Deimonmi Nongrum [Chillibreeze]" userId="e937f645-8c95-42a9-a298-dfd645e9a76a" providerId="ADAL" clId="{750E9A50-ACEA-48D3-B2C6-355D5EC56876}" dt="2024-06-13T11:00:44.994" v="3069" actId="478"/>
          <ac:spMkLst>
            <pc:docMk/>
            <pc:sldMk cId="0" sldId="288"/>
            <ac:spMk id="7" creationId="{A0396D0A-87BE-4C8A-9AF3-7D52EF02A0C1}"/>
          </ac:spMkLst>
        </pc:spChg>
        <pc:spChg chg="add del mod">
          <ac:chgData name="Deimonmi Nongrum [Chillibreeze]" userId="e937f645-8c95-42a9-a298-dfd645e9a76a" providerId="ADAL" clId="{750E9A50-ACEA-48D3-B2C6-355D5EC56876}" dt="2024-06-13T10:59:38.037" v="3042" actId="6264"/>
          <ac:spMkLst>
            <pc:docMk/>
            <pc:sldMk cId="0" sldId="288"/>
            <ac:spMk id="25" creationId="{237DDDD8-D493-8A86-64E5-D4B71A4977A0}"/>
          </ac:spMkLst>
        </pc:spChg>
        <pc:spChg chg="del mod ord">
          <ac:chgData name="Deimonmi Nongrum [Chillibreeze]" userId="e937f645-8c95-42a9-a298-dfd645e9a76a" providerId="ADAL" clId="{750E9A50-ACEA-48D3-B2C6-355D5EC56876}" dt="2024-06-13T11:00:44.994" v="3069" actId="478"/>
          <ac:spMkLst>
            <pc:docMk/>
            <pc:sldMk cId="0" sldId="288"/>
            <ac:spMk id="26" creationId="{65DFF732-8A54-9354-A6C5-9C2A67442EC2}"/>
          </ac:spMkLst>
        </pc:spChg>
        <pc:spChg chg="del ord">
          <ac:chgData name="Deimonmi Nongrum [Chillibreeze]" userId="e937f645-8c95-42a9-a298-dfd645e9a76a" providerId="ADAL" clId="{750E9A50-ACEA-48D3-B2C6-355D5EC56876}" dt="2024-06-13T11:00:44.994" v="3069" actId="478"/>
          <ac:spMkLst>
            <pc:docMk/>
            <pc:sldMk cId="0" sldId="288"/>
            <ac:spMk id="27" creationId="{40B2E28B-39E1-441F-2691-E1F56143D9B8}"/>
          </ac:spMkLst>
        </pc:spChg>
        <pc:spChg chg="del mod ord">
          <ac:chgData name="Deimonmi Nongrum [Chillibreeze]" userId="e937f645-8c95-42a9-a298-dfd645e9a76a" providerId="ADAL" clId="{750E9A50-ACEA-48D3-B2C6-355D5EC56876}" dt="2024-06-13T11:00:44.994" v="3069" actId="478"/>
          <ac:spMkLst>
            <pc:docMk/>
            <pc:sldMk cId="0" sldId="288"/>
            <ac:spMk id="28" creationId="{E1B96DB2-85D7-C644-F4EB-985A92D7CD1B}"/>
          </ac:spMkLst>
        </pc:spChg>
        <pc:spChg chg="del ord">
          <ac:chgData name="Deimonmi Nongrum [Chillibreeze]" userId="e937f645-8c95-42a9-a298-dfd645e9a76a" providerId="ADAL" clId="{750E9A50-ACEA-48D3-B2C6-355D5EC56876}" dt="2024-06-13T11:00:44.994" v="3069" actId="478"/>
          <ac:spMkLst>
            <pc:docMk/>
            <pc:sldMk cId="0" sldId="288"/>
            <ac:spMk id="29" creationId="{5C830D7B-01B7-0652-4F55-DA6F87136950}"/>
          </ac:spMkLst>
        </pc:spChg>
        <pc:spChg chg="del mod ord">
          <ac:chgData name="Deimonmi Nongrum [Chillibreeze]" userId="e937f645-8c95-42a9-a298-dfd645e9a76a" providerId="ADAL" clId="{750E9A50-ACEA-48D3-B2C6-355D5EC56876}" dt="2024-06-13T11:00:44.994" v="3069" actId="478"/>
          <ac:spMkLst>
            <pc:docMk/>
            <pc:sldMk cId="0" sldId="288"/>
            <ac:spMk id="30" creationId="{69A83144-40F8-5007-2995-459F08ACEDDA}"/>
          </ac:spMkLst>
        </pc:spChg>
        <pc:spChg chg="del ord">
          <ac:chgData name="Deimonmi Nongrum [Chillibreeze]" userId="e937f645-8c95-42a9-a298-dfd645e9a76a" providerId="ADAL" clId="{750E9A50-ACEA-48D3-B2C6-355D5EC56876}" dt="2024-06-13T11:00:44.994" v="3069" actId="478"/>
          <ac:spMkLst>
            <pc:docMk/>
            <pc:sldMk cId="0" sldId="288"/>
            <ac:spMk id="31" creationId="{CDCC631F-CE79-3F77-240D-AFEE8CA77074}"/>
          </ac:spMkLst>
        </pc:spChg>
        <pc:spChg chg="del mod ord">
          <ac:chgData name="Deimonmi Nongrum [Chillibreeze]" userId="e937f645-8c95-42a9-a298-dfd645e9a76a" providerId="ADAL" clId="{750E9A50-ACEA-48D3-B2C6-355D5EC56876}" dt="2024-06-13T11:00:44.994" v="3069" actId="478"/>
          <ac:spMkLst>
            <pc:docMk/>
            <pc:sldMk cId="0" sldId="288"/>
            <ac:spMk id="32" creationId="{9CD1D7D7-FA1F-D298-736F-00325519C1C9}"/>
          </ac:spMkLst>
        </pc:spChg>
        <pc:spChg chg="del ord">
          <ac:chgData name="Deimonmi Nongrum [Chillibreeze]" userId="e937f645-8c95-42a9-a298-dfd645e9a76a" providerId="ADAL" clId="{750E9A50-ACEA-48D3-B2C6-355D5EC56876}" dt="2024-06-13T11:00:44.994" v="3069" actId="478"/>
          <ac:spMkLst>
            <pc:docMk/>
            <pc:sldMk cId="0" sldId="288"/>
            <ac:spMk id="33" creationId="{2741F384-8780-B191-6849-A6D7DCAAC24A}"/>
          </ac:spMkLst>
        </pc:spChg>
        <pc:spChg chg="del mod ord">
          <ac:chgData name="Deimonmi Nongrum [Chillibreeze]" userId="e937f645-8c95-42a9-a298-dfd645e9a76a" providerId="ADAL" clId="{750E9A50-ACEA-48D3-B2C6-355D5EC56876}" dt="2024-06-13T11:00:44.994" v="3069" actId="478"/>
          <ac:spMkLst>
            <pc:docMk/>
            <pc:sldMk cId="0" sldId="288"/>
            <ac:spMk id="34" creationId="{2D38AB22-EA0E-D88F-CCF0-1B086C838CA2}"/>
          </ac:spMkLst>
        </pc:spChg>
        <pc:spChg chg="del ord">
          <ac:chgData name="Deimonmi Nongrum [Chillibreeze]" userId="e937f645-8c95-42a9-a298-dfd645e9a76a" providerId="ADAL" clId="{750E9A50-ACEA-48D3-B2C6-355D5EC56876}" dt="2024-06-13T11:00:44.994" v="3069" actId="478"/>
          <ac:spMkLst>
            <pc:docMk/>
            <pc:sldMk cId="0" sldId="288"/>
            <ac:spMk id="35" creationId="{7A4ECD8A-F8F4-7DED-D961-30F5B102E3AB}"/>
          </ac:spMkLst>
        </pc:spChg>
        <pc:spChg chg="mod ord">
          <ac:chgData name="Deimonmi Nongrum [Chillibreeze]" userId="e937f645-8c95-42a9-a298-dfd645e9a76a" providerId="ADAL" clId="{750E9A50-ACEA-48D3-B2C6-355D5EC56876}" dt="2024-06-13T11:00:13.884" v="3062"/>
          <ac:spMkLst>
            <pc:docMk/>
            <pc:sldMk cId="0" sldId="288"/>
            <ac:spMk id="36" creationId="{743A3E12-64D0-9751-D89E-AFC5DB23CA36}"/>
          </ac:spMkLst>
        </pc:spChg>
        <pc:spChg chg="add del mod">
          <ac:chgData name="Deimonmi Nongrum [Chillibreeze]" userId="e937f645-8c95-42a9-a298-dfd645e9a76a" providerId="ADAL" clId="{750E9A50-ACEA-48D3-B2C6-355D5EC56876}" dt="2024-06-13T10:59:38.187" v="3043" actId="6264"/>
          <ac:spMkLst>
            <pc:docMk/>
            <pc:sldMk cId="0" sldId="288"/>
            <ac:spMk id="37" creationId="{B7D7E52D-16A4-3B1B-57F5-A5A671C2CCCC}"/>
          </ac:spMkLst>
        </pc:spChg>
        <pc:spChg chg="add mod">
          <ac:chgData name="Deimonmi Nongrum [Chillibreeze]" userId="e937f645-8c95-42a9-a298-dfd645e9a76a" providerId="ADAL" clId="{750E9A50-ACEA-48D3-B2C6-355D5EC56876}" dt="2024-06-13T11:01:21.745" v="3070"/>
          <ac:spMkLst>
            <pc:docMk/>
            <pc:sldMk cId="0" sldId="288"/>
            <ac:spMk id="38" creationId="{73461C18-55C4-8D73-90E3-F2FCC8795E5D}"/>
          </ac:spMkLst>
        </pc:spChg>
        <pc:spChg chg="add mod">
          <ac:chgData name="Deimonmi Nongrum [Chillibreeze]" userId="e937f645-8c95-42a9-a298-dfd645e9a76a" providerId="ADAL" clId="{750E9A50-ACEA-48D3-B2C6-355D5EC56876}" dt="2024-06-13T11:01:21.745" v="3070"/>
          <ac:spMkLst>
            <pc:docMk/>
            <pc:sldMk cId="0" sldId="288"/>
            <ac:spMk id="39" creationId="{52BEAB6F-7BAE-0488-1EDF-031B3DEF92DF}"/>
          </ac:spMkLst>
        </pc:spChg>
        <pc:spChg chg="mod">
          <ac:chgData name="Deimonmi Nongrum [Chillibreeze]" userId="e937f645-8c95-42a9-a298-dfd645e9a76a" providerId="ADAL" clId="{750E9A50-ACEA-48D3-B2C6-355D5EC56876}" dt="2024-06-13T11:01:21.745" v="3070"/>
          <ac:spMkLst>
            <pc:docMk/>
            <pc:sldMk cId="0" sldId="288"/>
            <ac:spMk id="42" creationId="{924CDA81-4D6C-FF0C-44E2-4E08AE83CA53}"/>
          </ac:spMkLst>
        </pc:spChg>
        <pc:spChg chg="mod">
          <ac:chgData name="Deimonmi Nongrum [Chillibreeze]" userId="e937f645-8c95-42a9-a298-dfd645e9a76a" providerId="ADAL" clId="{750E9A50-ACEA-48D3-B2C6-355D5EC56876}" dt="2024-06-13T11:01:21.745" v="3070"/>
          <ac:spMkLst>
            <pc:docMk/>
            <pc:sldMk cId="0" sldId="288"/>
            <ac:spMk id="43" creationId="{28466065-7E41-530A-F1E6-B25EB304F320}"/>
          </ac:spMkLst>
        </pc:spChg>
        <pc:spChg chg="mod">
          <ac:chgData name="Deimonmi Nongrum [Chillibreeze]" userId="e937f645-8c95-42a9-a298-dfd645e9a76a" providerId="ADAL" clId="{750E9A50-ACEA-48D3-B2C6-355D5EC56876}" dt="2024-06-13T11:01:21.745" v="3070"/>
          <ac:spMkLst>
            <pc:docMk/>
            <pc:sldMk cId="0" sldId="288"/>
            <ac:spMk id="45" creationId="{CABFB4FA-A28E-0C56-595D-371A440A1D15}"/>
          </ac:spMkLst>
        </pc:spChg>
        <pc:spChg chg="mod">
          <ac:chgData name="Deimonmi Nongrum [Chillibreeze]" userId="e937f645-8c95-42a9-a298-dfd645e9a76a" providerId="ADAL" clId="{750E9A50-ACEA-48D3-B2C6-355D5EC56876}" dt="2024-06-13T11:01:21.745" v="3070"/>
          <ac:spMkLst>
            <pc:docMk/>
            <pc:sldMk cId="0" sldId="288"/>
            <ac:spMk id="46" creationId="{19E99F81-3AAC-6E99-63C8-62D910EDE5E1}"/>
          </ac:spMkLst>
        </pc:spChg>
        <pc:spChg chg="mod">
          <ac:chgData name="Deimonmi Nongrum [Chillibreeze]" userId="e937f645-8c95-42a9-a298-dfd645e9a76a" providerId="ADAL" clId="{750E9A50-ACEA-48D3-B2C6-355D5EC56876}" dt="2024-06-13T11:01:21.745" v="3070"/>
          <ac:spMkLst>
            <pc:docMk/>
            <pc:sldMk cId="0" sldId="288"/>
            <ac:spMk id="48" creationId="{7C69361A-8A9B-317E-0D78-975A4B39CEC5}"/>
          </ac:spMkLst>
        </pc:spChg>
        <pc:spChg chg="mod">
          <ac:chgData name="Deimonmi Nongrum [Chillibreeze]" userId="e937f645-8c95-42a9-a298-dfd645e9a76a" providerId="ADAL" clId="{750E9A50-ACEA-48D3-B2C6-355D5EC56876}" dt="2024-06-13T11:01:21.745" v="3070"/>
          <ac:spMkLst>
            <pc:docMk/>
            <pc:sldMk cId="0" sldId="288"/>
            <ac:spMk id="49" creationId="{D6500D0A-67DB-AED9-8F30-7795240A8403}"/>
          </ac:spMkLst>
        </pc:spChg>
        <pc:spChg chg="mod">
          <ac:chgData name="Deimonmi Nongrum [Chillibreeze]" userId="e937f645-8c95-42a9-a298-dfd645e9a76a" providerId="ADAL" clId="{750E9A50-ACEA-48D3-B2C6-355D5EC56876}" dt="2024-06-13T11:01:21.745" v="3070"/>
          <ac:spMkLst>
            <pc:docMk/>
            <pc:sldMk cId="0" sldId="288"/>
            <ac:spMk id="51" creationId="{B2496CC9-59C3-4A51-B2C1-4793BB57EFB8}"/>
          </ac:spMkLst>
        </pc:spChg>
        <pc:spChg chg="mod">
          <ac:chgData name="Deimonmi Nongrum [Chillibreeze]" userId="e937f645-8c95-42a9-a298-dfd645e9a76a" providerId="ADAL" clId="{750E9A50-ACEA-48D3-B2C6-355D5EC56876}" dt="2024-06-13T11:01:21.745" v="3070"/>
          <ac:spMkLst>
            <pc:docMk/>
            <pc:sldMk cId="0" sldId="288"/>
            <ac:spMk id="52" creationId="{0AFD8283-7D70-2BA5-D8B6-76B7C60A7E03}"/>
          </ac:spMkLst>
        </pc:spChg>
        <pc:spChg chg="add mod">
          <ac:chgData name="Deimonmi Nongrum [Chillibreeze]" userId="e937f645-8c95-42a9-a298-dfd645e9a76a" providerId="ADAL" clId="{750E9A50-ACEA-48D3-B2C6-355D5EC56876}" dt="2024-06-13T11:01:21.745" v="3070"/>
          <ac:spMkLst>
            <pc:docMk/>
            <pc:sldMk cId="0" sldId="288"/>
            <ac:spMk id="53" creationId="{D05067DD-B74C-C7B9-25E3-9BF1F8DF6024}"/>
          </ac:spMkLst>
        </pc:spChg>
        <pc:spChg chg="add mod">
          <ac:chgData name="Deimonmi Nongrum [Chillibreeze]" userId="e937f645-8c95-42a9-a298-dfd645e9a76a" providerId="ADAL" clId="{750E9A50-ACEA-48D3-B2C6-355D5EC56876}" dt="2024-06-13T11:01:21.745" v="3070"/>
          <ac:spMkLst>
            <pc:docMk/>
            <pc:sldMk cId="0" sldId="288"/>
            <ac:spMk id="54" creationId="{74644720-1FF8-F6E4-72C4-F9019C602E6D}"/>
          </ac:spMkLst>
        </pc:spChg>
        <pc:spChg chg="add mod">
          <ac:chgData name="Deimonmi Nongrum [Chillibreeze]" userId="e937f645-8c95-42a9-a298-dfd645e9a76a" providerId="ADAL" clId="{750E9A50-ACEA-48D3-B2C6-355D5EC56876}" dt="2024-06-13T11:01:21.745" v="3070"/>
          <ac:spMkLst>
            <pc:docMk/>
            <pc:sldMk cId="0" sldId="288"/>
            <ac:spMk id="55" creationId="{2656C393-A490-0506-0134-EF8F1B513D83}"/>
          </ac:spMkLst>
        </pc:spChg>
        <pc:spChg chg="add mod">
          <ac:chgData name="Deimonmi Nongrum [Chillibreeze]" userId="e937f645-8c95-42a9-a298-dfd645e9a76a" providerId="ADAL" clId="{750E9A50-ACEA-48D3-B2C6-355D5EC56876}" dt="2024-06-13T11:01:21.745" v="3070"/>
          <ac:spMkLst>
            <pc:docMk/>
            <pc:sldMk cId="0" sldId="288"/>
            <ac:spMk id="56" creationId="{58074C9D-DEDB-7DBA-4721-597254871BCB}"/>
          </ac:spMkLst>
        </pc:spChg>
        <pc:spChg chg="add mod">
          <ac:chgData name="Deimonmi Nongrum [Chillibreeze]" userId="e937f645-8c95-42a9-a298-dfd645e9a76a" providerId="ADAL" clId="{750E9A50-ACEA-48D3-B2C6-355D5EC56876}" dt="2024-06-13T11:01:21.745" v="3070"/>
          <ac:spMkLst>
            <pc:docMk/>
            <pc:sldMk cId="0" sldId="288"/>
            <ac:spMk id="57" creationId="{3DE0DC90-A129-A2A9-6589-D0C47A25E63B}"/>
          </ac:spMkLst>
        </pc:spChg>
        <pc:spChg chg="add mod">
          <ac:chgData name="Deimonmi Nongrum [Chillibreeze]" userId="e937f645-8c95-42a9-a298-dfd645e9a76a" providerId="ADAL" clId="{750E9A50-ACEA-48D3-B2C6-355D5EC56876}" dt="2024-06-13T11:01:21.745" v="3070"/>
          <ac:spMkLst>
            <pc:docMk/>
            <pc:sldMk cId="0" sldId="288"/>
            <ac:spMk id="58" creationId="{340C6EAD-A3D3-BC48-CABB-8BF1E2A4C019}"/>
          </ac:spMkLst>
        </pc:spChg>
        <pc:spChg chg="mod">
          <ac:chgData name="Deimonmi Nongrum [Chillibreeze]" userId="e937f645-8c95-42a9-a298-dfd645e9a76a" providerId="ADAL" clId="{750E9A50-ACEA-48D3-B2C6-355D5EC56876}" dt="2024-06-13T11:01:21.745" v="3070"/>
          <ac:spMkLst>
            <pc:docMk/>
            <pc:sldMk cId="0" sldId="288"/>
            <ac:spMk id="60" creationId="{B020CCE8-67D5-0950-8C66-82D6BC9B32D4}"/>
          </ac:spMkLst>
        </pc:spChg>
        <pc:spChg chg="mod">
          <ac:chgData name="Deimonmi Nongrum [Chillibreeze]" userId="e937f645-8c95-42a9-a298-dfd645e9a76a" providerId="ADAL" clId="{750E9A50-ACEA-48D3-B2C6-355D5EC56876}" dt="2024-06-13T11:01:21.745" v="3070"/>
          <ac:spMkLst>
            <pc:docMk/>
            <pc:sldMk cId="0" sldId="288"/>
            <ac:spMk id="61" creationId="{F0AE17E0-8973-12F3-8236-8C9928B0D629}"/>
          </ac:spMkLst>
        </pc:spChg>
        <pc:spChg chg="add mod">
          <ac:chgData name="Deimonmi Nongrum [Chillibreeze]" userId="e937f645-8c95-42a9-a298-dfd645e9a76a" providerId="ADAL" clId="{750E9A50-ACEA-48D3-B2C6-355D5EC56876}" dt="2024-06-13T11:01:21.745" v="3070"/>
          <ac:spMkLst>
            <pc:docMk/>
            <pc:sldMk cId="0" sldId="288"/>
            <ac:spMk id="62" creationId="{2E754136-11E1-6DDB-5397-4D6B73F9347A}"/>
          </ac:spMkLst>
        </pc:spChg>
        <pc:spChg chg="add mod">
          <ac:chgData name="Deimonmi Nongrum [Chillibreeze]" userId="e937f645-8c95-42a9-a298-dfd645e9a76a" providerId="ADAL" clId="{750E9A50-ACEA-48D3-B2C6-355D5EC56876}" dt="2024-06-13T11:01:21.745" v="3070"/>
          <ac:spMkLst>
            <pc:docMk/>
            <pc:sldMk cId="0" sldId="288"/>
            <ac:spMk id="63" creationId="{7B26AFA7-F433-EB37-2D79-430559335197}"/>
          </ac:spMkLst>
        </pc:spChg>
        <pc:spChg chg="add mod">
          <ac:chgData name="Deimonmi Nongrum [Chillibreeze]" userId="e937f645-8c95-42a9-a298-dfd645e9a76a" providerId="ADAL" clId="{750E9A50-ACEA-48D3-B2C6-355D5EC56876}" dt="2024-06-13T11:01:21.745" v="3070"/>
          <ac:spMkLst>
            <pc:docMk/>
            <pc:sldMk cId="0" sldId="288"/>
            <ac:spMk id="64" creationId="{BC320FE5-E9C4-F198-69A1-536C1119EFF0}"/>
          </ac:spMkLst>
        </pc:spChg>
        <pc:spChg chg="add mod">
          <ac:chgData name="Deimonmi Nongrum [Chillibreeze]" userId="e937f645-8c95-42a9-a298-dfd645e9a76a" providerId="ADAL" clId="{750E9A50-ACEA-48D3-B2C6-355D5EC56876}" dt="2024-06-13T11:01:21.745" v="3070"/>
          <ac:spMkLst>
            <pc:docMk/>
            <pc:sldMk cId="0" sldId="288"/>
            <ac:spMk id="65" creationId="{25C6130C-9F01-BF72-B60B-59F2C1BF35FE}"/>
          </ac:spMkLst>
        </pc:spChg>
        <pc:grpChg chg="del mod ord">
          <ac:chgData name="Deimonmi Nongrum [Chillibreeze]" userId="e937f645-8c95-42a9-a298-dfd645e9a76a" providerId="ADAL" clId="{750E9A50-ACEA-48D3-B2C6-355D5EC56876}" dt="2024-06-13T11:00:44.994" v="3069" actId="478"/>
          <ac:grpSpMkLst>
            <pc:docMk/>
            <pc:sldMk cId="0" sldId="288"/>
            <ac:grpSpMk id="9" creationId="{F9175562-0A4E-1D79-89C6-B5D6761C2F9F}"/>
          </ac:grpSpMkLst>
        </pc:grpChg>
        <pc:grpChg chg="del mod ord">
          <ac:chgData name="Deimonmi Nongrum [Chillibreeze]" userId="e937f645-8c95-42a9-a298-dfd645e9a76a" providerId="ADAL" clId="{750E9A50-ACEA-48D3-B2C6-355D5EC56876}" dt="2024-06-13T11:00:44.994" v="3069" actId="478"/>
          <ac:grpSpMkLst>
            <pc:docMk/>
            <pc:sldMk cId="0" sldId="288"/>
            <ac:grpSpMk id="12" creationId="{2E43EEA4-E510-6685-EA6D-3A3C48CDEB11}"/>
          </ac:grpSpMkLst>
        </pc:grpChg>
        <pc:grpChg chg="del mod ord">
          <ac:chgData name="Deimonmi Nongrum [Chillibreeze]" userId="e937f645-8c95-42a9-a298-dfd645e9a76a" providerId="ADAL" clId="{750E9A50-ACEA-48D3-B2C6-355D5EC56876}" dt="2024-06-13T11:00:44.994" v="3069" actId="478"/>
          <ac:grpSpMkLst>
            <pc:docMk/>
            <pc:sldMk cId="0" sldId="288"/>
            <ac:grpSpMk id="15" creationId="{8889A4DB-254D-C798-DB41-11F6B659A180}"/>
          </ac:grpSpMkLst>
        </pc:grpChg>
        <pc:grpChg chg="del mod ord">
          <ac:chgData name="Deimonmi Nongrum [Chillibreeze]" userId="e937f645-8c95-42a9-a298-dfd645e9a76a" providerId="ADAL" clId="{750E9A50-ACEA-48D3-B2C6-355D5EC56876}" dt="2024-06-13T11:00:44.994" v="3069" actId="478"/>
          <ac:grpSpMkLst>
            <pc:docMk/>
            <pc:sldMk cId="0" sldId="288"/>
            <ac:grpSpMk id="18" creationId="{5CBE831D-DAD1-D203-D829-B3C996B587E0}"/>
          </ac:grpSpMkLst>
        </pc:grpChg>
        <pc:grpChg chg="del mod ord">
          <ac:chgData name="Deimonmi Nongrum [Chillibreeze]" userId="e937f645-8c95-42a9-a298-dfd645e9a76a" providerId="ADAL" clId="{750E9A50-ACEA-48D3-B2C6-355D5EC56876}" dt="2024-06-13T11:00:44.994" v="3069" actId="478"/>
          <ac:grpSpMkLst>
            <pc:docMk/>
            <pc:sldMk cId="0" sldId="288"/>
            <ac:grpSpMk id="21" creationId="{D41BDCB2-C8A7-D5D1-530C-3D2222118810}"/>
          </ac:grpSpMkLst>
        </pc:grpChg>
        <pc:grpChg chg="add mod">
          <ac:chgData name="Deimonmi Nongrum [Chillibreeze]" userId="e937f645-8c95-42a9-a298-dfd645e9a76a" providerId="ADAL" clId="{750E9A50-ACEA-48D3-B2C6-355D5EC56876}" dt="2024-06-13T11:01:21.745" v="3070"/>
          <ac:grpSpMkLst>
            <pc:docMk/>
            <pc:sldMk cId="0" sldId="288"/>
            <ac:grpSpMk id="41" creationId="{04F25853-BE43-3C1D-C4BF-635D946B0739}"/>
          </ac:grpSpMkLst>
        </pc:grpChg>
        <pc:grpChg chg="add mod">
          <ac:chgData name="Deimonmi Nongrum [Chillibreeze]" userId="e937f645-8c95-42a9-a298-dfd645e9a76a" providerId="ADAL" clId="{750E9A50-ACEA-48D3-B2C6-355D5EC56876}" dt="2024-06-13T11:01:21.745" v="3070"/>
          <ac:grpSpMkLst>
            <pc:docMk/>
            <pc:sldMk cId="0" sldId="288"/>
            <ac:grpSpMk id="44" creationId="{2E7D504C-F61E-6318-8320-41A9B676AF7E}"/>
          </ac:grpSpMkLst>
        </pc:grpChg>
        <pc:grpChg chg="add mod">
          <ac:chgData name="Deimonmi Nongrum [Chillibreeze]" userId="e937f645-8c95-42a9-a298-dfd645e9a76a" providerId="ADAL" clId="{750E9A50-ACEA-48D3-B2C6-355D5EC56876}" dt="2024-06-13T11:01:21.745" v="3070"/>
          <ac:grpSpMkLst>
            <pc:docMk/>
            <pc:sldMk cId="0" sldId="288"/>
            <ac:grpSpMk id="47" creationId="{E6AAF09B-41DB-BB88-49BE-084542852E59}"/>
          </ac:grpSpMkLst>
        </pc:grpChg>
        <pc:grpChg chg="add mod">
          <ac:chgData name="Deimonmi Nongrum [Chillibreeze]" userId="e937f645-8c95-42a9-a298-dfd645e9a76a" providerId="ADAL" clId="{750E9A50-ACEA-48D3-B2C6-355D5EC56876}" dt="2024-06-13T11:01:21.745" v="3070"/>
          <ac:grpSpMkLst>
            <pc:docMk/>
            <pc:sldMk cId="0" sldId="288"/>
            <ac:grpSpMk id="50" creationId="{B39757A4-5442-850C-0BC6-D35A4D27799C}"/>
          </ac:grpSpMkLst>
        </pc:grpChg>
        <pc:grpChg chg="add mod">
          <ac:chgData name="Deimonmi Nongrum [Chillibreeze]" userId="e937f645-8c95-42a9-a298-dfd645e9a76a" providerId="ADAL" clId="{750E9A50-ACEA-48D3-B2C6-355D5EC56876}" dt="2024-06-13T11:01:21.745" v="3070"/>
          <ac:grpSpMkLst>
            <pc:docMk/>
            <pc:sldMk cId="0" sldId="288"/>
            <ac:grpSpMk id="59" creationId="{4CF652CC-DF46-A89D-0E46-5F2C7AFEE772}"/>
          </ac:grpSpMkLst>
        </pc:grpChg>
        <pc:picChg chg="del mod ord">
          <ac:chgData name="Deimonmi Nongrum [Chillibreeze]" userId="e937f645-8c95-42a9-a298-dfd645e9a76a" providerId="ADAL" clId="{750E9A50-ACEA-48D3-B2C6-355D5EC56876}" dt="2024-06-13T11:00:44.994" v="3069" actId="478"/>
          <ac:picMkLst>
            <pc:docMk/>
            <pc:sldMk cId="0" sldId="288"/>
            <ac:picMk id="4" creationId="{375DF74D-279C-8D4E-1CDA-00ED8113EC94}"/>
          </ac:picMkLst>
        </pc:picChg>
        <pc:picChg chg="mod ord">
          <ac:chgData name="Deimonmi Nongrum [Chillibreeze]" userId="e937f645-8c95-42a9-a298-dfd645e9a76a" providerId="ADAL" clId="{750E9A50-ACEA-48D3-B2C6-355D5EC56876}" dt="2024-06-13T10:59:55.595" v="3050" actId="167"/>
          <ac:picMkLst>
            <pc:docMk/>
            <pc:sldMk cId="0" sldId="288"/>
            <ac:picMk id="5" creationId="{DEA69878-F4FC-1B36-5F9D-119E84078EA8}"/>
          </ac:picMkLst>
        </pc:picChg>
        <pc:picChg chg="mod ord">
          <ac:chgData name="Deimonmi Nongrum [Chillibreeze]" userId="e937f645-8c95-42a9-a298-dfd645e9a76a" providerId="ADAL" clId="{750E9A50-ACEA-48D3-B2C6-355D5EC56876}" dt="2024-06-13T10:59:55.595" v="3050" actId="167"/>
          <ac:picMkLst>
            <pc:docMk/>
            <pc:sldMk cId="0" sldId="288"/>
            <ac:picMk id="24" creationId="{9F33FBB6-04B2-299B-E0AA-975F0072AA6A}"/>
          </ac:picMkLst>
        </pc:picChg>
        <pc:cxnChg chg="del mod ord">
          <ac:chgData name="Deimonmi Nongrum [Chillibreeze]" userId="e937f645-8c95-42a9-a298-dfd645e9a76a" providerId="ADAL" clId="{750E9A50-ACEA-48D3-B2C6-355D5EC56876}" dt="2024-06-13T11:00:44.994" v="3069" actId="478"/>
          <ac:cxnSpMkLst>
            <pc:docMk/>
            <pc:sldMk cId="0" sldId="288"/>
            <ac:cxnSpMk id="8" creationId="{EB539545-CE89-794B-B104-D8307D8AA0A6}"/>
          </ac:cxnSpMkLst>
        </pc:cxnChg>
        <pc:cxnChg chg="add mod">
          <ac:chgData name="Deimonmi Nongrum [Chillibreeze]" userId="e937f645-8c95-42a9-a298-dfd645e9a76a" providerId="ADAL" clId="{750E9A50-ACEA-48D3-B2C6-355D5EC56876}" dt="2024-06-13T11:01:21.745" v="3070"/>
          <ac:cxnSpMkLst>
            <pc:docMk/>
            <pc:sldMk cId="0" sldId="288"/>
            <ac:cxnSpMk id="40" creationId="{271069FE-9303-74AB-3382-06ED9D49B400}"/>
          </ac:cxnSpMkLst>
        </pc:cxnChg>
      </pc:sldChg>
      <pc:sldChg chg="addSp delSp modSp mod modClrScheme chgLayout">
        <pc:chgData name="Deimonmi Nongrum [Chillibreeze]" userId="e937f645-8c95-42a9-a298-dfd645e9a76a" providerId="ADAL" clId="{750E9A50-ACEA-48D3-B2C6-355D5EC56876}" dt="2024-06-12T09:43:22.507" v="153" actId="700"/>
        <pc:sldMkLst>
          <pc:docMk/>
          <pc:sldMk cId="0" sldId="289"/>
        </pc:sldMkLst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89"/>
            <ac:spMk id="2" creationId="{CEF5B3F4-EE41-9683-1F91-3896AE945D27}"/>
          </ac:spMkLst>
        </pc:spChg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289"/>
            <ac:spMk id="2" creationId="{D5355987-12E1-4E0E-1625-52AA1C64413C}"/>
          </ac:spMkLst>
        </pc:spChg>
        <pc:spChg chg="add mod">
          <ac:chgData name="Deimonmi Nongrum [Chillibreeze]" userId="e937f645-8c95-42a9-a298-dfd645e9a76a" providerId="ADAL" clId="{750E9A50-ACEA-48D3-B2C6-355D5EC56876}" dt="2024-06-12T03:56:18.828" v="39"/>
          <ac:spMkLst>
            <pc:docMk/>
            <pc:sldMk cId="0" sldId="289"/>
            <ac:spMk id="3" creationId="{5B2BB983-B26E-A04A-C631-6D9B7D488D4A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89"/>
            <ac:spMk id="4" creationId="{2ECD8D41-CA48-A4C6-346B-FC4097622317}"/>
          </ac:spMkLst>
        </pc:spChg>
      </pc:sldChg>
      <pc:sldChg chg="addSp modSp mod modClrScheme chgLayout">
        <pc:chgData name="Deimonmi Nongrum [Chillibreeze]" userId="e937f645-8c95-42a9-a298-dfd645e9a76a" providerId="ADAL" clId="{750E9A50-ACEA-48D3-B2C6-355D5EC56876}" dt="2024-06-12T09:43:22.507" v="153" actId="700"/>
        <pc:sldMkLst>
          <pc:docMk/>
          <pc:sldMk cId="0" sldId="290"/>
        </pc:sldMkLst>
        <pc:spChg chg="add mod">
          <ac:chgData name="Deimonmi Nongrum [Chillibreeze]" userId="e937f645-8c95-42a9-a298-dfd645e9a76a" providerId="ADAL" clId="{750E9A50-ACEA-48D3-B2C6-355D5EC56876}" dt="2024-06-12T03:56:28.175" v="40"/>
          <ac:spMkLst>
            <pc:docMk/>
            <pc:sldMk cId="0" sldId="290"/>
            <ac:spMk id="2" creationId="{CEE1E452-0C89-AED2-6898-47672C42A9ED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90"/>
            <ac:spMk id="4646" creationId="{00000000-0000-0000-0000-000000000000}"/>
          </ac:spMkLst>
        </pc:spChg>
      </pc:sldChg>
      <pc:sldChg chg="addSp modSp mod modClrScheme chgLayout">
        <pc:chgData name="Deimonmi Nongrum [Chillibreeze]" userId="e937f645-8c95-42a9-a298-dfd645e9a76a" providerId="ADAL" clId="{750E9A50-ACEA-48D3-B2C6-355D5EC56876}" dt="2024-06-12T09:43:22.507" v="153" actId="700"/>
        <pc:sldMkLst>
          <pc:docMk/>
          <pc:sldMk cId="0" sldId="291"/>
        </pc:sldMkLst>
        <pc:spChg chg="add mod">
          <ac:chgData name="Deimonmi Nongrum [Chillibreeze]" userId="e937f645-8c95-42a9-a298-dfd645e9a76a" providerId="ADAL" clId="{750E9A50-ACEA-48D3-B2C6-355D5EC56876}" dt="2024-06-12T03:56:29.053" v="41"/>
          <ac:spMkLst>
            <pc:docMk/>
            <pc:sldMk cId="0" sldId="291"/>
            <ac:spMk id="2" creationId="{AEFFBD50-9AAC-D811-F2D6-331A96BAB94D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91"/>
            <ac:spMk id="4651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91"/>
            <ac:spMk id="4652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91"/>
            <ac:spMk id="4653" creationId="{00000000-0000-0000-0000-000000000000}"/>
          </ac:spMkLst>
        </pc:spChg>
      </pc:sldChg>
      <pc:sldChg chg="modSp mod modClrScheme chgLayout">
        <pc:chgData name="Deimonmi Nongrum [Chillibreeze]" userId="e937f645-8c95-42a9-a298-dfd645e9a76a" providerId="ADAL" clId="{750E9A50-ACEA-48D3-B2C6-355D5EC56876}" dt="2024-06-13T12:03:54.531" v="4056" actId="20577"/>
        <pc:sldMkLst>
          <pc:docMk/>
          <pc:sldMk cId="0" sldId="292"/>
        </pc:sldMkLst>
        <pc:spChg chg="mod">
          <ac:chgData name="Deimonmi Nongrum [Chillibreeze]" userId="e937f645-8c95-42a9-a298-dfd645e9a76a" providerId="ADAL" clId="{750E9A50-ACEA-48D3-B2C6-355D5EC56876}" dt="2024-06-13T12:03:54.531" v="4056" actId="20577"/>
          <ac:spMkLst>
            <pc:docMk/>
            <pc:sldMk cId="0" sldId="292"/>
            <ac:spMk id="25" creationId="{C6252E15-203B-1E46-5AFA-62F70CC270EA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92"/>
            <ac:spMk id="4658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92"/>
            <ac:spMk id="4659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92"/>
            <ac:spMk id="4660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92"/>
            <ac:spMk id="4661" creationId="{00000000-0000-0000-0000-000000000000}"/>
          </ac:spMkLst>
        </pc:spChg>
      </pc:sldChg>
      <pc:sldChg chg="addSp delSp modSp mod modClrScheme chgLayout">
        <pc:chgData name="Deimonmi Nongrum [Chillibreeze]" userId="e937f645-8c95-42a9-a298-dfd645e9a76a" providerId="ADAL" clId="{750E9A50-ACEA-48D3-B2C6-355D5EC56876}" dt="2024-06-12T09:43:22.507" v="153" actId="700"/>
        <pc:sldMkLst>
          <pc:docMk/>
          <pc:sldMk cId="0" sldId="293"/>
        </pc:sldMkLst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93"/>
            <ac:spMk id="2" creationId="{68AC6317-01FF-5FF3-0AE5-7EA796939846}"/>
          </ac:spMkLst>
        </pc:spChg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293"/>
            <ac:spMk id="2" creationId="{8D079767-BC84-7DF6-B575-A3B72421FACD}"/>
          </ac:spMkLst>
        </pc:spChg>
        <pc:spChg chg="add mod">
          <ac:chgData name="Deimonmi Nongrum [Chillibreeze]" userId="e937f645-8c95-42a9-a298-dfd645e9a76a" providerId="ADAL" clId="{750E9A50-ACEA-48D3-B2C6-355D5EC56876}" dt="2024-06-12T03:56:38.408" v="42"/>
          <ac:spMkLst>
            <pc:docMk/>
            <pc:sldMk cId="0" sldId="293"/>
            <ac:spMk id="3" creationId="{4C9B7A31-DF95-E4F1-7CA4-A4657F2BDEB7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93"/>
            <ac:spMk id="4" creationId="{414326D4-A859-20A0-FDFD-EE8912F9D82E}"/>
          </ac:spMkLst>
        </pc:spChg>
      </pc:sldChg>
      <pc:sldChg chg="addSp delSp modSp mod modClrScheme chgLayout">
        <pc:chgData name="Deimonmi Nongrum [Chillibreeze]" userId="e937f645-8c95-42a9-a298-dfd645e9a76a" providerId="ADAL" clId="{750E9A50-ACEA-48D3-B2C6-355D5EC56876}" dt="2024-06-12T09:43:22.507" v="153" actId="700"/>
        <pc:sldMkLst>
          <pc:docMk/>
          <pc:sldMk cId="0" sldId="294"/>
        </pc:sldMkLst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294"/>
            <ac:spMk id="2" creationId="{0B7D0096-7A99-4E9D-C4CB-D418595BF6E1}"/>
          </ac:spMkLst>
        </pc:spChg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94"/>
            <ac:spMk id="2" creationId="{6643A552-6C99-D8F2-9C16-115E11D0D21F}"/>
          </ac:spMkLst>
        </pc:spChg>
        <pc:spChg chg="add mod">
          <ac:chgData name="Deimonmi Nongrum [Chillibreeze]" userId="e937f645-8c95-42a9-a298-dfd645e9a76a" providerId="ADAL" clId="{750E9A50-ACEA-48D3-B2C6-355D5EC56876}" dt="2024-06-12T03:56:39.240" v="43"/>
          <ac:spMkLst>
            <pc:docMk/>
            <pc:sldMk cId="0" sldId="294"/>
            <ac:spMk id="3" creationId="{E6E06E48-57E6-62A8-018A-758BF997953E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94"/>
            <ac:spMk id="4" creationId="{1129ACAC-E3FE-A643-3E89-42BFCDE825B4}"/>
          </ac:spMkLst>
        </pc:spChg>
      </pc:sldChg>
      <pc:sldChg chg="addSp delSp modSp mod modClrScheme chgLayout">
        <pc:chgData name="Deimonmi Nongrum [Chillibreeze]" userId="e937f645-8c95-42a9-a298-dfd645e9a76a" providerId="ADAL" clId="{750E9A50-ACEA-48D3-B2C6-355D5EC56876}" dt="2024-06-13T12:04:00.412" v="4058" actId="20577"/>
        <pc:sldMkLst>
          <pc:docMk/>
          <pc:sldMk cId="0" sldId="295"/>
        </pc:sldMkLst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95"/>
            <ac:spMk id="2" creationId="{1AFB21E9-5AE4-537C-0BA6-D1977B03328E}"/>
          </ac:spMkLst>
        </pc:spChg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295"/>
            <ac:spMk id="2" creationId="{455D46E4-9E35-9271-86CF-68BCD008623C}"/>
          </ac:spMkLst>
        </pc:spChg>
        <pc:spChg chg="add mod">
          <ac:chgData name="Deimonmi Nongrum [Chillibreeze]" userId="e937f645-8c95-42a9-a298-dfd645e9a76a" providerId="ADAL" clId="{750E9A50-ACEA-48D3-B2C6-355D5EC56876}" dt="2024-06-12T03:56:40.219" v="44"/>
          <ac:spMkLst>
            <pc:docMk/>
            <pc:sldMk cId="0" sldId="295"/>
            <ac:spMk id="3" creationId="{1A72CDE5-13EF-7A1E-28FC-E3440F6D670F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95"/>
            <ac:spMk id="4" creationId="{F6F9D5CB-DC18-DAAC-95BA-969C2DB3F510}"/>
          </ac:spMkLst>
        </pc:spChg>
        <pc:spChg chg="mod ord">
          <ac:chgData name="Deimonmi Nongrum [Chillibreeze]" userId="e937f645-8c95-42a9-a298-dfd645e9a76a" providerId="ADAL" clId="{750E9A50-ACEA-48D3-B2C6-355D5EC56876}" dt="2024-06-13T11:03:54.376" v="3078" actId="167"/>
          <ac:spMkLst>
            <pc:docMk/>
            <pc:sldMk cId="0" sldId="295"/>
            <ac:spMk id="5" creationId="{7F7D1EA0-5F6D-7B93-DE69-9DD22A21C418}"/>
          </ac:spMkLst>
        </pc:spChg>
        <pc:spChg chg="mod ord">
          <ac:chgData name="Deimonmi Nongrum [Chillibreeze]" userId="e937f645-8c95-42a9-a298-dfd645e9a76a" providerId="ADAL" clId="{750E9A50-ACEA-48D3-B2C6-355D5EC56876}" dt="2024-06-13T11:03:54.376" v="3078" actId="167"/>
          <ac:spMkLst>
            <pc:docMk/>
            <pc:sldMk cId="0" sldId="295"/>
            <ac:spMk id="6" creationId="{AB9FDB0F-BF5A-D693-D9EE-5F3257C2B69B}"/>
          </ac:spMkLst>
        </pc:spChg>
        <pc:spChg chg="mod ord">
          <ac:chgData name="Deimonmi Nongrum [Chillibreeze]" userId="e937f645-8c95-42a9-a298-dfd645e9a76a" providerId="ADAL" clId="{750E9A50-ACEA-48D3-B2C6-355D5EC56876}" dt="2024-06-13T11:03:54.376" v="3078" actId="167"/>
          <ac:spMkLst>
            <pc:docMk/>
            <pc:sldMk cId="0" sldId="295"/>
            <ac:spMk id="7" creationId="{69E2E808-C1B3-69BD-A3DD-70FAFE9F1E55}"/>
          </ac:spMkLst>
        </pc:spChg>
        <pc:spChg chg="mod ord">
          <ac:chgData name="Deimonmi Nongrum [Chillibreeze]" userId="e937f645-8c95-42a9-a298-dfd645e9a76a" providerId="ADAL" clId="{750E9A50-ACEA-48D3-B2C6-355D5EC56876}" dt="2024-06-13T11:03:54.376" v="3078" actId="167"/>
          <ac:spMkLst>
            <pc:docMk/>
            <pc:sldMk cId="0" sldId="295"/>
            <ac:spMk id="8" creationId="{B215213A-C209-9347-BB32-638AADBEADB0}"/>
          </ac:spMkLst>
        </pc:spChg>
        <pc:spChg chg="mod ord">
          <ac:chgData name="Deimonmi Nongrum [Chillibreeze]" userId="e937f645-8c95-42a9-a298-dfd645e9a76a" providerId="ADAL" clId="{750E9A50-ACEA-48D3-B2C6-355D5EC56876}" dt="2024-06-13T11:03:54.376" v="3078" actId="167"/>
          <ac:spMkLst>
            <pc:docMk/>
            <pc:sldMk cId="0" sldId="295"/>
            <ac:spMk id="9" creationId="{A5BCA4F9-AA55-FAA1-7905-66FBB42E56F5}"/>
          </ac:spMkLst>
        </pc:spChg>
        <pc:spChg chg="mod ord">
          <ac:chgData name="Deimonmi Nongrum [Chillibreeze]" userId="e937f645-8c95-42a9-a298-dfd645e9a76a" providerId="ADAL" clId="{750E9A50-ACEA-48D3-B2C6-355D5EC56876}" dt="2024-06-13T11:03:54.376" v="3078" actId="167"/>
          <ac:spMkLst>
            <pc:docMk/>
            <pc:sldMk cId="0" sldId="295"/>
            <ac:spMk id="10" creationId="{EE114CB0-1B35-24E2-238E-A318C030457D}"/>
          </ac:spMkLst>
        </pc:spChg>
        <pc:spChg chg="mod ord">
          <ac:chgData name="Deimonmi Nongrum [Chillibreeze]" userId="e937f645-8c95-42a9-a298-dfd645e9a76a" providerId="ADAL" clId="{750E9A50-ACEA-48D3-B2C6-355D5EC56876}" dt="2024-06-13T11:03:54.376" v="3078" actId="167"/>
          <ac:spMkLst>
            <pc:docMk/>
            <pc:sldMk cId="0" sldId="295"/>
            <ac:spMk id="11" creationId="{8BA8672C-51C5-61E4-E7C8-304AD151C97D}"/>
          </ac:spMkLst>
        </pc:spChg>
        <pc:spChg chg="mod ord">
          <ac:chgData name="Deimonmi Nongrum [Chillibreeze]" userId="e937f645-8c95-42a9-a298-dfd645e9a76a" providerId="ADAL" clId="{750E9A50-ACEA-48D3-B2C6-355D5EC56876}" dt="2024-06-13T11:03:54.376" v="3078" actId="167"/>
          <ac:spMkLst>
            <pc:docMk/>
            <pc:sldMk cId="0" sldId="295"/>
            <ac:spMk id="12" creationId="{1EBCE613-6FF7-FACF-82AF-760FF3BA363C}"/>
          </ac:spMkLst>
        </pc:spChg>
        <pc:spChg chg="ord">
          <ac:chgData name="Deimonmi Nongrum [Chillibreeze]" userId="e937f645-8c95-42a9-a298-dfd645e9a76a" providerId="ADAL" clId="{750E9A50-ACEA-48D3-B2C6-355D5EC56876}" dt="2024-06-13T11:04:00.730" v="3087"/>
          <ac:spMkLst>
            <pc:docMk/>
            <pc:sldMk cId="0" sldId="295"/>
            <ac:spMk id="25" creationId="{E36BF757-359F-135B-EF4B-E73916935D6A}"/>
          </ac:spMkLst>
        </pc:spChg>
        <pc:spChg chg="mod ord">
          <ac:chgData name="Deimonmi Nongrum [Chillibreeze]" userId="e937f645-8c95-42a9-a298-dfd645e9a76a" providerId="ADAL" clId="{750E9A50-ACEA-48D3-B2C6-355D5EC56876}" dt="2024-06-13T11:03:54.376" v="3078" actId="167"/>
          <ac:spMkLst>
            <pc:docMk/>
            <pc:sldMk cId="0" sldId="295"/>
            <ac:spMk id="26" creationId="{8E952A24-FB56-AD19-5676-4BCE8D03835E}"/>
          </ac:spMkLst>
        </pc:spChg>
        <pc:spChg chg="ord">
          <ac:chgData name="Deimonmi Nongrum [Chillibreeze]" userId="e937f645-8c95-42a9-a298-dfd645e9a76a" providerId="ADAL" clId="{750E9A50-ACEA-48D3-B2C6-355D5EC56876}" dt="2024-06-13T11:04:01.509" v="3088"/>
          <ac:spMkLst>
            <pc:docMk/>
            <pc:sldMk cId="0" sldId="295"/>
            <ac:spMk id="27" creationId="{EEC6C9E9-C263-E16F-0DD0-B1CD2453D4F3}"/>
          </ac:spMkLst>
        </pc:spChg>
        <pc:spChg chg="mod ord">
          <ac:chgData name="Deimonmi Nongrum [Chillibreeze]" userId="e937f645-8c95-42a9-a298-dfd645e9a76a" providerId="ADAL" clId="{750E9A50-ACEA-48D3-B2C6-355D5EC56876}" dt="2024-06-13T11:03:54.376" v="3078" actId="167"/>
          <ac:spMkLst>
            <pc:docMk/>
            <pc:sldMk cId="0" sldId="295"/>
            <ac:spMk id="28" creationId="{BD9992DB-712F-4294-D792-8F04AFD24A36}"/>
          </ac:spMkLst>
        </pc:spChg>
        <pc:spChg chg="ord">
          <ac:chgData name="Deimonmi Nongrum [Chillibreeze]" userId="e937f645-8c95-42a9-a298-dfd645e9a76a" providerId="ADAL" clId="{750E9A50-ACEA-48D3-B2C6-355D5EC56876}" dt="2024-06-13T11:04:02.401" v="3089"/>
          <ac:spMkLst>
            <pc:docMk/>
            <pc:sldMk cId="0" sldId="295"/>
            <ac:spMk id="29" creationId="{085698D8-BE58-E53F-BD92-97CD5A7F3AEA}"/>
          </ac:spMkLst>
        </pc:spChg>
        <pc:spChg chg="mod ord">
          <ac:chgData name="Deimonmi Nongrum [Chillibreeze]" userId="e937f645-8c95-42a9-a298-dfd645e9a76a" providerId="ADAL" clId="{750E9A50-ACEA-48D3-B2C6-355D5EC56876}" dt="2024-06-13T11:03:54.376" v="3078" actId="167"/>
          <ac:spMkLst>
            <pc:docMk/>
            <pc:sldMk cId="0" sldId="295"/>
            <ac:spMk id="30" creationId="{70490A4E-A8A5-7384-9AFC-E3A566726F3A}"/>
          </ac:spMkLst>
        </pc:spChg>
        <pc:spChg chg="ord">
          <ac:chgData name="Deimonmi Nongrum [Chillibreeze]" userId="e937f645-8c95-42a9-a298-dfd645e9a76a" providerId="ADAL" clId="{750E9A50-ACEA-48D3-B2C6-355D5EC56876}" dt="2024-06-13T11:04:03.223" v="3090"/>
          <ac:spMkLst>
            <pc:docMk/>
            <pc:sldMk cId="0" sldId="295"/>
            <ac:spMk id="31" creationId="{EE7A3487-1F1F-358D-3F51-6309A994AEC6}"/>
          </ac:spMkLst>
        </pc:spChg>
        <pc:spChg chg="mod ord">
          <ac:chgData name="Deimonmi Nongrum [Chillibreeze]" userId="e937f645-8c95-42a9-a298-dfd645e9a76a" providerId="ADAL" clId="{750E9A50-ACEA-48D3-B2C6-355D5EC56876}" dt="2024-06-13T12:04:00.412" v="4058" actId="20577"/>
          <ac:spMkLst>
            <pc:docMk/>
            <pc:sldMk cId="0" sldId="295"/>
            <ac:spMk id="33" creationId="{76C933BC-0B6D-7670-2F32-A6B0D5F2F8F0}"/>
          </ac:spMkLst>
        </pc:spChg>
        <pc:grpChg chg="mod ord">
          <ac:chgData name="Deimonmi Nongrum [Chillibreeze]" userId="e937f645-8c95-42a9-a298-dfd645e9a76a" providerId="ADAL" clId="{750E9A50-ACEA-48D3-B2C6-355D5EC56876}" dt="2024-06-13T11:03:54.376" v="3078" actId="167"/>
          <ac:grpSpMkLst>
            <pc:docMk/>
            <pc:sldMk cId="0" sldId="295"/>
            <ac:grpSpMk id="13" creationId="{AAB0E92E-884B-C60D-A423-FC08F69DB521}"/>
          </ac:grpSpMkLst>
        </pc:grpChg>
        <pc:grpChg chg="mod ord">
          <ac:chgData name="Deimonmi Nongrum [Chillibreeze]" userId="e937f645-8c95-42a9-a298-dfd645e9a76a" providerId="ADAL" clId="{750E9A50-ACEA-48D3-B2C6-355D5EC56876}" dt="2024-06-13T11:03:54.376" v="3078" actId="167"/>
          <ac:grpSpMkLst>
            <pc:docMk/>
            <pc:sldMk cId="0" sldId="295"/>
            <ac:grpSpMk id="16" creationId="{74CED025-5562-BAC8-9671-0825EE13ECC1}"/>
          </ac:grpSpMkLst>
        </pc:grpChg>
        <pc:grpChg chg="mod ord">
          <ac:chgData name="Deimonmi Nongrum [Chillibreeze]" userId="e937f645-8c95-42a9-a298-dfd645e9a76a" providerId="ADAL" clId="{750E9A50-ACEA-48D3-B2C6-355D5EC56876}" dt="2024-06-13T11:03:54.376" v="3078" actId="167"/>
          <ac:grpSpMkLst>
            <pc:docMk/>
            <pc:sldMk cId="0" sldId="295"/>
            <ac:grpSpMk id="19" creationId="{9B2177C2-CF90-C9CA-EDD7-3398A2EB1DB5}"/>
          </ac:grpSpMkLst>
        </pc:grpChg>
        <pc:picChg chg="mod ord">
          <ac:chgData name="Deimonmi Nongrum [Chillibreeze]" userId="e937f645-8c95-42a9-a298-dfd645e9a76a" providerId="ADAL" clId="{750E9A50-ACEA-48D3-B2C6-355D5EC56876}" dt="2024-06-13T11:03:54.376" v="3078" actId="167"/>
          <ac:picMkLst>
            <pc:docMk/>
            <pc:sldMk cId="0" sldId="295"/>
            <ac:picMk id="4" creationId="{8090A14D-85E3-E4C5-0EBE-8044E245078E}"/>
          </ac:picMkLst>
        </pc:picChg>
        <pc:picChg chg="mod ord">
          <ac:chgData name="Deimonmi Nongrum [Chillibreeze]" userId="e937f645-8c95-42a9-a298-dfd645e9a76a" providerId="ADAL" clId="{750E9A50-ACEA-48D3-B2C6-355D5EC56876}" dt="2024-06-13T11:03:54.376" v="3078" actId="167"/>
          <ac:picMkLst>
            <pc:docMk/>
            <pc:sldMk cId="0" sldId="295"/>
            <ac:picMk id="24" creationId="{64D261A3-D5A4-B039-A383-E3539D4ABAC8}"/>
          </ac:picMkLst>
        </pc:picChg>
      </pc:sldChg>
      <pc:sldChg chg="addSp delSp modSp mod modClrScheme chgLayout">
        <pc:chgData name="Deimonmi Nongrum [Chillibreeze]" userId="e937f645-8c95-42a9-a298-dfd645e9a76a" providerId="ADAL" clId="{750E9A50-ACEA-48D3-B2C6-355D5EC56876}" dt="2024-06-13T11:05:04.175" v="3112"/>
        <pc:sldMkLst>
          <pc:docMk/>
          <pc:sldMk cId="0" sldId="296"/>
        </pc:sldMkLst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96"/>
            <ac:spMk id="2" creationId="{41F76B55-7D18-AB8B-DC90-4EBDBA1BDCDE}"/>
          </ac:spMkLst>
        </pc:spChg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296"/>
            <ac:spMk id="2" creationId="{9EA63B50-0129-E697-E107-DC774FA670D3}"/>
          </ac:spMkLst>
        </pc:spChg>
        <pc:spChg chg="add mod">
          <ac:chgData name="Deimonmi Nongrum [Chillibreeze]" userId="e937f645-8c95-42a9-a298-dfd645e9a76a" providerId="ADAL" clId="{750E9A50-ACEA-48D3-B2C6-355D5EC56876}" dt="2024-06-12T03:56:41.572" v="45"/>
          <ac:spMkLst>
            <pc:docMk/>
            <pc:sldMk cId="0" sldId="296"/>
            <ac:spMk id="3" creationId="{D9B7C059-BF87-AB0F-1935-B6E2631C5FAB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96"/>
            <ac:spMk id="4" creationId="{DB0A12E8-11F2-6253-F416-1BE1A98B5539}"/>
          </ac:spMkLst>
        </pc:spChg>
        <pc:spChg chg="ord">
          <ac:chgData name="Deimonmi Nongrum [Chillibreeze]" userId="e937f645-8c95-42a9-a298-dfd645e9a76a" providerId="ADAL" clId="{750E9A50-ACEA-48D3-B2C6-355D5EC56876}" dt="2024-06-13T11:04:44.563" v="3094" actId="167"/>
          <ac:spMkLst>
            <pc:docMk/>
            <pc:sldMk cId="0" sldId="296"/>
            <ac:spMk id="5" creationId="{A9DBE6B2-2872-DBB3-15C2-226E1CDC3E24}"/>
          </ac:spMkLst>
        </pc:spChg>
        <pc:spChg chg="ord">
          <ac:chgData name="Deimonmi Nongrum [Chillibreeze]" userId="e937f645-8c95-42a9-a298-dfd645e9a76a" providerId="ADAL" clId="{750E9A50-ACEA-48D3-B2C6-355D5EC56876}" dt="2024-06-13T11:04:44.563" v="3094" actId="167"/>
          <ac:spMkLst>
            <pc:docMk/>
            <pc:sldMk cId="0" sldId="296"/>
            <ac:spMk id="6" creationId="{95092DC1-8DA7-A826-3339-F4DC7EFD9E83}"/>
          </ac:spMkLst>
        </pc:spChg>
        <pc:spChg chg="ord">
          <ac:chgData name="Deimonmi Nongrum [Chillibreeze]" userId="e937f645-8c95-42a9-a298-dfd645e9a76a" providerId="ADAL" clId="{750E9A50-ACEA-48D3-B2C6-355D5EC56876}" dt="2024-06-13T11:04:44.563" v="3094" actId="167"/>
          <ac:spMkLst>
            <pc:docMk/>
            <pc:sldMk cId="0" sldId="296"/>
            <ac:spMk id="7" creationId="{1E913161-BEB2-9686-2E81-E8DB12D7B435}"/>
          </ac:spMkLst>
        </pc:spChg>
        <pc:spChg chg="ord">
          <ac:chgData name="Deimonmi Nongrum [Chillibreeze]" userId="e937f645-8c95-42a9-a298-dfd645e9a76a" providerId="ADAL" clId="{750E9A50-ACEA-48D3-B2C6-355D5EC56876}" dt="2024-06-13T11:04:44.563" v="3094" actId="167"/>
          <ac:spMkLst>
            <pc:docMk/>
            <pc:sldMk cId="0" sldId="296"/>
            <ac:spMk id="8" creationId="{0C225531-6F14-AEE0-CF45-0619613CE758}"/>
          </ac:spMkLst>
        </pc:spChg>
        <pc:spChg chg="ord">
          <ac:chgData name="Deimonmi Nongrum [Chillibreeze]" userId="e937f645-8c95-42a9-a298-dfd645e9a76a" providerId="ADAL" clId="{750E9A50-ACEA-48D3-B2C6-355D5EC56876}" dt="2024-06-13T11:04:44.563" v="3094" actId="167"/>
          <ac:spMkLst>
            <pc:docMk/>
            <pc:sldMk cId="0" sldId="296"/>
            <ac:spMk id="26" creationId="{F62167EF-E0A2-FD95-13A9-9439EC3FF8F5}"/>
          </ac:spMkLst>
        </pc:spChg>
        <pc:spChg chg="ord">
          <ac:chgData name="Deimonmi Nongrum [Chillibreeze]" userId="e937f645-8c95-42a9-a298-dfd645e9a76a" providerId="ADAL" clId="{750E9A50-ACEA-48D3-B2C6-355D5EC56876}" dt="2024-06-13T11:04:44.563" v="3094" actId="167"/>
          <ac:spMkLst>
            <pc:docMk/>
            <pc:sldMk cId="0" sldId="296"/>
            <ac:spMk id="27" creationId="{F0A17C63-4AA1-2836-C19E-F0EDA24B44DB}"/>
          </ac:spMkLst>
        </pc:spChg>
        <pc:spChg chg="mod ord">
          <ac:chgData name="Deimonmi Nongrum [Chillibreeze]" userId="e937f645-8c95-42a9-a298-dfd645e9a76a" providerId="ADAL" clId="{750E9A50-ACEA-48D3-B2C6-355D5EC56876}" dt="2024-06-13T11:04:49.185" v="3102"/>
          <ac:spMkLst>
            <pc:docMk/>
            <pc:sldMk cId="0" sldId="296"/>
            <ac:spMk id="28" creationId="{B1958CF1-0CBF-10FE-E13D-71F94F46A260}"/>
          </ac:spMkLst>
        </pc:spChg>
        <pc:grpChg chg="ord">
          <ac:chgData name="Deimonmi Nongrum [Chillibreeze]" userId="e937f645-8c95-42a9-a298-dfd645e9a76a" providerId="ADAL" clId="{750E9A50-ACEA-48D3-B2C6-355D5EC56876}" dt="2024-06-13T11:04:49.988" v="3103"/>
          <ac:grpSpMkLst>
            <pc:docMk/>
            <pc:sldMk cId="0" sldId="296"/>
            <ac:grpSpMk id="9" creationId="{6A15D7A9-5C9E-0626-86E2-18EACD60BD4F}"/>
          </ac:grpSpMkLst>
        </pc:grpChg>
        <pc:grpChg chg="ord">
          <ac:chgData name="Deimonmi Nongrum [Chillibreeze]" userId="e937f645-8c95-42a9-a298-dfd645e9a76a" providerId="ADAL" clId="{750E9A50-ACEA-48D3-B2C6-355D5EC56876}" dt="2024-06-13T11:04:51.261" v="3105"/>
          <ac:grpSpMkLst>
            <pc:docMk/>
            <pc:sldMk cId="0" sldId="296"/>
            <ac:grpSpMk id="13" creationId="{DEECF892-9193-03EC-72E1-398A6751B716}"/>
          </ac:grpSpMkLst>
        </pc:grpChg>
        <pc:grpChg chg="ord">
          <ac:chgData name="Deimonmi Nongrum [Chillibreeze]" userId="e937f645-8c95-42a9-a298-dfd645e9a76a" providerId="ADAL" clId="{750E9A50-ACEA-48D3-B2C6-355D5EC56876}" dt="2024-06-13T11:05:04.175" v="3112"/>
          <ac:grpSpMkLst>
            <pc:docMk/>
            <pc:sldMk cId="0" sldId="296"/>
            <ac:grpSpMk id="22" creationId="{80DE4A99-2ED5-0F38-4979-3A233E2BA60B}"/>
          </ac:grpSpMkLst>
        </pc:grpChg>
        <pc:picChg chg="ord">
          <ac:chgData name="Deimonmi Nongrum [Chillibreeze]" userId="e937f645-8c95-42a9-a298-dfd645e9a76a" providerId="ADAL" clId="{750E9A50-ACEA-48D3-B2C6-355D5EC56876}" dt="2024-06-13T11:04:44.563" v="3094" actId="167"/>
          <ac:picMkLst>
            <pc:docMk/>
            <pc:sldMk cId="0" sldId="296"/>
            <ac:picMk id="4" creationId="{03368440-1F2A-5569-94C1-9B07BB3064FD}"/>
          </ac:picMkLst>
        </pc:picChg>
        <pc:picChg chg="ord">
          <ac:chgData name="Deimonmi Nongrum [Chillibreeze]" userId="e937f645-8c95-42a9-a298-dfd645e9a76a" providerId="ADAL" clId="{750E9A50-ACEA-48D3-B2C6-355D5EC56876}" dt="2024-06-13T11:04:50.545" v="3104"/>
          <ac:picMkLst>
            <pc:docMk/>
            <pc:sldMk cId="0" sldId="296"/>
            <ac:picMk id="12" creationId="{9B0A4A5C-4FE3-AF8B-38CF-99D257B11637}"/>
          </ac:picMkLst>
        </pc:picChg>
        <pc:picChg chg="ord">
          <ac:chgData name="Deimonmi Nongrum [Chillibreeze]" userId="e937f645-8c95-42a9-a298-dfd645e9a76a" providerId="ADAL" clId="{750E9A50-ACEA-48D3-B2C6-355D5EC56876}" dt="2024-06-13T11:04:52.165" v="3106"/>
          <ac:picMkLst>
            <pc:docMk/>
            <pc:sldMk cId="0" sldId="296"/>
            <ac:picMk id="16" creationId="{1E7C2453-3235-520B-56BB-782DA772115E}"/>
          </ac:picMkLst>
        </pc:picChg>
        <pc:picChg chg="ord">
          <ac:chgData name="Deimonmi Nongrum [Chillibreeze]" userId="e937f645-8c95-42a9-a298-dfd645e9a76a" providerId="ADAL" clId="{750E9A50-ACEA-48D3-B2C6-355D5EC56876}" dt="2024-06-13T11:04:52.910" v="3107"/>
          <ac:picMkLst>
            <pc:docMk/>
            <pc:sldMk cId="0" sldId="296"/>
            <ac:picMk id="17" creationId="{B53C53A8-9AE1-6A44-F457-356CB99EC02A}"/>
          </ac:picMkLst>
        </pc:picChg>
        <pc:picChg chg="ord">
          <ac:chgData name="Deimonmi Nongrum [Chillibreeze]" userId="e937f645-8c95-42a9-a298-dfd645e9a76a" providerId="ADAL" clId="{750E9A50-ACEA-48D3-B2C6-355D5EC56876}" dt="2024-06-13T11:04:53.566" v="3108"/>
          <ac:picMkLst>
            <pc:docMk/>
            <pc:sldMk cId="0" sldId="296"/>
            <ac:picMk id="18" creationId="{A9F9DA4D-90EB-83FD-72E6-455C223CFED3}"/>
          </ac:picMkLst>
        </pc:picChg>
        <pc:picChg chg="ord">
          <ac:chgData name="Deimonmi Nongrum [Chillibreeze]" userId="e937f645-8c95-42a9-a298-dfd645e9a76a" providerId="ADAL" clId="{750E9A50-ACEA-48D3-B2C6-355D5EC56876}" dt="2024-06-13T11:04:54.099" v="3109"/>
          <ac:picMkLst>
            <pc:docMk/>
            <pc:sldMk cId="0" sldId="296"/>
            <ac:picMk id="19" creationId="{A91DFC6E-96D1-1F47-8289-AD0ADF2D24CF}"/>
          </ac:picMkLst>
        </pc:picChg>
        <pc:picChg chg="ord">
          <ac:chgData name="Deimonmi Nongrum [Chillibreeze]" userId="e937f645-8c95-42a9-a298-dfd645e9a76a" providerId="ADAL" clId="{750E9A50-ACEA-48D3-B2C6-355D5EC56876}" dt="2024-06-13T11:04:55.721" v="3110"/>
          <ac:picMkLst>
            <pc:docMk/>
            <pc:sldMk cId="0" sldId="296"/>
            <ac:picMk id="20" creationId="{10ECCA16-8AFD-EEA8-06A2-C56F2D103A2E}"/>
          </ac:picMkLst>
        </pc:picChg>
        <pc:picChg chg="ord">
          <ac:chgData name="Deimonmi Nongrum [Chillibreeze]" userId="e937f645-8c95-42a9-a298-dfd645e9a76a" providerId="ADAL" clId="{750E9A50-ACEA-48D3-B2C6-355D5EC56876}" dt="2024-06-13T11:05:01.403" v="3111"/>
          <ac:picMkLst>
            <pc:docMk/>
            <pc:sldMk cId="0" sldId="296"/>
            <ac:picMk id="21" creationId="{04DCC2BE-F71A-0399-1645-4DEC753C15AE}"/>
          </ac:picMkLst>
        </pc:picChg>
      </pc:sldChg>
      <pc:sldChg chg="addSp modSp mod modClrScheme chgLayout">
        <pc:chgData name="Deimonmi Nongrum [Chillibreeze]" userId="e937f645-8c95-42a9-a298-dfd645e9a76a" providerId="ADAL" clId="{750E9A50-ACEA-48D3-B2C6-355D5EC56876}" dt="2024-06-13T11:05:25.859" v="3128"/>
        <pc:sldMkLst>
          <pc:docMk/>
          <pc:sldMk cId="0" sldId="297"/>
        </pc:sldMkLst>
        <pc:spChg chg="add mod">
          <ac:chgData name="Deimonmi Nongrum [Chillibreeze]" userId="e937f645-8c95-42a9-a298-dfd645e9a76a" providerId="ADAL" clId="{750E9A50-ACEA-48D3-B2C6-355D5EC56876}" dt="2024-06-12T03:56:44.633" v="46"/>
          <ac:spMkLst>
            <pc:docMk/>
            <pc:sldMk cId="0" sldId="297"/>
            <ac:spMk id="2" creationId="{EA2B1439-750C-DDE8-B97F-28A63EBE2434}"/>
          </ac:spMkLst>
        </pc:spChg>
        <pc:spChg chg="mod ord">
          <ac:chgData name="Deimonmi Nongrum [Chillibreeze]" userId="e937f645-8c95-42a9-a298-dfd645e9a76a" providerId="ADAL" clId="{750E9A50-ACEA-48D3-B2C6-355D5EC56876}" dt="2024-06-13T11:05:18.428" v="3117" actId="167"/>
          <ac:spMkLst>
            <pc:docMk/>
            <pc:sldMk cId="0" sldId="297"/>
            <ac:spMk id="7" creationId="{C9A352E1-2D9A-78CD-1A00-6B0BF3F80283}"/>
          </ac:spMkLst>
        </pc:spChg>
        <pc:spChg chg="mod ord">
          <ac:chgData name="Deimonmi Nongrum [Chillibreeze]" userId="e937f645-8c95-42a9-a298-dfd645e9a76a" providerId="ADAL" clId="{750E9A50-ACEA-48D3-B2C6-355D5EC56876}" dt="2024-06-13T11:05:18.428" v="3117" actId="167"/>
          <ac:spMkLst>
            <pc:docMk/>
            <pc:sldMk cId="0" sldId="297"/>
            <ac:spMk id="10" creationId="{2BDC7753-A451-A6BD-1632-A84F16FB49EA}"/>
          </ac:spMkLst>
        </pc:spChg>
        <pc:spChg chg="mod ord">
          <ac:chgData name="Deimonmi Nongrum [Chillibreeze]" userId="e937f645-8c95-42a9-a298-dfd645e9a76a" providerId="ADAL" clId="{750E9A50-ACEA-48D3-B2C6-355D5EC56876}" dt="2024-06-13T11:05:18.428" v="3117" actId="167"/>
          <ac:spMkLst>
            <pc:docMk/>
            <pc:sldMk cId="0" sldId="297"/>
            <ac:spMk id="11" creationId="{033D2CB7-ED9F-E325-40A2-6FAC0AB08E18}"/>
          </ac:spMkLst>
        </pc:spChg>
        <pc:spChg chg="mod ord">
          <ac:chgData name="Deimonmi Nongrum [Chillibreeze]" userId="e937f645-8c95-42a9-a298-dfd645e9a76a" providerId="ADAL" clId="{750E9A50-ACEA-48D3-B2C6-355D5EC56876}" dt="2024-06-13T11:05:18.428" v="3117" actId="167"/>
          <ac:spMkLst>
            <pc:docMk/>
            <pc:sldMk cId="0" sldId="297"/>
            <ac:spMk id="12" creationId="{0A6C4887-188B-12BA-2E55-D06CCD6A87E0}"/>
          </ac:spMkLst>
        </pc:spChg>
        <pc:spChg chg="mod ord">
          <ac:chgData name="Deimonmi Nongrum [Chillibreeze]" userId="e937f645-8c95-42a9-a298-dfd645e9a76a" providerId="ADAL" clId="{750E9A50-ACEA-48D3-B2C6-355D5EC56876}" dt="2024-06-13T11:05:18.428" v="3117" actId="167"/>
          <ac:spMkLst>
            <pc:docMk/>
            <pc:sldMk cId="0" sldId="297"/>
            <ac:spMk id="13" creationId="{2063C090-6F74-E857-C8D8-1DF522A80BE7}"/>
          </ac:spMkLst>
        </pc:spChg>
        <pc:spChg chg="mod ord">
          <ac:chgData name="Deimonmi Nongrum [Chillibreeze]" userId="e937f645-8c95-42a9-a298-dfd645e9a76a" providerId="ADAL" clId="{750E9A50-ACEA-48D3-B2C6-355D5EC56876}" dt="2024-06-13T11:05:18.428" v="3117" actId="167"/>
          <ac:spMkLst>
            <pc:docMk/>
            <pc:sldMk cId="0" sldId="297"/>
            <ac:spMk id="14" creationId="{BA3D108E-C468-B6F0-01F4-4A856661D622}"/>
          </ac:spMkLst>
        </pc:spChg>
        <pc:spChg chg="mod ord">
          <ac:chgData name="Deimonmi Nongrum [Chillibreeze]" userId="e937f645-8c95-42a9-a298-dfd645e9a76a" providerId="ADAL" clId="{750E9A50-ACEA-48D3-B2C6-355D5EC56876}" dt="2024-06-13T11:05:18.428" v="3117" actId="167"/>
          <ac:spMkLst>
            <pc:docMk/>
            <pc:sldMk cId="0" sldId="297"/>
            <ac:spMk id="15" creationId="{35D4B7D9-2B37-840F-C9F4-7D580AD2EAB1}"/>
          </ac:spMkLst>
        </pc:spChg>
        <pc:spChg chg="mod ord">
          <ac:chgData name="Deimonmi Nongrum [Chillibreeze]" userId="e937f645-8c95-42a9-a298-dfd645e9a76a" providerId="ADAL" clId="{750E9A50-ACEA-48D3-B2C6-355D5EC56876}" dt="2024-06-13T11:05:18.428" v="3117" actId="167"/>
          <ac:spMkLst>
            <pc:docMk/>
            <pc:sldMk cId="0" sldId="297"/>
            <ac:spMk id="16" creationId="{E0EF6252-E322-A41C-FA5B-0AD02A1234B1}"/>
          </ac:spMkLst>
        </pc:spChg>
        <pc:spChg chg="mod ord">
          <ac:chgData name="Deimonmi Nongrum [Chillibreeze]" userId="e937f645-8c95-42a9-a298-dfd645e9a76a" providerId="ADAL" clId="{750E9A50-ACEA-48D3-B2C6-355D5EC56876}" dt="2024-06-13T11:05:18.428" v="3117" actId="167"/>
          <ac:spMkLst>
            <pc:docMk/>
            <pc:sldMk cId="0" sldId="297"/>
            <ac:spMk id="19" creationId="{69EA0FBC-BBE1-B50F-88C8-64313849FF1D}"/>
          </ac:spMkLst>
        </pc:spChg>
        <pc:spChg chg="mod ord">
          <ac:chgData name="Deimonmi Nongrum [Chillibreeze]" userId="e937f645-8c95-42a9-a298-dfd645e9a76a" providerId="ADAL" clId="{750E9A50-ACEA-48D3-B2C6-355D5EC56876}" dt="2024-06-13T11:05:18.428" v="3117" actId="167"/>
          <ac:spMkLst>
            <pc:docMk/>
            <pc:sldMk cId="0" sldId="297"/>
            <ac:spMk id="20" creationId="{301655AF-41EB-1B05-6A85-3D21CA6CB8A4}"/>
          </ac:spMkLst>
        </pc:spChg>
        <pc:spChg chg="mod ord">
          <ac:chgData name="Deimonmi Nongrum [Chillibreeze]" userId="e937f645-8c95-42a9-a298-dfd645e9a76a" providerId="ADAL" clId="{750E9A50-ACEA-48D3-B2C6-355D5EC56876}" dt="2024-06-13T11:05:18.428" v="3117" actId="167"/>
          <ac:spMkLst>
            <pc:docMk/>
            <pc:sldMk cId="0" sldId="297"/>
            <ac:spMk id="25" creationId="{C0201516-3291-BD63-3E31-FF724A770B6C}"/>
          </ac:spMkLst>
        </pc:spChg>
        <pc:spChg chg="mod ord">
          <ac:chgData name="Deimonmi Nongrum [Chillibreeze]" userId="e937f645-8c95-42a9-a298-dfd645e9a76a" providerId="ADAL" clId="{750E9A50-ACEA-48D3-B2C6-355D5EC56876}" dt="2024-06-13T11:05:18.428" v="3117" actId="167"/>
          <ac:spMkLst>
            <pc:docMk/>
            <pc:sldMk cId="0" sldId="297"/>
            <ac:spMk id="26" creationId="{0C8D0E37-D159-8801-919B-8D80E0C3C078}"/>
          </ac:spMkLst>
        </pc:spChg>
        <pc:spChg chg="mod ord">
          <ac:chgData name="Deimonmi Nongrum [Chillibreeze]" userId="e937f645-8c95-42a9-a298-dfd645e9a76a" providerId="ADAL" clId="{750E9A50-ACEA-48D3-B2C6-355D5EC56876}" dt="2024-06-13T11:05:18.428" v="3117" actId="167"/>
          <ac:spMkLst>
            <pc:docMk/>
            <pc:sldMk cId="0" sldId="297"/>
            <ac:spMk id="27" creationId="{BCADE2AF-9D5D-7BDA-F673-4F74791C0BE5}"/>
          </ac:spMkLst>
        </pc:spChg>
        <pc:spChg chg="ord">
          <ac:chgData name="Deimonmi Nongrum [Chillibreeze]" userId="e937f645-8c95-42a9-a298-dfd645e9a76a" providerId="ADAL" clId="{750E9A50-ACEA-48D3-B2C6-355D5EC56876}" dt="2024-06-13T11:05:23.927" v="3126"/>
          <ac:spMkLst>
            <pc:docMk/>
            <pc:sldMk cId="0" sldId="297"/>
            <ac:spMk id="28" creationId="{A9908A94-4860-83E6-3724-AEDA53813A5C}"/>
          </ac:spMkLst>
        </pc:spChg>
        <pc:spChg chg="mod ord">
          <ac:chgData name="Deimonmi Nongrum [Chillibreeze]" userId="e937f645-8c95-42a9-a298-dfd645e9a76a" providerId="ADAL" clId="{750E9A50-ACEA-48D3-B2C6-355D5EC56876}" dt="2024-06-13T11:05:18.428" v="3117" actId="167"/>
          <ac:spMkLst>
            <pc:docMk/>
            <pc:sldMk cId="0" sldId="297"/>
            <ac:spMk id="29" creationId="{F5D4691E-D10E-A06D-0C74-8C239B58569F}"/>
          </ac:spMkLst>
        </pc:spChg>
        <pc:spChg chg="ord">
          <ac:chgData name="Deimonmi Nongrum [Chillibreeze]" userId="e937f645-8c95-42a9-a298-dfd645e9a76a" providerId="ADAL" clId="{750E9A50-ACEA-48D3-B2C6-355D5EC56876}" dt="2024-06-13T11:05:25.162" v="3127"/>
          <ac:spMkLst>
            <pc:docMk/>
            <pc:sldMk cId="0" sldId="297"/>
            <ac:spMk id="30" creationId="{7E5A8BFC-16D7-0944-73F6-44CB0F38FFD3}"/>
          </ac:spMkLst>
        </pc:spChg>
        <pc:spChg chg="mod ord">
          <ac:chgData name="Deimonmi Nongrum [Chillibreeze]" userId="e937f645-8c95-42a9-a298-dfd645e9a76a" providerId="ADAL" clId="{750E9A50-ACEA-48D3-B2C6-355D5EC56876}" dt="2024-06-13T11:05:18.428" v="3117" actId="167"/>
          <ac:spMkLst>
            <pc:docMk/>
            <pc:sldMk cId="0" sldId="297"/>
            <ac:spMk id="31" creationId="{F8463848-351E-4D44-B55F-CDFDC5DBF737}"/>
          </ac:spMkLst>
        </pc:spChg>
        <pc:spChg chg="ord">
          <ac:chgData name="Deimonmi Nongrum [Chillibreeze]" userId="e937f645-8c95-42a9-a298-dfd645e9a76a" providerId="ADAL" clId="{750E9A50-ACEA-48D3-B2C6-355D5EC56876}" dt="2024-06-13T11:05:25.859" v="3128"/>
          <ac:spMkLst>
            <pc:docMk/>
            <pc:sldMk cId="0" sldId="297"/>
            <ac:spMk id="32" creationId="{A659325D-2C66-0361-1231-DECB43323084}"/>
          </ac:spMkLst>
        </pc:spChg>
        <pc:spChg chg="mod ord">
          <ac:chgData name="Deimonmi Nongrum [Chillibreeze]" userId="e937f645-8c95-42a9-a298-dfd645e9a76a" providerId="ADAL" clId="{750E9A50-ACEA-48D3-B2C6-355D5EC56876}" dt="2024-06-13T11:05:23.001" v="3125"/>
          <ac:spMkLst>
            <pc:docMk/>
            <pc:sldMk cId="0" sldId="297"/>
            <ac:spMk id="4758" creationId="{00000000-0000-0000-0000-000000000000}"/>
          </ac:spMkLst>
        </pc:spChg>
        <pc:grpChg chg="mod ord">
          <ac:chgData name="Deimonmi Nongrum [Chillibreeze]" userId="e937f645-8c95-42a9-a298-dfd645e9a76a" providerId="ADAL" clId="{750E9A50-ACEA-48D3-B2C6-355D5EC56876}" dt="2024-06-13T11:05:18.428" v="3117" actId="167"/>
          <ac:grpSpMkLst>
            <pc:docMk/>
            <pc:sldMk cId="0" sldId="297"/>
            <ac:grpSpMk id="21" creationId="{CABD0F94-9950-8B70-D15E-63317F470B96}"/>
          </ac:grpSpMkLst>
        </pc:grpChg>
        <pc:picChg chg="mod ord">
          <ac:chgData name="Deimonmi Nongrum [Chillibreeze]" userId="e937f645-8c95-42a9-a298-dfd645e9a76a" providerId="ADAL" clId="{750E9A50-ACEA-48D3-B2C6-355D5EC56876}" dt="2024-06-13T11:05:18.428" v="3117" actId="167"/>
          <ac:picMkLst>
            <pc:docMk/>
            <pc:sldMk cId="0" sldId="297"/>
            <ac:picMk id="8" creationId="{085D8EF7-8DB3-134B-42E1-B1D8A96DA627}"/>
          </ac:picMkLst>
        </pc:picChg>
        <pc:picChg chg="mod ord">
          <ac:chgData name="Deimonmi Nongrum [Chillibreeze]" userId="e937f645-8c95-42a9-a298-dfd645e9a76a" providerId="ADAL" clId="{750E9A50-ACEA-48D3-B2C6-355D5EC56876}" dt="2024-06-13T11:05:18.428" v="3117" actId="167"/>
          <ac:picMkLst>
            <pc:docMk/>
            <pc:sldMk cId="0" sldId="297"/>
            <ac:picMk id="9" creationId="{90C473A1-1B80-5D57-02D9-48A33DD2E38B}"/>
          </ac:picMkLst>
        </pc:picChg>
        <pc:cxnChg chg="mod ord">
          <ac:chgData name="Deimonmi Nongrum [Chillibreeze]" userId="e937f645-8c95-42a9-a298-dfd645e9a76a" providerId="ADAL" clId="{750E9A50-ACEA-48D3-B2C6-355D5EC56876}" dt="2024-06-13T11:05:18.428" v="3117" actId="167"/>
          <ac:cxnSpMkLst>
            <pc:docMk/>
            <pc:sldMk cId="0" sldId="297"/>
            <ac:cxnSpMk id="17" creationId="{81650AEB-5523-9290-10DF-CA25E939325F}"/>
          </ac:cxnSpMkLst>
        </pc:cxnChg>
        <pc:cxnChg chg="mod ord">
          <ac:chgData name="Deimonmi Nongrum [Chillibreeze]" userId="e937f645-8c95-42a9-a298-dfd645e9a76a" providerId="ADAL" clId="{750E9A50-ACEA-48D3-B2C6-355D5EC56876}" dt="2024-06-13T11:05:18.428" v="3117" actId="167"/>
          <ac:cxnSpMkLst>
            <pc:docMk/>
            <pc:sldMk cId="0" sldId="297"/>
            <ac:cxnSpMk id="18" creationId="{7115EC91-70AB-6ADD-A399-BA0A64FA87D1}"/>
          </ac:cxnSpMkLst>
        </pc:cxnChg>
      </pc:sldChg>
      <pc:sldChg chg="addSp delSp modSp mod modClrScheme chgLayout">
        <pc:chgData name="Deimonmi Nongrum [Chillibreeze]" userId="e937f645-8c95-42a9-a298-dfd645e9a76a" providerId="ADAL" clId="{750E9A50-ACEA-48D3-B2C6-355D5EC56876}" dt="2024-06-13T11:06:22.399" v="3159"/>
        <pc:sldMkLst>
          <pc:docMk/>
          <pc:sldMk cId="0" sldId="298"/>
        </pc:sldMkLst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98"/>
            <ac:spMk id="2" creationId="{720053F2-2491-66C0-C81B-8778F609A9BC}"/>
          </ac:spMkLst>
        </pc:spChg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298"/>
            <ac:spMk id="2" creationId="{DA27B200-3CF5-6418-0342-A03298F6BC5D}"/>
          </ac:spMkLst>
        </pc:spChg>
        <pc:spChg chg="add mod">
          <ac:chgData name="Deimonmi Nongrum [Chillibreeze]" userId="e937f645-8c95-42a9-a298-dfd645e9a76a" providerId="ADAL" clId="{750E9A50-ACEA-48D3-B2C6-355D5EC56876}" dt="2024-06-12T03:56:45.402" v="47"/>
          <ac:spMkLst>
            <pc:docMk/>
            <pc:sldMk cId="0" sldId="298"/>
            <ac:spMk id="3" creationId="{02331D05-5086-BD90-60C4-CF6E79AE30EB}"/>
          </ac:spMkLst>
        </pc:spChg>
        <pc:spChg chg="mod ord">
          <ac:chgData name="Deimonmi Nongrum [Chillibreeze]" userId="e937f645-8c95-42a9-a298-dfd645e9a76a" providerId="ADAL" clId="{750E9A50-ACEA-48D3-B2C6-355D5EC56876}" dt="2024-06-13T11:05:53.841" v="3132" actId="167"/>
          <ac:spMkLst>
            <pc:docMk/>
            <pc:sldMk cId="0" sldId="298"/>
            <ac:spMk id="4" creationId="{12947344-D3D6-2213-4AC9-D0A241425A8C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98"/>
            <ac:spMk id="4" creationId="{6945529B-122A-8235-AC94-3C8AABCF9D5B}"/>
          </ac:spMkLst>
        </pc:spChg>
        <pc:spChg chg="mod ord">
          <ac:chgData name="Deimonmi Nongrum [Chillibreeze]" userId="e937f645-8c95-42a9-a298-dfd645e9a76a" providerId="ADAL" clId="{750E9A50-ACEA-48D3-B2C6-355D5EC56876}" dt="2024-06-13T11:05:53.841" v="3132" actId="167"/>
          <ac:spMkLst>
            <pc:docMk/>
            <pc:sldMk cId="0" sldId="298"/>
            <ac:spMk id="5" creationId="{8B0A88CC-063B-C82D-AFB7-3BAADD3252CF}"/>
          </ac:spMkLst>
        </pc:spChg>
        <pc:spChg chg="mod ord">
          <ac:chgData name="Deimonmi Nongrum [Chillibreeze]" userId="e937f645-8c95-42a9-a298-dfd645e9a76a" providerId="ADAL" clId="{750E9A50-ACEA-48D3-B2C6-355D5EC56876}" dt="2024-06-13T11:05:53.841" v="3132" actId="167"/>
          <ac:spMkLst>
            <pc:docMk/>
            <pc:sldMk cId="0" sldId="298"/>
            <ac:spMk id="6" creationId="{1D0AEDA3-36FC-2F5D-5315-C4AC23A9C836}"/>
          </ac:spMkLst>
        </pc:spChg>
        <pc:spChg chg="mod ord">
          <ac:chgData name="Deimonmi Nongrum [Chillibreeze]" userId="e937f645-8c95-42a9-a298-dfd645e9a76a" providerId="ADAL" clId="{750E9A50-ACEA-48D3-B2C6-355D5EC56876}" dt="2024-06-13T11:05:53.841" v="3132" actId="167"/>
          <ac:spMkLst>
            <pc:docMk/>
            <pc:sldMk cId="0" sldId="298"/>
            <ac:spMk id="7" creationId="{F6E48108-D121-5904-E313-2C400AAFB593}"/>
          </ac:spMkLst>
        </pc:spChg>
        <pc:spChg chg="mod ord">
          <ac:chgData name="Deimonmi Nongrum [Chillibreeze]" userId="e937f645-8c95-42a9-a298-dfd645e9a76a" providerId="ADAL" clId="{750E9A50-ACEA-48D3-B2C6-355D5EC56876}" dt="2024-06-13T11:05:53.841" v="3132" actId="167"/>
          <ac:spMkLst>
            <pc:docMk/>
            <pc:sldMk cId="0" sldId="298"/>
            <ac:spMk id="8" creationId="{827E3339-3EBC-0465-CC58-AB5A5FF32AEB}"/>
          </ac:spMkLst>
        </pc:spChg>
        <pc:spChg chg="mod ord">
          <ac:chgData name="Deimonmi Nongrum [Chillibreeze]" userId="e937f645-8c95-42a9-a298-dfd645e9a76a" providerId="ADAL" clId="{750E9A50-ACEA-48D3-B2C6-355D5EC56876}" dt="2024-06-13T11:05:53.841" v="3132" actId="167"/>
          <ac:spMkLst>
            <pc:docMk/>
            <pc:sldMk cId="0" sldId="298"/>
            <ac:spMk id="22" creationId="{D1993F27-3FE4-B086-FB85-7551F3565819}"/>
          </ac:spMkLst>
        </pc:spChg>
        <pc:spChg chg="ord">
          <ac:chgData name="Deimonmi Nongrum [Chillibreeze]" userId="e937f645-8c95-42a9-a298-dfd645e9a76a" providerId="ADAL" clId="{750E9A50-ACEA-48D3-B2C6-355D5EC56876}" dt="2024-06-13T11:06:01.063" v="3140"/>
          <ac:spMkLst>
            <pc:docMk/>
            <pc:sldMk cId="0" sldId="298"/>
            <ac:spMk id="23" creationId="{6F1D326B-4DA0-105E-5ABD-BD5E014EDAC5}"/>
          </ac:spMkLst>
        </pc:spChg>
        <pc:spChg chg="ord">
          <ac:chgData name="Deimonmi Nongrum [Chillibreeze]" userId="e937f645-8c95-42a9-a298-dfd645e9a76a" providerId="ADAL" clId="{750E9A50-ACEA-48D3-B2C6-355D5EC56876}" dt="2024-06-13T11:06:04.339" v="3142"/>
          <ac:spMkLst>
            <pc:docMk/>
            <pc:sldMk cId="0" sldId="298"/>
            <ac:spMk id="28" creationId="{B899F68A-D372-DEEA-9EDA-B72B0AA14400}"/>
          </ac:spMkLst>
        </pc:spChg>
        <pc:spChg chg="ord">
          <ac:chgData name="Deimonmi Nongrum [Chillibreeze]" userId="e937f645-8c95-42a9-a298-dfd645e9a76a" providerId="ADAL" clId="{750E9A50-ACEA-48D3-B2C6-355D5EC56876}" dt="2024-06-13T11:06:05.852" v="3144"/>
          <ac:spMkLst>
            <pc:docMk/>
            <pc:sldMk cId="0" sldId="298"/>
            <ac:spMk id="33" creationId="{EBE7BF40-338A-54FA-140C-BD39DC624747}"/>
          </ac:spMkLst>
        </pc:spChg>
        <pc:spChg chg="mod ord">
          <ac:chgData name="Deimonmi Nongrum [Chillibreeze]" userId="e937f645-8c95-42a9-a298-dfd645e9a76a" providerId="ADAL" clId="{750E9A50-ACEA-48D3-B2C6-355D5EC56876}" dt="2024-06-13T11:05:53.841" v="3132" actId="167"/>
          <ac:spMkLst>
            <pc:docMk/>
            <pc:sldMk cId="0" sldId="298"/>
            <ac:spMk id="34" creationId="{DE4D972E-641C-B257-EA40-1899AC172774}"/>
          </ac:spMkLst>
        </pc:spChg>
        <pc:spChg chg="ord">
          <ac:chgData name="Deimonmi Nongrum [Chillibreeze]" userId="e937f645-8c95-42a9-a298-dfd645e9a76a" providerId="ADAL" clId="{750E9A50-ACEA-48D3-B2C6-355D5EC56876}" dt="2024-06-13T11:06:06.908" v="3145"/>
          <ac:spMkLst>
            <pc:docMk/>
            <pc:sldMk cId="0" sldId="298"/>
            <ac:spMk id="35" creationId="{D5B267D2-DBCC-A67C-51FC-CEB9E9114178}"/>
          </ac:spMkLst>
        </pc:spChg>
        <pc:spChg chg="ord">
          <ac:chgData name="Deimonmi Nongrum [Chillibreeze]" userId="e937f645-8c95-42a9-a298-dfd645e9a76a" providerId="ADAL" clId="{750E9A50-ACEA-48D3-B2C6-355D5EC56876}" dt="2024-06-13T11:06:09.505" v="3147"/>
          <ac:spMkLst>
            <pc:docMk/>
            <pc:sldMk cId="0" sldId="298"/>
            <ac:spMk id="40" creationId="{85C30BCD-216C-2FCC-6855-6676E96B9866}"/>
          </ac:spMkLst>
        </pc:spChg>
        <pc:spChg chg="ord">
          <ac:chgData name="Deimonmi Nongrum [Chillibreeze]" userId="e937f645-8c95-42a9-a298-dfd645e9a76a" providerId="ADAL" clId="{750E9A50-ACEA-48D3-B2C6-355D5EC56876}" dt="2024-06-13T11:06:10.897" v="3149"/>
          <ac:spMkLst>
            <pc:docMk/>
            <pc:sldMk cId="0" sldId="298"/>
            <ac:spMk id="45" creationId="{0962C47E-0E59-2579-8D20-FF5B967BCE74}"/>
          </ac:spMkLst>
        </pc:spChg>
        <pc:spChg chg="mod ord">
          <ac:chgData name="Deimonmi Nongrum [Chillibreeze]" userId="e937f645-8c95-42a9-a298-dfd645e9a76a" providerId="ADAL" clId="{750E9A50-ACEA-48D3-B2C6-355D5EC56876}" dt="2024-06-13T11:05:53.841" v="3132" actId="167"/>
          <ac:spMkLst>
            <pc:docMk/>
            <pc:sldMk cId="0" sldId="298"/>
            <ac:spMk id="46" creationId="{3B9BB990-E496-9233-0C8D-DBCB632FBD66}"/>
          </ac:spMkLst>
        </pc:spChg>
        <pc:spChg chg="ord">
          <ac:chgData name="Deimonmi Nongrum [Chillibreeze]" userId="e937f645-8c95-42a9-a298-dfd645e9a76a" providerId="ADAL" clId="{750E9A50-ACEA-48D3-B2C6-355D5EC56876}" dt="2024-06-13T11:06:11.860" v="3150"/>
          <ac:spMkLst>
            <pc:docMk/>
            <pc:sldMk cId="0" sldId="298"/>
            <ac:spMk id="47" creationId="{1B7802AB-D384-E0B8-CFD7-71B373690B5B}"/>
          </ac:spMkLst>
        </pc:spChg>
        <pc:spChg chg="ord">
          <ac:chgData name="Deimonmi Nongrum [Chillibreeze]" userId="e937f645-8c95-42a9-a298-dfd645e9a76a" providerId="ADAL" clId="{750E9A50-ACEA-48D3-B2C6-355D5EC56876}" dt="2024-06-13T11:06:13.429" v="3152"/>
          <ac:spMkLst>
            <pc:docMk/>
            <pc:sldMk cId="0" sldId="298"/>
            <ac:spMk id="52" creationId="{B3A77420-4FA2-18F4-3326-1C23C90749DE}"/>
          </ac:spMkLst>
        </pc:spChg>
        <pc:spChg chg="ord">
          <ac:chgData name="Deimonmi Nongrum [Chillibreeze]" userId="e937f645-8c95-42a9-a298-dfd645e9a76a" providerId="ADAL" clId="{750E9A50-ACEA-48D3-B2C6-355D5EC56876}" dt="2024-06-13T11:06:14.964" v="3154"/>
          <ac:spMkLst>
            <pc:docMk/>
            <pc:sldMk cId="0" sldId="298"/>
            <ac:spMk id="57" creationId="{66DD37AC-7288-24CB-A6A6-40BADF2FC5DF}"/>
          </ac:spMkLst>
        </pc:spChg>
        <pc:spChg chg="mod ord">
          <ac:chgData name="Deimonmi Nongrum [Chillibreeze]" userId="e937f645-8c95-42a9-a298-dfd645e9a76a" providerId="ADAL" clId="{750E9A50-ACEA-48D3-B2C6-355D5EC56876}" dt="2024-06-13T11:05:53.841" v="3132" actId="167"/>
          <ac:spMkLst>
            <pc:docMk/>
            <pc:sldMk cId="0" sldId="298"/>
            <ac:spMk id="58" creationId="{0346C6FC-71A0-2F58-A3A7-7BD1AB0EE6A4}"/>
          </ac:spMkLst>
        </pc:spChg>
        <pc:spChg chg="ord">
          <ac:chgData name="Deimonmi Nongrum [Chillibreeze]" userId="e937f645-8c95-42a9-a298-dfd645e9a76a" providerId="ADAL" clId="{750E9A50-ACEA-48D3-B2C6-355D5EC56876}" dt="2024-06-13T11:06:16.204" v="3155"/>
          <ac:spMkLst>
            <pc:docMk/>
            <pc:sldMk cId="0" sldId="298"/>
            <ac:spMk id="59" creationId="{461773AA-BEAD-0520-74F8-FDB0E0336AE7}"/>
          </ac:spMkLst>
        </pc:spChg>
        <pc:spChg chg="ord">
          <ac:chgData name="Deimonmi Nongrum [Chillibreeze]" userId="e937f645-8c95-42a9-a298-dfd645e9a76a" providerId="ADAL" clId="{750E9A50-ACEA-48D3-B2C6-355D5EC56876}" dt="2024-06-13T11:06:18.516" v="3157"/>
          <ac:spMkLst>
            <pc:docMk/>
            <pc:sldMk cId="0" sldId="298"/>
            <ac:spMk id="4736" creationId="{E9F34BCE-6F90-D386-0A4D-D760B67295B4}"/>
          </ac:spMkLst>
        </pc:spChg>
        <pc:spChg chg="ord">
          <ac:chgData name="Deimonmi Nongrum [Chillibreeze]" userId="e937f645-8c95-42a9-a298-dfd645e9a76a" providerId="ADAL" clId="{750E9A50-ACEA-48D3-B2C6-355D5EC56876}" dt="2024-06-13T11:06:22.399" v="3159"/>
          <ac:spMkLst>
            <pc:docMk/>
            <pc:sldMk cId="0" sldId="298"/>
            <ac:spMk id="4741" creationId="{19445A44-4B07-071A-336C-6093DD565CAB}"/>
          </ac:spMkLst>
        </pc:spChg>
        <pc:spChg chg="ord">
          <ac:chgData name="Deimonmi Nongrum [Chillibreeze]" userId="e937f645-8c95-42a9-a298-dfd645e9a76a" providerId="ADAL" clId="{750E9A50-ACEA-48D3-B2C6-355D5EC56876}" dt="2024-06-13T11:05:58.985" v="3138"/>
          <ac:spMkLst>
            <pc:docMk/>
            <pc:sldMk cId="0" sldId="298"/>
            <ac:spMk id="4745" creationId="{169A0FC8-F129-4A5D-5C50-08E389BEA199}"/>
          </ac:spMkLst>
        </pc:spChg>
        <pc:grpChg chg="mod ord">
          <ac:chgData name="Deimonmi Nongrum [Chillibreeze]" userId="e937f645-8c95-42a9-a298-dfd645e9a76a" providerId="ADAL" clId="{750E9A50-ACEA-48D3-B2C6-355D5EC56876}" dt="2024-06-13T11:05:53.841" v="3132" actId="167"/>
          <ac:grpSpMkLst>
            <pc:docMk/>
            <pc:sldMk cId="0" sldId="298"/>
            <ac:grpSpMk id="9" creationId="{6A0963AF-F3E0-64C9-9863-EFF06991B6D9}"/>
          </ac:grpSpMkLst>
        </pc:grpChg>
        <pc:grpChg chg="mod ord">
          <ac:chgData name="Deimonmi Nongrum [Chillibreeze]" userId="e937f645-8c95-42a9-a298-dfd645e9a76a" providerId="ADAL" clId="{750E9A50-ACEA-48D3-B2C6-355D5EC56876}" dt="2024-06-13T11:05:53.841" v="3132" actId="167"/>
          <ac:grpSpMkLst>
            <pc:docMk/>
            <pc:sldMk cId="0" sldId="298"/>
            <ac:grpSpMk id="12" creationId="{7C3AC25B-5923-04D0-41EA-0F18DBFAECA5}"/>
          </ac:grpSpMkLst>
        </pc:grpChg>
        <pc:grpChg chg="mod ord">
          <ac:chgData name="Deimonmi Nongrum [Chillibreeze]" userId="e937f645-8c95-42a9-a298-dfd645e9a76a" providerId="ADAL" clId="{750E9A50-ACEA-48D3-B2C6-355D5EC56876}" dt="2024-06-13T11:05:53.841" v="3132" actId="167"/>
          <ac:grpSpMkLst>
            <pc:docMk/>
            <pc:sldMk cId="0" sldId="298"/>
            <ac:grpSpMk id="15" creationId="{4A28D567-880C-D580-1CA6-BDDEC0292546}"/>
          </ac:grpSpMkLst>
        </pc:grpChg>
        <pc:grpChg chg="mod ord">
          <ac:chgData name="Deimonmi Nongrum [Chillibreeze]" userId="e937f645-8c95-42a9-a298-dfd645e9a76a" providerId="ADAL" clId="{750E9A50-ACEA-48D3-B2C6-355D5EC56876}" dt="2024-06-13T11:05:53.841" v="3132" actId="167"/>
          <ac:grpSpMkLst>
            <pc:docMk/>
            <pc:sldMk cId="0" sldId="298"/>
            <ac:grpSpMk id="18" creationId="{02C4557E-2B5B-8E14-961B-9666A779246A}"/>
          </ac:grpSpMkLst>
        </pc:grpChg>
        <pc:grpChg chg="ord">
          <ac:chgData name="Deimonmi Nongrum [Chillibreeze]" userId="e937f645-8c95-42a9-a298-dfd645e9a76a" providerId="ADAL" clId="{750E9A50-ACEA-48D3-B2C6-355D5EC56876}" dt="2024-06-13T11:06:03.449" v="3141"/>
          <ac:grpSpMkLst>
            <pc:docMk/>
            <pc:sldMk cId="0" sldId="298"/>
            <ac:grpSpMk id="24" creationId="{48E851C3-3B3B-A810-2741-5F2C70D9212B}"/>
          </ac:grpSpMkLst>
        </pc:grpChg>
        <pc:grpChg chg="ord">
          <ac:chgData name="Deimonmi Nongrum [Chillibreeze]" userId="e937f645-8c95-42a9-a298-dfd645e9a76a" providerId="ADAL" clId="{750E9A50-ACEA-48D3-B2C6-355D5EC56876}" dt="2024-06-13T11:06:05.136" v="3143"/>
          <ac:grpSpMkLst>
            <pc:docMk/>
            <pc:sldMk cId="0" sldId="298"/>
            <ac:grpSpMk id="29" creationId="{FFEBEA55-F04A-3E8E-95A0-60B4F2E8F2C0}"/>
          </ac:grpSpMkLst>
        </pc:grpChg>
        <pc:grpChg chg="ord">
          <ac:chgData name="Deimonmi Nongrum [Chillibreeze]" userId="e937f645-8c95-42a9-a298-dfd645e9a76a" providerId="ADAL" clId="{750E9A50-ACEA-48D3-B2C6-355D5EC56876}" dt="2024-06-13T11:06:08.735" v="3146"/>
          <ac:grpSpMkLst>
            <pc:docMk/>
            <pc:sldMk cId="0" sldId="298"/>
            <ac:grpSpMk id="36" creationId="{332B2111-B5DE-C305-E3B9-3A1C6FD1E454}"/>
          </ac:grpSpMkLst>
        </pc:grpChg>
        <pc:grpChg chg="ord">
          <ac:chgData name="Deimonmi Nongrum [Chillibreeze]" userId="e937f645-8c95-42a9-a298-dfd645e9a76a" providerId="ADAL" clId="{750E9A50-ACEA-48D3-B2C6-355D5EC56876}" dt="2024-06-13T11:06:10.308" v="3148"/>
          <ac:grpSpMkLst>
            <pc:docMk/>
            <pc:sldMk cId="0" sldId="298"/>
            <ac:grpSpMk id="41" creationId="{368C49DF-66A4-B439-AF2E-1834374A97A6}"/>
          </ac:grpSpMkLst>
        </pc:grpChg>
        <pc:grpChg chg="ord">
          <ac:chgData name="Deimonmi Nongrum [Chillibreeze]" userId="e937f645-8c95-42a9-a298-dfd645e9a76a" providerId="ADAL" clId="{750E9A50-ACEA-48D3-B2C6-355D5EC56876}" dt="2024-06-13T11:06:12.709" v="3151"/>
          <ac:grpSpMkLst>
            <pc:docMk/>
            <pc:sldMk cId="0" sldId="298"/>
            <ac:grpSpMk id="48" creationId="{BCF0D9B0-2D68-E30B-0C2A-C5D47B38CE11}"/>
          </ac:grpSpMkLst>
        </pc:grpChg>
        <pc:grpChg chg="ord">
          <ac:chgData name="Deimonmi Nongrum [Chillibreeze]" userId="e937f645-8c95-42a9-a298-dfd645e9a76a" providerId="ADAL" clId="{750E9A50-ACEA-48D3-B2C6-355D5EC56876}" dt="2024-06-13T11:06:14.376" v="3153"/>
          <ac:grpSpMkLst>
            <pc:docMk/>
            <pc:sldMk cId="0" sldId="298"/>
            <ac:grpSpMk id="53" creationId="{32C529C6-9E54-520B-0706-EFCF5903B948}"/>
          </ac:grpSpMkLst>
        </pc:grpChg>
        <pc:grpChg chg="ord">
          <ac:chgData name="Deimonmi Nongrum [Chillibreeze]" userId="e937f645-8c95-42a9-a298-dfd645e9a76a" providerId="ADAL" clId="{750E9A50-ACEA-48D3-B2C6-355D5EC56876}" dt="2024-06-13T11:06:17.515" v="3156"/>
          <ac:grpSpMkLst>
            <pc:docMk/>
            <pc:sldMk cId="0" sldId="298"/>
            <ac:grpSpMk id="60" creationId="{0755C36F-6FA1-A657-33E8-FE1016247826}"/>
          </ac:grpSpMkLst>
        </pc:grpChg>
        <pc:grpChg chg="ord">
          <ac:chgData name="Deimonmi Nongrum [Chillibreeze]" userId="e937f645-8c95-42a9-a298-dfd645e9a76a" providerId="ADAL" clId="{750E9A50-ACEA-48D3-B2C6-355D5EC56876}" dt="2024-06-13T11:06:20.701" v="3158"/>
          <ac:grpSpMkLst>
            <pc:docMk/>
            <pc:sldMk cId="0" sldId="298"/>
            <ac:grpSpMk id="4737" creationId="{B7D206F4-4A9A-1851-9662-68594A43A215}"/>
          </ac:grpSpMkLst>
        </pc:grpChg>
        <pc:picChg chg="ord">
          <ac:chgData name="Deimonmi Nongrum [Chillibreeze]" userId="e937f645-8c95-42a9-a298-dfd645e9a76a" providerId="ADAL" clId="{750E9A50-ACEA-48D3-B2C6-355D5EC56876}" dt="2024-06-13T11:05:59.789" v="3139"/>
          <ac:picMkLst>
            <pc:docMk/>
            <pc:sldMk cId="0" sldId="298"/>
            <ac:picMk id="21" creationId="{62AB7C99-BA35-8135-0394-43199442FFEC}"/>
          </ac:picMkLst>
        </pc:picChg>
      </pc:sldChg>
      <pc:sldChg chg="addSp modSp mod modClrScheme chgLayout">
        <pc:chgData name="Deimonmi Nongrum [Chillibreeze]" userId="e937f645-8c95-42a9-a298-dfd645e9a76a" providerId="ADAL" clId="{750E9A50-ACEA-48D3-B2C6-355D5EC56876}" dt="2024-06-13T14:25:27.177" v="7307" actId="207"/>
        <pc:sldMkLst>
          <pc:docMk/>
          <pc:sldMk cId="0" sldId="299"/>
        </pc:sldMkLst>
        <pc:spChg chg="add mod">
          <ac:chgData name="Deimonmi Nongrum [Chillibreeze]" userId="e937f645-8c95-42a9-a298-dfd645e9a76a" providerId="ADAL" clId="{750E9A50-ACEA-48D3-B2C6-355D5EC56876}" dt="2024-06-12T03:56:46.879" v="48"/>
          <ac:spMkLst>
            <pc:docMk/>
            <pc:sldMk cId="0" sldId="299"/>
            <ac:spMk id="2" creationId="{C81A929A-C8A7-EAA3-98F2-5068FD6C79C7}"/>
          </ac:spMkLst>
        </pc:spChg>
        <pc:spChg chg="mod ord">
          <ac:chgData name="Deimonmi Nongrum [Chillibreeze]" userId="e937f645-8c95-42a9-a298-dfd645e9a76a" providerId="ADAL" clId="{750E9A50-ACEA-48D3-B2C6-355D5EC56876}" dt="2024-06-13T11:06:47.674" v="3164" actId="167"/>
          <ac:spMkLst>
            <pc:docMk/>
            <pc:sldMk cId="0" sldId="299"/>
            <ac:spMk id="6" creationId="{EDFA92E2-4479-1EED-DA95-AC06C8AD844C}"/>
          </ac:spMkLst>
        </pc:spChg>
        <pc:spChg chg="mod ord">
          <ac:chgData name="Deimonmi Nongrum [Chillibreeze]" userId="e937f645-8c95-42a9-a298-dfd645e9a76a" providerId="ADAL" clId="{750E9A50-ACEA-48D3-B2C6-355D5EC56876}" dt="2024-06-13T12:13:17.443" v="4718" actId="962"/>
          <ac:spMkLst>
            <pc:docMk/>
            <pc:sldMk cId="0" sldId="299"/>
            <ac:spMk id="12" creationId="{F85C10C8-86F0-AB99-CBAB-C5D38E785F1F}"/>
          </ac:spMkLst>
        </pc:spChg>
        <pc:spChg chg="ord">
          <ac:chgData name="Deimonmi Nongrum [Chillibreeze]" userId="e937f645-8c95-42a9-a298-dfd645e9a76a" providerId="ADAL" clId="{750E9A50-ACEA-48D3-B2C6-355D5EC56876}" dt="2024-06-13T11:07:12.223" v="3178"/>
          <ac:spMkLst>
            <pc:docMk/>
            <pc:sldMk cId="0" sldId="299"/>
            <ac:spMk id="17" creationId="{C687EEAA-47D5-583B-C987-D1443F16B196}"/>
          </ac:spMkLst>
        </pc:spChg>
        <pc:spChg chg="ord">
          <ac:chgData name="Deimonmi Nongrum [Chillibreeze]" userId="e937f645-8c95-42a9-a298-dfd645e9a76a" providerId="ADAL" clId="{750E9A50-ACEA-48D3-B2C6-355D5EC56876}" dt="2024-06-13T11:07:14.046" v="3180"/>
          <ac:spMkLst>
            <pc:docMk/>
            <pc:sldMk cId="0" sldId="299"/>
            <ac:spMk id="22" creationId="{F82EF5D0-FB4C-3B46-D756-6A0CB8E6BC26}"/>
          </ac:spMkLst>
        </pc:spChg>
        <pc:spChg chg="ord">
          <ac:chgData name="Deimonmi Nongrum [Chillibreeze]" userId="e937f645-8c95-42a9-a298-dfd645e9a76a" providerId="ADAL" clId="{750E9A50-ACEA-48D3-B2C6-355D5EC56876}" dt="2024-06-13T11:07:15.763" v="3182"/>
          <ac:spMkLst>
            <pc:docMk/>
            <pc:sldMk cId="0" sldId="299"/>
            <ac:spMk id="27" creationId="{22C4A5FD-3D7C-2DC9-3A03-B61187CC7ECE}"/>
          </ac:spMkLst>
        </pc:spChg>
        <pc:spChg chg="mod ord">
          <ac:chgData name="Deimonmi Nongrum [Chillibreeze]" userId="e937f645-8c95-42a9-a298-dfd645e9a76a" providerId="ADAL" clId="{750E9A50-ACEA-48D3-B2C6-355D5EC56876}" dt="2024-06-13T14:25:27.177" v="7307" actId="207"/>
          <ac:spMkLst>
            <pc:docMk/>
            <pc:sldMk cId="0" sldId="299"/>
            <ac:spMk id="28" creationId="{0D3AC46B-BC74-FF19-1605-BC1A346E21E5}"/>
          </ac:spMkLst>
        </pc:spChg>
        <pc:spChg chg="mod ord">
          <ac:chgData name="Deimonmi Nongrum [Chillibreeze]" userId="e937f645-8c95-42a9-a298-dfd645e9a76a" providerId="ADAL" clId="{750E9A50-ACEA-48D3-B2C6-355D5EC56876}" dt="2024-06-13T11:06:47.674" v="3164" actId="167"/>
          <ac:spMkLst>
            <pc:docMk/>
            <pc:sldMk cId="0" sldId="299"/>
            <ac:spMk id="30" creationId="{BEE4AB0C-AB2A-0A9F-DFA6-8E39F04ADF1F}"/>
          </ac:spMkLst>
        </pc:spChg>
        <pc:spChg chg="mod ord">
          <ac:chgData name="Deimonmi Nongrum [Chillibreeze]" userId="e937f645-8c95-42a9-a298-dfd645e9a76a" providerId="ADAL" clId="{750E9A50-ACEA-48D3-B2C6-355D5EC56876}" dt="2024-06-13T11:06:47.674" v="3164" actId="167"/>
          <ac:spMkLst>
            <pc:docMk/>
            <pc:sldMk cId="0" sldId="299"/>
            <ac:spMk id="31" creationId="{AC54BF02-B6EF-28BB-9161-EE163AC8F263}"/>
          </ac:spMkLst>
        </pc:spChg>
        <pc:spChg chg="mod ord">
          <ac:chgData name="Deimonmi Nongrum [Chillibreeze]" userId="e937f645-8c95-42a9-a298-dfd645e9a76a" providerId="ADAL" clId="{750E9A50-ACEA-48D3-B2C6-355D5EC56876}" dt="2024-06-13T11:07:08.074" v="3175"/>
          <ac:spMkLst>
            <pc:docMk/>
            <pc:sldMk cId="0" sldId="299"/>
            <ac:spMk id="33" creationId="{67C0C91D-D272-615D-8FDC-831080272BE4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99"/>
            <ac:spMk id="4816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299"/>
            <ac:spMk id="4822" creationId="{00000000-0000-0000-0000-000000000000}"/>
          </ac:spMkLst>
        </pc:spChg>
        <pc:grpChg chg="ord">
          <ac:chgData name="Deimonmi Nongrum [Chillibreeze]" userId="e937f645-8c95-42a9-a298-dfd645e9a76a" providerId="ADAL" clId="{750E9A50-ACEA-48D3-B2C6-355D5EC56876}" dt="2024-06-13T11:07:11.568" v="3177"/>
          <ac:grpSpMkLst>
            <pc:docMk/>
            <pc:sldMk cId="0" sldId="299"/>
            <ac:grpSpMk id="13" creationId="{745F6470-9BD4-DF98-866F-83D5F4BC8E4B}"/>
          </ac:grpSpMkLst>
        </pc:grpChg>
        <pc:grpChg chg="ord">
          <ac:chgData name="Deimonmi Nongrum [Chillibreeze]" userId="e937f645-8c95-42a9-a298-dfd645e9a76a" providerId="ADAL" clId="{750E9A50-ACEA-48D3-B2C6-355D5EC56876}" dt="2024-06-13T11:07:13.213" v="3179"/>
          <ac:grpSpMkLst>
            <pc:docMk/>
            <pc:sldMk cId="0" sldId="299"/>
            <ac:grpSpMk id="18" creationId="{5DC10FFA-8976-9028-0F66-48D41E076D2E}"/>
          </ac:grpSpMkLst>
        </pc:grpChg>
        <pc:grpChg chg="ord">
          <ac:chgData name="Deimonmi Nongrum [Chillibreeze]" userId="e937f645-8c95-42a9-a298-dfd645e9a76a" providerId="ADAL" clId="{750E9A50-ACEA-48D3-B2C6-355D5EC56876}" dt="2024-06-13T11:07:15.175" v="3181"/>
          <ac:grpSpMkLst>
            <pc:docMk/>
            <pc:sldMk cId="0" sldId="299"/>
            <ac:grpSpMk id="23" creationId="{DE720C5A-841E-E92D-6F40-63A3A292FB09}"/>
          </ac:grpSpMkLst>
        </pc:grpChg>
        <pc:picChg chg="mod ord">
          <ac:chgData name="Deimonmi Nongrum [Chillibreeze]" userId="e937f645-8c95-42a9-a298-dfd645e9a76a" providerId="ADAL" clId="{750E9A50-ACEA-48D3-B2C6-355D5EC56876}" dt="2024-06-13T11:06:47.674" v="3164" actId="167"/>
          <ac:picMkLst>
            <pc:docMk/>
            <pc:sldMk cId="0" sldId="299"/>
            <ac:picMk id="5" creationId="{9289E7A6-B3D5-28EC-5546-DE8E87E85F71}"/>
          </ac:picMkLst>
        </pc:picChg>
        <pc:picChg chg="mod ord">
          <ac:chgData name="Deimonmi Nongrum [Chillibreeze]" userId="e937f645-8c95-42a9-a298-dfd645e9a76a" providerId="ADAL" clId="{750E9A50-ACEA-48D3-B2C6-355D5EC56876}" dt="2024-06-13T11:06:57.854" v="3166" actId="962"/>
          <ac:picMkLst>
            <pc:docMk/>
            <pc:sldMk cId="0" sldId="299"/>
            <ac:picMk id="8" creationId="{A3DD7807-D5EA-C93D-744B-75369063EFF1}"/>
          </ac:picMkLst>
        </pc:picChg>
        <pc:picChg chg="mod ord">
          <ac:chgData name="Deimonmi Nongrum [Chillibreeze]" userId="e937f645-8c95-42a9-a298-dfd645e9a76a" providerId="ADAL" clId="{750E9A50-ACEA-48D3-B2C6-355D5EC56876}" dt="2024-06-13T11:06:47.674" v="3164" actId="167"/>
          <ac:picMkLst>
            <pc:docMk/>
            <pc:sldMk cId="0" sldId="299"/>
            <ac:picMk id="29" creationId="{C3A4DEBD-F8FD-D41C-B9DD-9F360215F868}"/>
          </ac:picMkLst>
        </pc:picChg>
        <pc:cxnChg chg="mod ord">
          <ac:chgData name="Deimonmi Nongrum [Chillibreeze]" userId="e937f645-8c95-42a9-a298-dfd645e9a76a" providerId="ADAL" clId="{750E9A50-ACEA-48D3-B2C6-355D5EC56876}" dt="2024-06-13T11:06:47.674" v="3164" actId="167"/>
          <ac:cxnSpMkLst>
            <pc:docMk/>
            <pc:sldMk cId="0" sldId="299"/>
            <ac:cxnSpMk id="32" creationId="{8E75EA03-C5DE-C8E1-44B5-32E76B910B94}"/>
          </ac:cxnSpMkLst>
        </pc:cxnChg>
      </pc:sldChg>
      <pc:sldChg chg="addSp modSp mod modClrScheme chgLayout">
        <pc:chgData name="Deimonmi Nongrum [Chillibreeze]" userId="e937f645-8c95-42a9-a298-dfd645e9a76a" providerId="ADAL" clId="{750E9A50-ACEA-48D3-B2C6-355D5EC56876}" dt="2024-06-13T11:08:29.528" v="3192" actId="12789"/>
        <pc:sldMkLst>
          <pc:docMk/>
          <pc:sldMk cId="0" sldId="300"/>
        </pc:sldMkLst>
        <pc:spChg chg="add mod">
          <ac:chgData name="Deimonmi Nongrum [Chillibreeze]" userId="e937f645-8c95-42a9-a298-dfd645e9a76a" providerId="ADAL" clId="{750E9A50-ACEA-48D3-B2C6-355D5EC56876}" dt="2024-06-12T03:56:48.480" v="49"/>
          <ac:spMkLst>
            <pc:docMk/>
            <pc:sldMk cId="0" sldId="300"/>
            <ac:spMk id="2" creationId="{279D48B5-858A-34D9-7389-F37ECD47EE03}"/>
          </ac:spMkLst>
        </pc:spChg>
        <pc:spChg chg="mod ord">
          <ac:chgData name="Deimonmi Nongrum [Chillibreeze]" userId="e937f645-8c95-42a9-a298-dfd645e9a76a" providerId="ADAL" clId="{750E9A50-ACEA-48D3-B2C6-355D5EC56876}" dt="2024-06-13T11:08:29.528" v="3192" actId="12789"/>
          <ac:spMkLst>
            <pc:docMk/>
            <pc:sldMk cId="0" sldId="300"/>
            <ac:spMk id="4" creationId="{4036BBC3-2F12-05E3-E731-A0DF4BFA3F70}"/>
          </ac:spMkLst>
        </pc:spChg>
        <pc:spChg chg="ord">
          <ac:chgData name="Deimonmi Nongrum [Chillibreeze]" userId="e937f645-8c95-42a9-a298-dfd645e9a76a" providerId="ADAL" clId="{750E9A50-ACEA-48D3-B2C6-355D5EC56876}" dt="2024-06-13T11:07:50.051" v="3185" actId="167"/>
          <ac:spMkLst>
            <pc:docMk/>
            <pc:sldMk cId="0" sldId="300"/>
            <ac:spMk id="7" creationId="{5AFDB1F0-094A-71F9-3FA7-1CA36DDB4237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00"/>
            <ac:spMk id="4834" creationId="{00000000-0000-0000-0000-000000000000}"/>
          </ac:spMkLst>
        </pc:spChg>
        <pc:grpChg chg="ord">
          <ac:chgData name="Deimonmi Nongrum [Chillibreeze]" userId="e937f645-8c95-42a9-a298-dfd645e9a76a" providerId="ADAL" clId="{750E9A50-ACEA-48D3-B2C6-355D5EC56876}" dt="2024-06-13T11:07:50.051" v="3185" actId="167"/>
          <ac:grpSpMkLst>
            <pc:docMk/>
            <pc:sldMk cId="0" sldId="300"/>
            <ac:grpSpMk id="8" creationId="{D5554B93-B4CA-8674-97B4-644739E4FE20}"/>
          </ac:grpSpMkLst>
        </pc:grpChg>
        <pc:grpChg chg="ord">
          <ac:chgData name="Deimonmi Nongrum [Chillibreeze]" userId="e937f645-8c95-42a9-a298-dfd645e9a76a" providerId="ADAL" clId="{750E9A50-ACEA-48D3-B2C6-355D5EC56876}" dt="2024-06-13T11:07:50.051" v="3185" actId="167"/>
          <ac:grpSpMkLst>
            <pc:docMk/>
            <pc:sldMk cId="0" sldId="300"/>
            <ac:grpSpMk id="15" creationId="{7D54A749-E3FF-604E-0410-58FD5C92CB6F}"/>
          </ac:grpSpMkLst>
        </pc:grpChg>
        <pc:grpChg chg="ord">
          <ac:chgData name="Deimonmi Nongrum [Chillibreeze]" userId="e937f645-8c95-42a9-a298-dfd645e9a76a" providerId="ADAL" clId="{750E9A50-ACEA-48D3-B2C6-355D5EC56876}" dt="2024-06-13T11:07:50.051" v="3185" actId="167"/>
          <ac:grpSpMkLst>
            <pc:docMk/>
            <pc:sldMk cId="0" sldId="300"/>
            <ac:grpSpMk id="19" creationId="{19FE6BBC-2F46-0D52-DC5F-1507B0FA82ED}"/>
          </ac:grpSpMkLst>
        </pc:grpChg>
        <pc:graphicFrameChg chg="mod">
          <ac:chgData name="Deimonmi Nongrum [Chillibreeze]" userId="e937f645-8c95-42a9-a298-dfd645e9a76a" providerId="ADAL" clId="{750E9A50-ACEA-48D3-B2C6-355D5EC56876}" dt="2024-06-13T11:07:57.163" v="3189"/>
          <ac:graphicFrameMkLst>
            <pc:docMk/>
            <pc:sldMk cId="0" sldId="300"/>
            <ac:graphicFrameMk id="13" creationId="{FA47C9B3-CBB3-25BF-D05C-6EF39FF4330B}"/>
          </ac:graphicFrameMkLst>
        </pc:graphicFrameChg>
        <pc:picChg chg="ord">
          <ac:chgData name="Deimonmi Nongrum [Chillibreeze]" userId="e937f645-8c95-42a9-a298-dfd645e9a76a" providerId="ADAL" clId="{750E9A50-ACEA-48D3-B2C6-355D5EC56876}" dt="2024-06-13T11:07:50.051" v="3185" actId="167"/>
          <ac:picMkLst>
            <pc:docMk/>
            <pc:sldMk cId="0" sldId="300"/>
            <ac:picMk id="5" creationId="{E6661DD9-E13A-99DE-4E80-5556785A2F85}"/>
          </ac:picMkLst>
        </pc:picChg>
        <pc:picChg chg="ord">
          <ac:chgData name="Deimonmi Nongrum [Chillibreeze]" userId="e937f645-8c95-42a9-a298-dfd645e9a76a" providerId="ADAL" clId="{750E9A50-ACEA-48D3-B2C6-355D5EC56876}" dt="2024-06-13T11:07:50.051" v="3185" actId="167"/>
          <ac:picMkLst>
            <pc:docMk/>
            <pc:sldMk cId="0" sldId="300"/>
            <ac:picMk id="6" creationId="{317BAB09-98FD-79B2-7542-E8A8D7E2D194}"/>
          </ac:picMkLst>
        </pc:picChg>
        <pc:picChg chg="ord">
          <ac:chgData name="Deimonmi Nongrum [Chillibreeze]" userId="e937f645-8c95-42a9-a298-dfd645e9a76a" providerId="ADAL" clId="{750E9A50-ACEA-48D3-B2C6-355D5EC56876}" dt="2024-06-13T11:08:00.286" v="3190"/>
          <ac:picMkLst>
            <pc:docMk/>
            <pc:sldMk cId="0" sldId="300"/>
            <ac:picMk id="14" creationId="{A0AFC60E-AA5B-7E59-74A2-63A49EE86362}"/>
          </ac:picMkLst>
        </pc:picChg>
      </pc:sldChg>
      <pc:sldChg chg="addSp modSp mod modClrScheme chgLayout">
        <pc:chgData name="Deimonmi Nongrum [Chillibreeze]" userId="e937f645-8c95-42a9-a298-dfd645e9a76a" providerId="ADAL" clId="{750E9A50-ACEA-48D3-B2C6-355D5EC56876}" dt="2024-06-13T11:08:56.169" v="3208"/>
        <pc:sldMkLst>
          <pc:docMk/>
          <pc:sldMk cId="0" sldId="301"/>
        </pc:sldMkLst>
        <pc:spChg chg="add mod">
          <ac:chgData name="Deimonmi Nongrum [Chillibreeze]" userId="e937f645-8c95-42a9-a298-dfd645e9a76a" providerId="ADAL" clId="{750E9A50-ACEA-48D3-B2C6-355D5EC56876}" dt="2024-06-12T03:56:49.733" v="50"/>
          <ac:spMkLst>
            <pc:docMk/>
            <pc:sldMk cId="0" sldId="301"/>
            <ac:spMk id="2" creationId="{AB3741FC-EE31-09FA-392B-2D3F524FD915}"/>
          </ac:spMkLst>
        </pc:spChg>
        <pc:spChg chg="ord">
          <ac:chgData name="Deimonmi Nongrum [Chillibreeze]" userId="e937f645-8c95-42a9-a298-dfd645e9a76a" providerId="ADAL" clId="{750E9A50-ACEA-48D3-B2C6-355D5EC56876}" dt="2024-06-13T11:08:48.600" v="3199"/>
          <ac:spMkLst>
            <pc:docMk/>
            <pc:sldMk cId="0" sldId="301"/>
            <ac:spMk id="5" creationId="{2529EAC7-54DA-5797-77EC-92BAA5CD3E0E}"/>
          </ac:spMkLst>
        </pc:spChg>
        <pc:spChg chg="ord">
          <ac:chgData name="Deimonmi Nongrum [Chillibreeze]" userId="e937f645-8c95-42a9-a298-dfd645e9a76a" providerId="ADAL" clId="{750E9A50-ACEA-48D3-B2C6-355D5EC56876}" dt="2024-06-13T11:08:45.569" v="3193" actId="167"/>
          <ac:spMkLst>
            <pc:docMk/>
            <pc:sldMk cId="0" sldId="301"/>
            <ac:spMk id="8" creationId="{91F5E631-4F85-455F-1FCF-CF098C774389}"/>
          </ac:spMkLst>
        </pc:spChg>
        <pc:spChg chg="ord">
          <ac:chgData name="Deimonmi Nongrum [Chillibreeze]" userId="e937f645-8c95-42a9-a298-dfd645e9a76a" providerId="ADAL" clId="{750E9A50-ACEA-48D3-B2C6-355D5EC56876}" dt="2024-06-13T11:08:49.688" v="3200"/>
          <ac:spMkLst>
            <pc:docMk/>
            <pc:sldMk cId="0" sldId="301"/>
            <ac:spMk id="9" creationId="{536BA3EC-F8E1-FBCC-C3A5-69F59D273515}"/>
          </ac:spMkLst>
        </pc:spChg>
        <pc:spChg chg="ord">
          <ac:chgData name="Deimonmi Nongrum [Chillibreeze]" userId="e937f645-8c95-42a9-a298-dfd645e9a76a" providerId="ADAL" clId="{750E9A50-ACEA-48D3-B2C6-355D5EC56876}" dt="2024-06-13T11:08:50.197" v="3201"/>
          <ac:spMkLst>
            <pc:docMk/>
            <pc:sldMk cId="0" sldId="301"/>
            <ac:spMk id="10" creationId="{9A0DD6E9-E127-538E-DCCF-5AC6B2D51C8C}"/>
          </ac:spMkLst>
        </pc:spChg>
        <pc:spChg chg="ord">
          <ac:chgData name="Deimonmi Nongrum [Chillibreeze]" userId="e937f645-8c95-42a9-a298-dfd645e9a76a" providerId="ADAL" clId="{750E9A50-ACEA-48D3-B2C6-355D5EC56876}" dt="2024-06-13T11:08:51.066" v="3202"/>
          <ac:spMkLst>
            <pc:docMk/>
            <pc:sldMk cId="0" sldId="301"/>
            <ac:spMk id="11" creationId="{2AE5772F-9CB5-1CE4-A2BB-56D75B32A392}"/>
          </ac:spMkLst>
        </pc:spChg>
        <pc:spChg chg="ord">
          <ac:chgData name="Deimonmi Nongrum [Chillibreeze]" userId="e937f645-8c95-42a9-a298-dfd645e9a76a" providerId="ADAL" clId="{750E9A50-ACEA-48D3-B2C6-355D5EC56876}" dt="2024-06-13T11:08:51.699" v="3203"/>
          <ac:spMkLst>
            <pc:docMk/>
            <pc:sldMk cId="0" sldId="301"/>
            <ac:spMk id="12" creationId="{83808D7A-016D-E0B2-3BCC-B4397D8491FE}"/>
          </ac:spMkLst>
        </pc:spChg>
        <pc:spChg chg="ord">
          <ac:chgData name="Deimonmi Nongrum [Chillibreeze]" userId="e937f645-8c95-42a9-a298-dfd645e9a76a" providerId="ADAL" clId="{750E9A50-ACEA-48D3-B2C6-355D5EC56876}" dt="2024-06-13T11:08:52.509" v="3204"/>
          <ac:spMkLst>
            <pc:docMk/>
            <pc:sldMk cId="0" sldId="301"/>
            <ac:spMk id="13" creationId="{F7B7720B-D823-A8B9-6F17-920C851928B1}"/>
          </ac:spMkLst>
        </pc:spChg>
        <pc:spChg chg="ord">
          <ac:chgData name="Deimonmi Nongrum [Chillibreeze]" userId="e937f645-8c95-42a9-a298-dfd645e9a76a" providerId="ADAL" clId="{750E9A50-ACEA-48D3-B2C6-355D5EC56876}" dt="2024-06-13T11:08:53.587" v="3205"/>
          <ac:spMkLst>
            <pc:docMk/>
            <pc:sldMk cId="0" sldId="301"/>
            <ac:spMk id="14" creationId="{7CF5EF4D-3324-DFC6-B69F-A6B5B455A90D}"/>
          </ac:spMkLst>
        </pc:spChg>
        <pc:spChg chg="ord">
          <ac:chgData name="Deimonmi Nongrum [Chillibreeze]" userId="e937f645-8c95-42a9-a298-dfd645e9a76a" providerId="ADAL" clId="{750E9A50-ACEA-48D3-B2C6-355D5EC56876}" dt="2024-06-13T11:08:54.646" v="3206"/>
          <ac:spMkLst>
            <pc:docMk/>
            <pc:sldMk cId="0" sldId="301"/>
            <ac:spMk id="15" creationId="{5B6EBB77-3089-206B-DBAE-209E188D3B39}"/>
          </ac:spMkLst>
        </pc:spChg>
        <pc:spChg chg="ord">
          <ac:chgData name="Deimonmi Nongrum [Chillibreeze]" userId="e937f645-8c95-42a9-a298-dfd645e9a76a" providerId="ADAL" clId="{750E9A50-ACEA-48D3-B2C6-355D5EC56876}" dt="2024-06-13T11:08:55.351" v="3207"/>
          <ac:spMkLst>
            <pc:docMk/>
            <pc:sldMk cId="0" sldId="301"/>
            <ac:spMk id="16" creationId="{DDFDE6DB-7717-CA6F-2694-AE7D20788655}"/>
          </ac:spMkLst>
        </pc:spChg>
        <pc:spChg chg="ord">
          <ac:chgData name="Deimonmi Nongrum [Chillibreeze]" userId="e937f645-8c95-42a9-a298-dfd645e9a76a" providerId="ADAL" clId="{750E9A50-ACEA-48D3-B2C6-355D5EC56876}" dt="2024-06-13T11:08:56.169" v="3208"/>
          <ac:spMkLst>
            <pc:docMk/>
            <pc:sldMk cId="0" sldId="301"/>
            <ac:spMk id="17" creationId="{FE642F93-23AE-2E48-B4FD-768291635599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01"/>
            <ac:spMk id="4846" creationId="{00000000-0000-0000-0000-000000000000}"/>
          </ac:spMkLst>
        </pc:spChg>
        <pc:picChg chg="ord">
          <ac:chgData name="Deimonmi Nongrum [Chillibreeze]" userId="e937f645-8c95-42a9-a298-dfd645e9a76a" providerId="ADAL" clId="{750E9A50-ACEA-48D3-B2C6-355D5EC56876}" dt="2024-06-13T11:08:45.569" v="3193" actId="167"/>
          <ac:picMkLst>
            <pc:docMk/>
            <pc:sldMk cId="0" sldId="301"/>
            <ac:picMk id="6" creationId="{EE0C678E-D039-0133-2092-BF46B069F76D}"/>
          </ac:picMkLst>
        </pc:picChg>
        <pc:picChg chg="ord">
          <ac:chgData name="Deimonmi Nongrum [Chillibreeze]" userId="e937f645-8c95-42a9-a298-dfd645e9a76a" providerId="ADAL" clId="{750E9A50-ACEA-48D3-B2C6-355D5EC56876}" dt="2024-06-13T11:08:45.569" v="3193" actId="167"/>
          <ac:picMkLst>
            <pc:docMk/>
            <pc:sldMk cId="0" sldId="301"/>
            <ac:picMk id="7" creationId="{6EA14C44-4210-E5B9-1AE1-88D14A3A4E2F}"/>
          </ac:picMkLst>
        </pc:picChg>
      </pc:sldChg>
      <pc:sldChg chg="addSp modSp mod modClrScheme chgLayout">
        <pc:chgData name="Deimonmi Nongrum [Chillibreeze]" userId="e937f645-8c95-42a9-a298-dfd645e9a76a" providerId="ADAL" clId="{750E9A50-ACEA-48D3-B2C6-355D5EC56876}" dt="2024-06-13T11:09:35.946" v="3236"/>
        <pc:sldMkLst>
          <pc:docMk/>
          <pc:sldMk cId="0" sldId="302"/>
        </pc:sldMkLst>
        <pc:spChg chg="add mod">
          <ac:chgData name="Deimonmi Nongrum [Chillibreeze]" userId="e937f645-8c95-42a9-a298-dfd645e9a76a" providerId="ADAL" clId="{750E9A50-ACEA-48D3-B2C6-355D5EC56876}" dt="2024-06-12T03:56:50.800" v="51"/>
          <ac:spMkLst>
            <pc:docMk/>
            <pc:sldMk cId="0" sldId="302"/>
            <ac:spMk id="2" creationId="{16F43D02-A130-A6AB-AB47-8E8DD89DB42D}"/>
          </ac:spMkLst>
        </pc:spChg>
        <pc:spChg chg="mod ord">
          <ac:chgData name="Deimonmi Nongrum [Chillibreeze]" userId="e937f645-8c95-42a9-a298-dfd645e9a76a" providerId="ADAL" clId="{750E9A50-ACEA-48D3-B2C6-355D5EC56876}" dt="2024-06-13T11:09:25.763" v="3227"/>
          <ac:spMkLst>
            <pc:docMk/>
            <pc:sldMk cId="0" sldId="302"/>
            <ac:spMk id="4" creationId="{851C0130-AECD-A741-7902-C54C210C193E}"/>
          </ac:spMkLst>
        </pc:spChg>
        <pc:spChg chg="ord">
          <ac:chgData name="Deimonmi Nongrum [Chillibreeze]" userId="e937f645-8c95-42a9-a298-dfd645e9a76a" providerId="ADAL" clId="{750E9A50-ACEA-48D3-B2C6-355D5EC56876}" dt="2024-06-13T11:09:21.537" v="3222" actId="167"/>
          <ac:spMkLst>
            <pc:docMk/>
            <pc:sldMk cId="0" sldId="302"/>
            <ac:spMk id="5" creationId="{F88159B2-8DFA-0038-6355-38D51E5AD3D4}"/>
          </ac:spMkLst>
        </pc:spChg>
        <pc:spChg chg="ord">
          <ac:chgData name="Deimonmi Nongrum [Chillibreeze]" userId="e937f645-8c95-42a9-a298-dfd645e9a76a" providerId="ADAL" clId="{750E9A50-ACEA-48D3-B2C6-355D5EC56876}" dt="2024-06-13T11:09:21.537" v="3222" actId="167"/>
          <ac:spMkLst>
            <pc:docMk/>
            <pc:sldMk cId="0" sldId="302"/>
            <ac:spMk id="6" creationId="{F844ED28-EEB6-44C1-1C35-01D2A83EBF9C}"/>
          </ac:spMkLst>
        </pc:spChg>
        <pc:spChg chg="ord">
          <ac:chgData name="Deimonmi Nongrum [Chillibreeze]" userId="e937f645-8c95-42a9-a298-dfd645e9a76a" providerId="ADAL" clId="{750E9A50-ACEA-48D3-B2C6-355D5EC56876}" dt="2024-06-13T11:09:21.537" v="3222" actId="167"/>
          <ac:spMkLst>
            <pc:docMk/>
            <pc:sldMk cId="0" sldId="302"/>
            <ac:spMk id="7" creationId="{769EC3FF-CD88-4718-3BE4-EDF25191DD26}"/>
          </ac:spMkLst>
        </pc:spChg>
        <pc:spChg chg="ord">
          <ac:chgData name="Deimonmi Nongrum [Chillibreeze]" userId="e937f645-8c95-42a9-a298-dfd645e9a76a" providerId="ADAL" clId="{750E9A50-ACEA-48D3-B2C6-355D5EC56876}" dt="2024-06-13T11:09:21.537" v="3222" actId="167"/>
          <ac:spMkLst>
            <pc:docMk/>
            <pc:sldMk cId="0" sldId="302"/>
            <ac:spMk id="8" creationId="{D0E7032F-64F1-15B3-169D-211D407487F0}"/>
          </ac:spMkLst>
        </pc:spChg>
        <pc:spChg chg="ord">
          <ac:chgData name="Deimonmi Nongrum [Chillibreeze]" userId="e937f645-8c95-42a9-a298-dfd645e9a76a" providerId="ADAL" clId="{750E9A50-ACEA-48D3-B2C6-355D5EC56876}" dt="2024-06-13T11:09:21.537" v="3222" actId="167"/>
          <ac:spMkLst>
            <pc:docMk/>
            <pc:sldMk cId="0" sldId="302"/>
            <ac:spMk id="9" creationId="{34DDA570-B34D-551D-6319-ADD7EA393ABC}"/>
          </ac:spMkLst>
        </pc:spChg>
        <pc:spChg chg="ord">
          <ac:chgData name="Deimonmi Nongrum [Chillibreeze]" userId="e937f645-8c95-42a9-a298-dfd645e9a76a" providerId="ADAL" clId="{750E9A50-ACEA-48D3-B2C6-355D5EC56876}" dt="2024-06-13T11:09:21.537" v="3222" actId="167"/>
          <ac:spMkLst>
            <pc:docMk/>
            <pc:sldMk cId="0" sldId="302"/>
            <ac:spMk id="10" creationId="{D13847B3-504A-3556-60EE-41CCEDD77DE9}"/>
          </ac:spMkLst>
        </pc:spChg>
        <pc:spChg chg="ord">
          <ac:chgData name="Deimonmi Nongrum [Chillibreeze]" userId="e937f645-8c95-42a9-a298-dfd645e9a76a" providerId="ADAL" clId="{750E9A50-ACEA-48D3-B2C6-355D5EC56876}" dt="2024-06-13T11:09:21.537" v="3222" actId="167"/>
          <ac:spMkLst>
            <pc:docMk/>
            <pc:sldMk cId="0" sldId="302"/>
            <ac:spMk id="11" creationId="{44F7666A-0081-C84B-1389-D93E99106F91}"/>
          </ac:spMkLst>
        </pc:spChg>
        <pc:spChg chg="ord">
          <ac:chgData name="Deimonmi Nongrum [Chillibreeze]" userId="e937f645-8c95-42a9-a298-dfd645e9a76a" providerId="ADAL" clId="{750E9A50-ACEA-48D3-B2C6-355D5EC56876}" dt="2024-06-13T11:09:27.568" v="3229"/>
          <ac:spMkLst>
            <pc:docMk/>
            <pc:sldMk cId="0" sldId="302"/>
            <ac:spMk id="15" creationId="{B51CE38D-0A46-D82C-C381-62A955B84618}"/>
          </ac:spMkLst>
        </pc:spChg>
        <pc:spChg chg="ord">
          <ac:chgData name="Deimonmi Nongrum [Chillibreeze]" userId="e937f645-8c95-42a9-a298-dfd645e9a76a" providerId="ADAL" clId="{750E9A50-ACEA-48D3-B2C6-355D5EC56876}" dt="2024-06-13T11:09:33.560" v="3234"/>
          <ac:spMkLst>
            <pc:docMk/>
            <pc:sldMk cId="0" sldId="302"/>
            <ac:spMk id="20" creationId="{F59DC95E-1DDC-B7B7-B31B-DB9E13988E56}"/>
          </ac:spMkLst>
        </pc:spChg>
        <pc:spChg chg="ord">
          <ac:chgData name="Deimonmi Nongrum [Chillibreeze]" userId="e937f645-8c95-42a9-a298-dfd645e9a76a" providerId="ADAL" clId="{750E9A50-ACEA-48D3-B2C6-355D5EC56876}" dt="2024-06-13T11:09:35.223" v="3235"/>
          <ac:spMkLst>
            <pc:docMk/>
            <pc:sldMk cId="0" sldId="302"/>
            <ac:spMk id="21" creationId="{B2F14F8A-B7A2-0BA8-F873-1AEF944B0BA4}"/>
          </ac:spMkLst>
        </pc:spChg>
        <pc:spChg chg="mod ord">
          <ac:chgData name="Deimonmi Nongrum [Chillibreeze]" userId="e937f645-8c95-42a9-a298-dfd645e9a76a" providerId="ADAL" clId="{750E9A50-ACEA-48D3-B2C6-355D5EC56876}" dt="2024-06-13T11:09:26.728" v="3228"/>
          <ac:spMkLst>
            <pc:docMk/>
            <pc:sldMk cId="0" sldId="302"/>
            <ac:spMk id="26" creationId="{212A280C-1F1F-E966-4701-9A7C14ED4322}"/>
          </ac:spMkLst>
        </pc:spChg>
        <pc:spChg chg="ord">
          <ac:chgData name="Deimonmi Nongrum [Chillibreeze]" userId="e937f645-8c95-42a9-a298-dfd645e9a76a" providerId="ADAL" clId="{750E9A50-ACEA-48D3-B2C6-355D5EC56876}" dt="2024-06-13T11:09:21.537" v="3222" actId="167"/>
          <ac:spMkLst>
            <pc:docMk/>
            <pc:sldMk cId="0" sldId="302"/>
            <ac:spMk id="29" creationId="{4142C6CC-8ECD-CE00-92F8-C86859CDDD86}"/>
          </ac:spMkLst>
        </pc:spChg>
        <pc:spChg chg="ord">
          <ac:chgData name="Deimonmi Nongrum [Chillibreeze]" userId="e937f645-8c95-42a9-a298-dfd645e9a76a" providerId="ADAL" clId="{750E9A50-ACEA-48D3-B2C6-355D5EC56876}" dt="2024-06-13T11:09:21.537" v="3222" actId="167"/>
          <ac:spMkLst>
            <pc:docMk/>
            <pc:sldMk cId="0" sldId="302"/>
            <ac:spMk id="30" creationId="{8635555E-834B-E2FE-BBA3-0F271F14C001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02"/>
            <ac:spMk id="4861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02"/>
            <ac:spMk id="4862" creationId="{00000000-0000-0000-0000-000000000000}"/>
          </ac:spMkLst>
        </pc:spChg>
        <pc:grpChg chg="ord">
          <ac:chgData name="Deimonmi Nongrum [Chillibreeze]" userId="e937f645-8c95-42a9-a298-dfd645e9a76a" providerId="ADAL" clId="{750E9A50-ACEA-48D3-B2C6-355D5EC56876}" dt="2024-06-13T11:09:21.537" v="3222" actId="167"/>
          <ac:grpSpMkLst>
            <pc:docMk/>
            <pc:sldMk cId="0" sldId="302"/>
            <ac:grpSpMk id="12" creationId="{9B5B9CA5-99C0-C6AB-3CA7-C1217D83A03D}"/>
          </ac:grpSpMkLst>
        </pc:grpChg>
        <pc:picChg chg="ord">
          <ac:chgData name="Deimonmi Nongrum [Chillibreeze]" userId="e937f645-8c95-42a9-a298-dfd645e9a76a" providerId="ADAL" clId="{750E9A50-ACEA-48D3-B2C6-355D5EC56876}" dt="2024-06-13T11:09:28.376" v="3230"/>
          <ac:picMkLst>
            <pc:docMk/>
            <pc:sldMk cId="0" sldId="302"/>
            <ac:picMk id="16" creationId="{63D9B895-60F2-CB4C-9774-C256883E5F50}"/>
          </ac:picMkLst>
        </pc:picChg>
        <pc:picChg chg="mod">
          <ac:chgData name="Deimonmi Nongrum [Chillibreeze]" userId="e937f645-8c95-42a9-a298-dfd645e9a76a" providerId="ADAL" clId="{750E9A50-ACEA-48D3-B2C6-355D5EC56876}" dt="2024-06-13T11:09:29.293" v="3231"/>
          <ac:picMkLst>
            <pc:docMk/>
            <pc:sldMk cId="0" sldId="302"/>
            <ac:picMk id="17" creationId="{4CF88120-8E5C-77CF-6E7F-F450DC6D9583}"/>
          </ac:picMkLst>
        </pc:picChg>
        <pc:picChg chg="ord">
          <ac:chgData name="Deimonmi Nongrum [Chillibreeze]" userId="e937f645-8c95-42a9-a298-dfd645e9a76a" providerId="ADAL" clId="{750E9A50-ACEA-48D3-B2C6-355D5EC56876}" dt="2024-06-13T11:09:30.167" v="3232"/>
          <ac:picMkLst>
            <pc:docMk/>
            <pc:sldMk cId="0" sldId="302"/>
            <ac:picMk id="18" creationId="{03C34802-F940-0A87-B64C-9F27336BC9D3}"/>
          </ac:picMkLst>
        </pc:picChg>
        <pc:picChg chg="ord">
          <ac:chgData name="Deimonmi Nongrum [Chillibreeze]" userId="e937f645-8c95-42a9-a298-dfd645e9a76a" providerId="ADAL" clId="{750E9A50-ACEA-48D3-B2C6-355D5EC56876}" dt="2024-06-13T11:09:30.936" v="3233"/>
          <ac:picMkLst>
            <pc:docMk/>
            <pc:sldMk cId="0" sldId="302"/>
            <ac:picMk id="19" creationId="{572E34AD-7B13-EC54-5378-C8562B2AFF14}"/>
          </ac:picMkLst>
        </pc:picChg>
        <pc:picChg chg="ord">
          <ac:chgData name="Deimonmi Nongrum [Chillibreeze]" userId="e937f645-8c95-42a9-a298-dfd645e9a76a" providerId="ADAL" clId="{750E9A50-ACEA-48D3-B2C6-355D5EC56876}" dt="2024-06-13T11:09:35.946" v="3236"/>
          <ac:picMkLst>
            <pc:docMk/>
            <pc:sldMk cId="0" sldId="302"/>
            <ac:picMk id="22" creationId="{E8F43847-D324-8836-9687-35131FC3752E}"/>
          </ac:picMkLst>
        </pc:picChg>
        <pc:picChg chg="ord">
          <ac:chgData name="Deimonmi Nongrum [Chillibreeze]" userId="e937f645-8c95-42a9-a298-dfd645e9a76a" providerId="ADAL" clId="{750E9A50-ACEA-48D3-B2C6-355D5EC56876}" dt="2024-06-13T11:09:21.537" v="3222" actId="167"/>
          <ac:picMkLst>
            <pc:docMk/>
            <pc:sldMk cId="0" sldId="302"/>
            <ac:picMk id="28" creationId="{28FEC567-3A4E-3EF4-D68B-B3974013F842}"/>
          </ac:picMkLst>
        </pc:picChg>
        <pc:cxnChg chg="ord">
          <ac:chgData name="Deimonmi Nongrum [Chillibreeze]" userId="e937f645-8c95-42a9-a298-dfd645e9a76a" providerId="ADAL" clId="{750E9A50-ACEA-48D3-B2C6-355D5EC56876}" dt="2024-06-13T11:09:21.537" v="3222" actId="167"/>
          <ac:cxnSpMkLst>
            <pc:docMk/>
            <pc:sldMk cId="0" sldId="302"/>
            <ac:cxnSpMk id="25" creationId="{DDFF6786-6589-028E-0D30-C5C19F47063C}"/>
          </ac:cxnSpMkLst>
        </pc:cxnChg>
      </pc:sldChg>
      <pc:sldChg chg="addSp modSp mod modClrScheme chgLayout">
        <pc:chgData name="Deimonmi Nongrum [Chillibreeze]" userId="e937f645-8c95-42a9-a298-dfd645e9a76a" providerId="ADAL" clId="{750E9A50-ACEA-48D3-B2C6-355D5EC56876}" dt="2024-06-13T11:10:18.254" v="3253"/>
        <pc:sldMkLst>
          <pc:docMk/>
          <pc:sldMk cId="0" sldId="303"/>
        </pc:sldMkLst>
        <pc:spChg chg="add mod">
          <ac:chgData name="Deimonmi Nongrum [Chillibreeze]" userId="e937f645-8c95-42a9-a298-dfd645e9a76a" providerId="ADAL" clId="{750E9A50-ACEA-48D3-B2C6-355D5EC56876}" dt="2024-06-12T03:56:51.616" v="52"/>
          <ac:spMkLst>
            <pc:docMk/>
            <pc:sldMk cId="0" sldId="303"/>
            <ac:spMk id="2" creationId="{D3293FA1-85D1-8D1B-A67C-249723B826B7}"/>
          </ac:spMkLst>
        </pc:spChg>
        <pc:spChg chg="mod ord">
          <ac:chgData name="Deimonmi Nongrum [Chillibreeze]" userId="e937f645-8c95-42a9-a298-dfd645e9a76a" providerId="ADAL" clId="{750E9A50-ACEA-48D3-B2C6-355D5EC56876}" dt="2024-06-13T11:10:13.579" v="3247"/>
          <ac:spMkLst>
            <pc:docMk/>
            <pc:sldMk cId="0" sldId="303"/>
            <ac:spMk id="5" creationId="{193A4280-251B-0BE2-E3AE-B9FFDF8837D5}"/>
          </ac:spMkLst>
        </pc:spChg>
        <pc:spChg chg="mod ord">
          <ac:chgData name="Deimonmi Nongrum [Chillibreeze]" userId="e937f645-8c95-42a9-a298-dfd645e9a76a" providerId="ADAL" clId="{750E9A50-ACEA-48D3-B2C6-355D5EC56876}" dt="2024-06-13T11:10:10.162" v="3240" actId="167"/>
          <ac:spMkLst>
            <pc:docMk/>
            <pc:sldMk cId="0" sldId="303"/>
            <ac:spMk id="6" creationId="{C706B7A0-A21E-1248-CCE7-EA83AD448AD5}"/>
          </ac:spMkLst>
        </pc:spChg>
        <pc:spChg chg="mod ord">
          <ac:chgData name="Deimonmi Nongrum [Chillibreeze]" userId="e937f645-8c95-42a9-a298-dfd645e9a76a" providerId="ADAL" clId="{750E9A50-ACEA-48D3-B2C6-355D5EC56876}" dt="2024-06-13T11:10:10.162" v="3240" actId="167"/>
          <ac:spMkLst>
            <pc:docMk/>
            <pc:sldMk cId="0" sldId="303"/>
            <ac:spMk id="7" creationId="{B603EC77-1724-0EDB-E022-AD439609A5B1}"/>
          </ac:spMkLst>
        </pc:spChg>
        <pc:spChg chg="mod ord">
          <ac:chgData name="Deimonmi Nongrum [Chillibreeze]" userId="e937f645-8c95-42a9-a298-dfd645e9a76a" providerId="ADAL" clId="{750E9A50-ACEA-48D3-B2C6-355D5EC56876}" dt="2024-06-13T11:10:10.162" v="3240" actId="167"/>
          <ac:spMkLst>
            <pc:docMk/>
            <pc:sldMk cId="0" sldId="303"/>
            <ac:spMk id="8" creationId="{D7C9F20A-6C80-D8E4-0091-11CA4D885D55}"/>
          </ac:spMkLst>
        </pc:spChg>
        <pc:spChg chg="mod ord">
          <ac:chgData name="Deimonmi Nongrum [Chillibreeze]" userId="e937f645-8c95-42a9-a298-dfd645e9a76a" providerId="ADAL" clId="{750E9A50-ACEA-48D3-B2C6-355D5EC56876}" dt="2024-06-13T11:10:10.162" v="3240" actId="167"/>
          <ac:spMkLst>
            <pc:docMk/>
            <pc:sldMk cId="0" sldId="303"/>
            <ac:spMk id="9" creationId="{803FDCCC-4143-022F-E703-B5260F52EB82}"/>
          </ac:spMkLst>
        </pc:spChg>
        <pc:spChg chg="mod ord">
          <ac:chgData name="Deimonmi Nongrum [Chillibreeze]" userId="e937f645-8c95-42a9-a298-dfd645e9a76a" providerId="ADAL" clId="{750E9A50-ACEA-48D3-B2C6-355D5EC56876}" dt="2024-06-13T11:10:10.162" v="3240" actId="167"/>
          <ac:spMkLst>
            <pc:docMk/>
            <pc:sldMk cId="0" sldId="303"/>
            <ac:spMk id="10" creationId="{0BD0C545-F098-3DA1-7398-CD74130571DB}"/>
          </ac:spMkLst>
        </pc:spChg>
        <pc:spChg chg="mod ord">
          <ac:chgData name="Deimonmi Nongrum [Chillibreeze]" userId="e937f645-8c95-42a9-a298-dfd645e9a76a" providerId="ADAL" clId="{750E9A50-ACEA-48D3-B2C6-355D5EC56876}" dt="2024-06-13T11:10:10.162" v="3240" actId="167"/>
          <ac:spMkLst>
            <pc:docMk/>
            <pc:sldMk cId="0" sldId="303"/>
            <ac:spMk id="11" creationId="{5E0F3638-6605-CCB2-1121-B33665280730}"/>
          </ac:spMkLst>
        </pc:spChg>
        <pc:spChg chg="mod ord">
          <ac:chgData name="Deimonmi Nongrum [Chillibreeze]" userId="e937f645-8c95-42a9-a298-dfd645e9a76a" providerId="ADAL" clId="{750E9A50-ACEA-48D3-B2C6-355D5EC56876}" dt="2024-06-13T11:10:10.162" v="3240" actId="167"/>
          <ac:spMkLst>
            <pc:docMk/>
            <pc:sldMk cId="0" sldId="303"/>
            <ac:spMk id="12" creationId="{C4D963F9-64C3-F4CD-6688-B89A7D52760C}"/>
          </ac:spMkLst>
        </pc:spChg>
        <pc:spChg chg="mod ord">
          <ac:chgData name="Deimonmi Nongrum [Chillibreeze]" userId="e937f645-8c95-42a9-a298-dfd645e9a76a" providerId="ADAL" clId="{750E9A50-ACEA-48D3-B2C6-355D5EC56876}" dt="2024-06-13T11:10:10.162" v="3240" actId="167"/>
          <ac:spMkLst>
            <pc:docMk/>
            <pc:sldMk cId="0" sldId="303"/>
            <ac:spMk id="15" creationId="{616AB467-7ABB-5EE3-25B8-256DE3B4A749}"/>
          </ac:spMkLst>
        </pc:spChg>
        <pc:spChg chg="ord">
          <ac:chgData name="Deimonmi Nongrum [Chillibreeze]" userId="e937f645-8c95-42a9-a298-dfd645e9a76a" providerId="ADAL" clId="{750E9A50-ACEA-48D3-B2C6-355D5EC56876}" dt="2024-06-13T11:10:14.546" v="3248"/>
          <ac:spMkLst>
            <pc:docMk/>
            <pc:sldMk cId="0" sldId="303"/>
            <ac:spMk id="16" creationId="{379D7938-09EB-CD95-5C84-D8160DDC7DAB}"/>
          </ac:spMkLst>
        </pc:spChg>
        <pc:spChg chg="ord">
          <ac:chgData name="Deimonmi Nongrum [Chillibreeze]" userId="e937f645-8c95-42a9-a298-dfd645e9a76a" providerId="ADAL" clId="{750E9A50-ACEA-48D3-B2C6-355D5EC56876}" dt="2024-06-13T11:10:15.391" v="3249"/>
          <ac:spMkLst>
            <pc:docMk/>
            <pc:sldMk cId="0" sldId="303"/>
            <ac:spMk id="17" creationId="{BC44105F-786E-6967-17C6-F48E41956909}"/>
          </ac:spMkLst>
        </pc:spChg>
        <pc:spChg chg="mod ord">
          <ac:chgData name="Deimonmi Nongrum [Chillibreeze]" userId="e937f645-8c95-42a9-a298-dfd645e9a76a" providerId="ADAL" clId="{750E9A50-ACEA-48D3-B2C6-355D5EC56876}" dt="2024-06-13T11:10:10.162" v="3240" actId="167"/>
          <ac:spMkLst>
            <pc:docMk/>
            <pc:sldMk cId="0" sldId="303"/>
            <ac:spMk id="18" creationId="{86DF10FD-EAFF-E696-1A01-FA115EAD1F7E}"/>
          </ac:spMkLst>
        </pc:spChg>
        <pc:spChg chg="ord">
          <ac:chgData name="Deimonmi Nongrum [Chillibreeze]" userId="e937f645-8c95-42a9-a298-dfd645e9a76a" providerId="ADAL" clId="{750E9A50-ACEA-48D3-B2C6-355D5EC56876}" dt="2024-06-13T11:10:16.345" v="3250"/>
          <ac:spMkLst>
            <pc:docMk/>
            <pc:sldMk cId="0" sldId="303"/>
            <ac:spMk id="19" creationId="{292E7775-0DAE-FB3B-FCEE-445F8E0CF150}"/>
          </ac:spMkLst>
        </pc:spChg>
        <pc:spChg chg="ord">
          <ac:chgData name="Deimonmi Nongrum [Chillibreeze]" userId="e937f645-8c95-42a9-a298-dfd645e9a76a" providerId="ADAL" clId="{750E9A50-ACEA-48D3-B2C6-355D5EC56876}" dt="2024-06-13T11:10:16.936" v="3251"/>
          <ac:spMkLst>
            <pc:docMk/>
            <pc:sldMk cId="0" sldId="303"/>
            <ac:spMk id="20" creationId="{2F33CA07-2F7E-0827-FB71-B67B23EC31AC}"/>
          </ac:spMkLst>
        </pc:spChg>
        <pc:spChg chg="mod ord">
          <ac:chgData name="Deimonmi Nongrum [Chillibreeze]" userId="e937f645-8c95-42a9-a298-dfd645e9a76a" providerId="ADAL" clId="{750E9A50-ACEA-48D3-B2C6-355D5EC56876}" dt="2024-06-13T11:10:10.162" v="3240" actId="167"/>
          <ac:spMkLst>
            <pc:docMk/>
            <pc:sldMk cId="0" sldId="303"/>
            <ac:spMk id="21" creationId="{90D73716-3AA3-29FB-422C-BA0ED5D64607}"/>
          </ac:spMkLst>
        </pc:spChg>
        <pc:spChg chg="ord">
          <ac:chgData name="Deimonmi Nongrum [Chillibreeze]" userId="e937f645-8c95-42a9-a298-dfd645e9a76a" providerId="ADAL" clId="{750E9A50-ACEA-48D3-B2C6-355D5EC56876}" dt="2024-06-13T11:10:17.696" v="3252"/>
          <ac:spMkLst>
            <pc:docMk/>
            <pc:sldMk cId="0" sldId="303"/>
            <ac:spMk id="22" creationId="{22BC840D-5013-0E1C-74E5-52355EE5F3DB}"/>
          </ac:spMkLst>
        </pc:spChg>
        <pc:spChg chg="ord">
          <ac:chgData name="Deimonmi Nongrum [Chillibreeze]" userId="e937f645-8c95-42a9-a298-dfd645e9a76a" providerId="ADAL" clId="{750E9A50-ACEA-48D3-B2C6-355D5EC56876}" dt="2024-06-13T11:10:18.254" v="3253"/>
          <ac:spMkLst>
            <pc:docMk/>
            <pc:sldMk cId="0" sldId="303"/>
            <ac:spMk id="23" creationId="{5AADC888-0CD2-1814-E343-01D4F695EC68}"/>
          </ac:spMkLst>
        </pc:spChg>
        <pc:spChg chg="mod ord">
          <ac:chgData name="Deimonmi Nongrum [Chillibreeze]" userId="e937f645-8c95-42a9-a298-dfd645e9a76a" providerId="ADAL" clId="{750E9A50-ACEA-48D3-B2C6-355D5EC56876}" dt="2024-06-13T11:10:10.162" v="3240" actId="167"/>
          <ac:spMkLst>
            <pc:docMk/>
            <pc:sldMk cId="0" sldId="303"/>
            <ac:spMk id="25" creationId="{572AE4DE-4AC8-0848-5F49-35468D547760}"/>
          </ac:spMkLst>
        </pc:spChg>
        <pc:spChg chg="mod ord">
          <ac:chgData name="Deimonmi Nongrum [Chillibreeze]" userId="e937f645-8c95-42a9-a298-dfd645e9a76a" providerId="ADAL" clId="{750E9A50-ACEA-48D3-B2C6-355D5EC56876}" dt="2024-06-13T11:10:10.162" v="3240" actId="167"/>
          <ac:spMkLst>
            <pc:docMk/>
            <pc:sldMk cId="0" sldId="303"/>
            <ac:spMk id="26" creationId="{04D786B5-F883-F5D1-1DC8-5C274FB4936F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03"/>
            <ac:spMk id="4888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03"/>
            <ac:spMk id="4889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03"/>
            <ac:spMk id="4890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03"/>
            <ac:spMk id="4891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03"/>
            <ac:spMk id="4892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03"/>
            <ac:spMk id="4893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03"/>
            <ac:spMk id="4894" creationId="{00000000-0000-0000-0000-000000000000}"/>
          </ac:spMkLst>
        </pc:spChg>
        <pc:picChg chg="mod ord">
          <ac:chgData name="Deimonmi Nongrum [Chillibreeze]" userId="e937f645-8c95-42a9-a298-dfd645e9a76a" providerId="ADAL" clId="{750E9A50-ACEA-48D3-B2C6-355D5EC56876}" dt="2024-06-13T11:10:10.162" v="3240" actId="167"/>
          <ac:picMkLst>
            <pc:docMk/>
            <pc:sldMk cId="0" sldId="303"/>
            <ac:picMk id="24" creationId="{0BFB521F-7B1F-500C-39D4-108032AA38D3}"/>
          </ac:picMkLst>
        </pc:picChg>
        <pc:picChg chg="mod ord">
          <ac:chgData name="Deimonmi Nongrum [Chillibreeze]" userId="e937f645-8c95-42a9-a298-dfd645e9a76a" providerId="ADAL" clId="{750E9A50-ACEA-48D3-B2C6-355D5EC56876}" dt="2024-06-12T09:43:22.507" v="153" actId="700"/>
          <ac:picMkLst>
            <pc:docMk/>
            <pc:sldMk cId="0" sldId="303"/>
            <ac:picMk id="4895" creationId="{00000000-0000-0000-0000-000000000000}"/>
          </ac:picMkLst>
        </pc:picChg>
        <pc:picChg chg="mod ord">
          <ac:chgData name="Deimonmi Nongrum [Chillibreeze]" userId="e937f645-8c95-42a9-a298-dfd645e9a76a" providerId="ADAL" clId="{750E9A50-ACEA-48D3-B2C6-355D5EC56876}" dt="2024-06-12T09:43:22.507" v="153" actId="700"/>
          <ac:picMkLst>
            <pc:docMk/>
            <pc:sldMk cId="0" sldId="303"/>
            <ac:picMk id="4896" creationId="{00000000-0000-0000-0000-000000000000}"/>
          </ac:picMkLst>
        </pc:picChg>
        <pc:cxnChg chg="mod ord">
          <ac:chgData name="Deimonmi Nongrum [Chillibreeze]" userId="e937f645-8c95-42a9-a298-dfd645e9a76a" providerId="ADAL" clId="{750E9A50-ACEA-48D3-B2C6-355D5EC56876}" dt="2024-06-13T11:10:10.162" v="3240" actId="167"/>
          <ac:cxnSpMkLst>
            <pc:docMk/>
            <pc:sldMk cId="0" sldId="303"/>
            <ac:cxnSpMk id="13" creationId="{32583AD9-2ECC-9234-D057-0C8D54995AFA}"/>
          </ac:cxnSpMkLst>
        </pc:cxnChg>
        <pc:cxnChg chg="mod ord">
          <ac:chgData name="Deimonmi Nongrum [Chillibreeze]" userId="e937f645-8c95-42a9-a298-dfd645e9a76a" providerId="ADAL" clId="{750E9A50-ACEA-48D3-B2C6-355D5EC56876}" dt="2024-06-13T11:10:10.162" v="3240" actId="167"/>
          <ac:cxnSpMkLst>
            <pc:docMk/>
            <pc:sldMk cId="0" sldId="303"/>
            <ac:cxnSpMk id="14" creationId="{FE3A21FA-8724-DFB0-4BDD-7CBB67BC0E24}"/>
          </ac:cxnSpMkLst>
        </pc:cxnChg>
      </pc:sldChg>
      <pc:sldChg chg="addSp delSp modSp mod modClrScheme chgLayout">
        <pc:chgData name="Deimonmi Nongrum [Chillibreeze]" userId="e937f645-8c95-42a9-a298-dfd645e9a76a" providerId="ADAL" clId="{750E9A50-ACEA-48D3-B2C6-355D5EC56876}" dt="2024-06-13T11:11:09.470" v="3273"/>
        <pc:sldMkLst>
          <pc:docMk/>
          <pc:sldMk cId="0" sldId="304"/>
        </pc:sldMkLst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04"/>
            <ac:spMk id="2" creationId="{5F08A981-2E56-A651-5E63-4CA7D3AF9022}"/>
          </ac:spMkLst>
        </pc:spChg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304"/>
            <ac:spMk id="2" creationId="{6312DB4E-0DA1-A3AF-2565-480E9485422B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04"/>
            <ac:spMk id="3" creationId="{23F379D3-005B-9146-2CF5-FBD2E4A52321}"/>
          </ac:spMkLst>
        </pc:spChg>
        <pc:spChg chg="mod ord">
          <ac:chgData name="Deimonmi Nongrum [Chillibreeze]" userId="e937f645-8c95-42a9-a298-dfd645e9a76a" providerId="ADAL" clId="{750E9A50-ACEA-48D3-B2C6-355D5EC56876}" dt="2024-06-13T11:11:01.925" v="3261" actId="167"/>
          <ac:spMkLst>
            <pc:docMk/>
            <pc:sldMk cId="0" sldId="304"/>
            <ac:spMk id="3" creationId="{66CF7A5C-CEE8-CCCD-2273-C6F06DCB7286}"/>
          </ac:spMkLst>
        </pc:spChg>
        <pc:spChg chg="add mod">
          <ac:chgData name="Deimonmi Nongrum [Chillibreeze]" userId="e937f645-8c95-42a9-a298-dfd645e9a76a" providerId="ADAL" clId="{750E9A50-ACEA-48D3-B2C6-355D5EC56876}" dt="2024-06-12T03:56:52.856" v="53"/>
          <ac:spMkLst>
            <pc:docMk/>
            <pc:sldMk cId="0" sldId="304"/>
            <ac:spMk id="3" creationId="{DAED561C-8531-BBB8-927F-53257E9909D7}"/>
          </ac:spMkLst>
        </pc:spChg>
        <pc:spChg chg="add mod">
          <ac:chgData name="Deimonmi Nongrum [Chillibreeze]" userId="e937f645-8c95-42a9-a298-dfd645e9a76a" providerId="ADAL" clId="{750E9A50-ACEA-48D3-B2C6-355D5EC56876}" dt="2024-06-12T03:56:54.473" v="54"/>
          <ac:spMkLst>
            <pc:docMk/>
            <pc:sldMk cId="0" sldId="304"/>
            <ac:spMk id="4" creationId="{025E12A1-AB4E-8DE5-BFCF-7460AD13E383}"/>
          </ac:spMkLst>
        </pc:spChg>
        <pc:spChg chg="mod ord">
          <ac:chgData name="Deimonmi Nongrum [Chillibreeze]" userId="e937f645-8c95-42a9-a298-dfd645e9a76a" providerId="ADAL" clId="{750E9A50-ACEA-48D3-B2C6-355D5EC56876}" dt="2024-06-13T11:11:01.925" v="3261" actId="167"/>
          <ac:spMkLst>
            <pc:docMk/>
            <pc:sldMk cId="0" sldId="304"/>
            <ac:spMk id="6" creationId="{DB187F76-23FE-E19A-E3FF-E25391B9163A}"/>
          </ac:spMkLst>
        </pc:spChg>
        <pc:spChg chg="ord">
          <ac:chgData name="Deimonmi Nongrum [Chillibreeze]" userId="e937f645-8c95-42a9-a298-dfd645e9a76a" providerId="ADAL" clId="{750E9A50-ACEA-48D3-B2C6-355D5EC56876}" dt="2024-06-13T11:11:06.910" v="3269"/>
          <ac:spMkLst>
            <pc:docMk/>
            <pc:sldMk cId="0" sldId="304"/>
            <ac:spMk id="18" creationId="{9E5C0465-1D00-95C6-19B0-EE0E01E5D4C6}"/>
          </ac:spMkLst>
        </pc:spChg>
        <pc:spChg chg="mod ord">
          <ac:chgData name="Deimonmi Nongrum [Chillibreeze]" userId="e937f645-8c95-42a9-a298-dfd645e9a76a" providerId="ADAL" clId="{750E9A50-ACEA-48D3-B2C6-355D5EC56876}" dt="2024-06-13T11:11:01.925" v="3261" actId="167"/>
          <ac:spMkLst>
            <pc:docMk/>
            <pc:sldMk cId="0" sldId="304"/>
            <ac:spMk id="20" creationId="{46AA1033-AE4E-B081-A115-562C3CF56A93}"/>
          </ac:spMkLst>
        </pc:spChg>
        <pc:spChg chg="ord">
          <ac:chgData name="Deimonmi Nongrum [Chillibreeze]" userId="e937f645-8c95-42a9-a298-dfd645e9a76a" providerId="ADAL" clId="{750E9A50-ACEA-48D3-B2C6-355D5EC56876}" dt="2024-06-13T11:11:08.452" v="3271"/>
          <ac:spMkLst>
            <pc:docMk/>
            <pc:sldMk cId="0" sldId="304"/>
            <ac:spMk id="21" creationId="{7A8F4EC7-36F6-4156-CF09-F68ED149E8CF}"/>
          </ac:spMkLst>
        </pc:spChg>
        <pc:spChg chg="mod ord">
          <ac:chgData name="Deimonmi Nongrum [Chillibreeze]" userId="e937f645-8c95-42a9-a298-dfd645e9a76a" providerId="ADAL" clId="{750E9A50-ACEA-48D3-B2C6-355D5EC56876}" dt="2024-06-13T11:11:01.925" v="3261" actId="167"/>
          <ac:spMkLst>
            <pc:docMk/>
            <pc:sldMk cId="0" sldId="304"/>
            <ac:spMk id="22" creationId="{69241AB6-9C68-10B2-3F78-4FE9BFDDFF58}"/>
          </ac:spMkLst>
        </pc:spChg>
        <pc:spChg chg="ord">
          <ac:chgData name="Deimonmi Nongrum [Chillibreeze]" userId="e937f645-8c95-42a9-a298-dfd645e9a76a" providerId="ADAL" clId="{750E9A50-ACEA-48D3-B2C6-355D5EC56876}" dt="2024-06-13T11:11:09.045" v="3272"/>
          <ac:spMkLst>
            <pc:docMk/>
            <pc:sldMk cId="0" sldId="304"/>
            <ac:spMk id="23" creationId="{F2A7F282-BF21-5428-D09F-F88354FCE7E6}"/>
          </ac:spMkLst>
        </pc:spChg>
        <pc:spChg chg="mod ord">
          <ac:chgData name="Deimonmi Nongrum [Chillibreeze]" userId="e937f645-8c95-42a9-a298-dfd645e9a76a" providerId="ADAL" clId="{750E9A50-ACEA-48D3-B2C6-355D5EC56876}" dt="2024-06-13T11:11:01.925" v="3261" actId="167"/>
          <ac:spMkLst>
            <pc:docMk/>
            <pc:sldMk cId="0" sldId="304"/>
            <ac:spMk id="24" creationId="{EC5A82B7-C618-A92D-45EA-5DC781F135C2}"/>
          </ac:spMkLst>
        </pc:spChg>
        <pc:spChg chg="ord">
          <ac:chgData name="Deimonmi Nongrum [Chillibreeze]" userId="e937f645-8c95-42a9-a298-dfd645e9a76a" providerId="ADAL" clId="{750E9A50-ACEA-48D3-B2C6-355D5EC56876}" dt="2024-06-13T11:11:09.470" v="3273"/>
          <ac:spMkLst>
            <pc:docMk/>
            <pc:sldMk cId="0" sldId="304"/>
            <ac:spMk id="25" creationId="{678956C4-A35F-568B-3C66-96FDCCC894B6}"/>
          </ac:spMkLst>
        </pc:spChg>
        <pc:spChg chg="mod ord">
          <ac:chgData name="Deimonmi Nongrum [Chillibreeze]" userId="e937f645-8c95-42a9-a298-dfd645e9a76a" providerId="ADAL" clId="{750E9A50-ACEA-48D3-B2C6-355D5EC56876}" dt="2024-06-13T11:11:04.983" v="3267"/>
          <ac:spMkLst>
            <pc:docMk/>
            <pc:sldMk cId="0" sldId="304"/>
            <ac:spMk id="27" creationId="{0D0A3B77-F486-14DA-1310-793C68EF4AAA}"/>
          </ac:spMkLst>
        </pc:spChg>
        <pc:grpChg chg="mod ord">
          <ac:chgData name="Deimonmi Nongrum [Chillibreeze]" userId="e937f645-8c95-42a9-a298-dfd645e9a76a" providerId="ADAL" clId="{750E9A50-ACEA-48D3-B2C6-355D5EC56876}" dt="2024-06-13T11:11:01.925" v="3261" actId="167"/>
          <ac:grpSpMkLst>
            <pc:docMk/>
            <pc:sldMk cId="0" sldId="304"/>
            <ac:grpSpMk id="7" creationId="{6B123B9B-FB89-C5C7-34B6-553BE4517588}"/>
          </ac:grpSpMkLst>
        </pc:grpChg>
        <pc:grpChg chg="mod ord">
          <ac:chgData name="Deimonmi Nongrum [Chillibreeze]" userId="e937f645-8c95-42a9-a298-dfd645e9a76a" providerId="ADAL" clId="{750E9A50-ACEA-48D3-B2C6-355D5EC56876}" dt="2024-06-13T11:11:01.925" v="3261" actId="167"/>
          <ac:grpSpMkLst>
            <pc:docMk/>
            <pc:sldMk cId="0" sldId="304"/>
            <ac:grpSpMk id="10" creationId="{8F350C43-9F48-7CE7-A01E-CE091E13F080}"/>
          </ac:grpSpMkLst>
        </pc:grpChg>
        <pc:grpChg chg="mod ord">
          <ac:chgData name="Deimonmi Nongrum [Chillibreeze]" userId="e937f645-8c95-42a9-a298-dfd645e9a76a" providerId="ADAL" clId="{750E9A50-ACEA-48D3-B2C6-355D5EC56876}" dt="2024-06-13T11:11:01.925" v="3261" actId="167"/>
          <ac:grpSpMkLst>
            <pc:docMk/>
            <pc:sldMk cId="0" sldId="304"/>
            <ac:grpSpMk id="13" creationId="{9D9D7835-7B43-1894-F9B6-E36CC6BD0AA5}"/>
          </ac:grpSpMkLst>
        </pc:grpChg>
        <pc:picChg chg="ord">
          <ac:chgData name="Deimonmi Nongrum [Chillibreeze]" userId="e937f645-8c95-42a9-a298-dfd645e9a76a" providerId="ADAL" clId="{750E9A50-ACEA-48D3-B2C6-355D5EC56876}" dt="2024-06-13T11:11:05.964" v="3268"/>
          <ac:picMkLst>
            <pc:docMk/>
            <pc:sldMk cId="0" sldId="304"/>
            <ac:picMk id="17" creationId="{D08C4415-6FEC-9A9D-9786-F053882BB183}"/>
          </ac:picMkLst>
        </pc:picChg>
        <pc:picChg chg="ord">
          <ac:chgData name="Deimonmi Nongrum [Chillibreeze]" userId="e937f645-8c95-42a9-a298-dfd645e9a76a" providerId="ADAL" clId="{750E9A50-ACEA-48D3-B2C6-355D5EC56876}" dt="2024-06-13T11:11:07.518" v="3270"/>
          <ac:picMkLst>
            <pc:docMk/>
            <pc:sldMk cId="0" sldId="304"/>
            <ac:picMk id="19" creationId="{10BE8F57-8C9F-66CA-A058-87F07D908CFB}"/>
          </ac:picMkLst>
        </pc:picChg>
        <pc:cxnChg chg="mod ord">
          <ac:chgData name="Deimonmi Nongrum [Chillibreeze]" userId="e937f645-8c95-42a9-a298-dfd645e9a76a" providerId="ADAL" clId="{750E9A50-ACEA-48D3-B2C6-355D5EC56876}" dt="2024-06-13T11:11:01.925" v="3261" actId="167"/>
          <ac:cxnSpMkLst>
            <pc:docMk/>
            <pc:sldMk cId="0" sldId="304"/>
            <ac:cxnSpMk id="5" creationId="{7968CCD5-C00D-240E-77FC-0B59D836BDF3}"/>
          </ac:cxnSpMkLst>
        </pc:cxnChg>
      </pc:sldChg>
      <pc:sldChg chg="addSp delSp modSp mod modClrScheme chgLayout">
        <pc:chgData name="Deimonmi Nongrum [Chillibreeze]" userId="e937f645-8c95-42a9-a298-dfd645e9a76a" providerId="ADAL" clId="{750E9A50-ACEA-48D3-B2C6-355D5EC56876}" dt="2024-06-13T12:04:03.484" v="4059" actId="20577"/>
        <pc:sldMkLst>
          <pc:docMk/>
          <pc:sldMk cId="0" sldId="305"/>
        </pc:sldMkLst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05"/>
            <ac:spMk id="2" creationId="{795BF3BF-08E3-19C9-BA1C-2EA5B5DA327F}"/>
          </ac:spMkLst>
        </pc:spChg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305"/>
            <ac:spMk id="2" creationId="{7BCE75D5-0D1E-48D6-EF6B-BF5BE2AE39D8}"/>
          </ac:spMkLst>
        </pc:spChg>
        <pc:spChg chg="add mod">
          <ac:chgData name="Deimonmi Nongrum [Chillibreeze]" userId="e937f645-8c95-42a9-a298-dfd645e9a76a" providerId="ADAL" clId="{750E9A50-ACEA-48D3-B2C6-355D5EC56876}" dt="2024-06-12T03:56:55.509" v="55"/>
          <ac:spMkLst>
            <pc:docMk/>
            <pc:sldMk cId="0" sldId="305"/>
            <ac:spMk id="3" creationId="{79F7FFC5-B595-FA26-53C4-E1DCD2122F81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05"/>
            <ac:spMk id="4" creationId="{3B50A306-219C-084A-CCA0-F0B0ED80F799}"/>
          </ac:spMkLst>
        </pc:spChg>
        <pc:spChg chg="mod">
          <ac:chgData name="Deimonmi Nongrum [Chillibreeze]" userId="e937f645-8c95-42a9-a298-dfd645e9a76a" providerId="ADAL" clId="{750E9A50-ACEA-48D3-B2C6-355D5EC56876}" dt="2024-06-13T12:04:03.484" v="4059" actId="20577"/>
          <ac:spMkLst>
            <pc:docMk/>
            <pc:sldMk cId="0" sldId="305"/>
            <ac:spMk id="4" creationId="{A01266B8-A982-7D5E-31E4-DA737FF96414}"/>
          </ac:spMkLst>
        </pc:spChg>
      </pc:sldChg>
      <pc:sldChg chg="addSp delSp modSp mod modClrScheme modAnim chgLayout">
        <pc:chgData name="Deimonmi Nongrum [Chillibreeze]" userId="e937f645-8c95-42a9-a298-dfd645e9a76a" providerId="ADAL" clId="{750E9A50-ACEA-48D3-B2C6-355D5EC56876}" dt="2024-06-13T12:01:59.900" v="4048" actId="1076"/>
        <pc:sldMkLst>
          <pc:docMk/>
          <pc:sldMk cId="0" sldId="306"/>
        </pc:sldMkLst>
        <pc:spChg chg="add mod">
          <ac:chgData name="Deimonmi Nongrum [Chillibreeze]" userId="e937f645-8c95-42a9-a298-dfd645e9a76a" providerId="ADAL" clId="{750E9A50-ACEA-48D3-B2C6-355D5EC56876}" dt="2024-06-13T11:59:57.778" v="4019" actId="13244"/>
          <ac:spMkLst>
            <pc:docMk/>
            <pc:sldMk cId="0" sldId="306"/>
            <ac:spMk id="2" creationId="{132C33EB-4B14-EF36-02CB-66436455893D}"/>
          </ac:spMkLst>
        </pc:spChg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06"/>
            <ac:spMk id="2" creationId="{BACBC4C1-3C78-C8BF-3E1D-2D1A3FE75CA3}"/>
          </ac:spMkLst>
        </pc:spChg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306"/>
            <ac:spMk id="2" creationId="{D8ABDBEC-2230-A8DA-25FF-B230364D8A9C}"/>
          </ac:spMkLst>
        </pc:spChg>
        <pc:spChg chg="add mod">
          <ac:chgData name="Deimonmi Nongrum [Chillibreeze]" userId="e937f645-8c95-42a9-a298-dfd645e9a76a" providerId="ADAL" clId="{750E9A50-ACEA-48D3-B2C6-355D5EC56876}" dt="2024-06-12T03:56:56.498" v="56"/>
          <ac:spMkLst>
            <pc:docMk/>
            <pc:sldMk cId="0" sldId="306"/>
            <ac:spMk id="3" creationId="{E8447D17-65AD-8698-7C00-C1DC62162070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06"/>
            <ac:spMk id="4" creationId="{D5837816-6845-607C-FB77-5900B57EFC8B}"/>
          </ac:spMkLst>
        </pc:spChg>
        <pc:picChg chg="mod">
          <ac:chgData name="Deimonmi Nongrum [Chillibreeze]" userId="e937f645-8c95-42a9-a298-dfd645e9a76a" providerId="ADAL" clId="{750E9A50-ACEA-48D3-B2C6-355D5EC56876}" dt="2024-06-13T12:01:59.900" v="4048" actId="1076"/>
          <ac:picMkLst>
            <pc:docMk/>
            <pc:sldMk cId="0" sldId="306"/>
            <ac:picMk id="4946" creationId="{00000000-0000-0000-0000-000000000000}"/>
          </ac:picMkLst>
        </pc:picChg>
      </pc:sldChg>
      <pc:sldChg chg="addSp delSp modSp mod modClrScheme modAnim chgLayout">
        <pc:chgData name="Deimonmi Nongrum [Chillibreeze]" userId="e937f645-8c95-42a9-a298-dfd645e9a76a" providerId="ADAL" clId="{750E9A50-ACEA-48D3-B2C6-355D5EC56876}" dt="2024-06-13T14:33:35.087" v="7321"/>
        <pc:sldMkLst>
          <pc:docMk/>
          <pc:sldMk cId="0" sldId="307"/>
        </pc:sldMkLst>
        <pc:spChg chg="add mod">
          <ac:chgData name="Deimonmi Nongrum [Chillibreeze]" userId="e937f645-8c95-42a9-a298-dfd645e9a76a" providerId="ADAL" clId="{750E9A50-ACEA-48D3-B2C6-355D5EC56876}" dt="2024-06-13T12:01:36.744" v="4043" actId="20577"/>
          <ac:spMkLst>
            <pc:docMk/>
            <pc:sldMk cId="0" sldId="307"/>
            <ac:spMk id="2" creationId="{488C9729-DE04-A8E1-A6CB-A77DF5E0D103}"/>
          </ac:spMkLst>
        </pc:spChg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07"/>
            <ac:spMk id="2" creationId="{703891DE-8F02-0C47-D130-BD9083DC851D}"/>
          </ac:spMkLst>
        </pc:spChg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307"/>
            <ac:spMk id="2" creationId="{DF0CCC1C-6915-04C4-4C72-537E0708171B}"/>
          </ac:spMkLst>
        </pc:spChg>
        <pc:spChg chg="add mod">
          <ac:chgData name="Deimonmi Nongrum [Chillibreeze]" userId="e937f645-8c95-42a9-a298-dfd645e9a76a" providerId="ADAL" clId="{750E9A50-ACEA-48D3-B2C6-355D5EC56876}" dt="2024-06-12T03:56:58.195" v="57"/>
          <ac:spMkLst>
            <pc:docMk/>
            <pc:sldMk cId="0" sldId="307"/>
            <ac:spMk id="3" creationId="{BFDD05F8-C43B-3328-C221-187A6EF68793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07"/>
            <ac:spMk id="4" creationId="{8593F95F-965A-DD25-33D7-E523B823EA7E}"/>
          </ac:spMkLst>
        </pc:spChg>
        <pc:picChg chg="mod">
          <ac:chgData name="Deimonmi Nongrum [Chillibreeze]" userId="e937f645-8c95-42a9-a298-dfd645e9a76a" providerId="ADAL" clId="{750E9A50-ACEA-48D3-B2C6-355D5EC56876}" dt="2024-06-13T12:01:20.225" v="4037" actId="962"/>
          <ac:picMkLst>
            <pc:docMk/>
            <pc:sldMk cId="0" sldId="307"/>
            <ac:picMk id="4952" creationId="{00000000-0000-0000-0000-000000000000}"/>
          </ac:picMkLst>
        </pc:picChg>
      </pc:sldChg>
      <pc:sldChg chg="addSp modSp mod modClrScheme chgLayout">
        <pc:chgData name="Deimonmi Nongrum [Chillibreeze]" userId="e937f645-8c95-42a9-a298-dfd645e9a76a" providerId="ADAL" clId="{750E9A50-ACEA-48D3-B2C6-355D5EC56876}" dt="2024-06-13T12:04:07.114" v="4061" actId="20577"/>
        <pc:sldMkLst>
          <pc:docMk/>
          <pc:sldMk cId="0" sldId="308"/>
        </pc:sldMkLst>
        <pc:spChg chg="add mod">
          <ac:chgData name="Deimonmi Nongrum [Chillibreeze]" userId="e937f645-8c95-42a9-a298-dfd645e9a76a" providerId="ADAL" clId="{750E9A50-ACEA-48D3-B2C6-355D5EC56876}" dt="2024-06-12T03:56:59.059" v="58"/>
          <ac:spMkLst>
            <pc:docMk/>
            <pc:sldMk cId="0" sldId="308"/>
            <ac:spMk id="2" creationId="{4CBCDE69-7C35-5D22-7585-101401316F21}"/>
          </ac:spMkLst>
        </pc:spChg>
        <pc:spChg chg="mod ord">
          <ac:chgData name="Deimonmi Nongrum [Chillibreeze]" userId="e937f645-8c95-42a9-a298-dfd645e9a76a" providerId="ADAL" clId="{750E9A50-ACEA-48D3-B2C6-355D5EC56876}" dt="2024-06-13T11:13:59.160" v="3280" actId="167"/>
          <ac:spMkLst>
            <pc:docMk/>
            <pc:sldMk cId="0" sldId="308"/>
            <ac:spMk id="5" creationId="{8DC3D442-634E-9BA9-CCC2-6CDD2DBFF75B}"/>
          </ac:spMkLst>
        </pc:spChg>
        <pc:spChg chg="mod ord">
          <ac:chgData name="Deimonmi Nongrum [Chillibreeze]" userId="e937f645-8c95-42a9-a298-dfd645e9a76a" providerId="ADAL" clId="{750E9A50-ACEA-48D3-B2C6-355D5EC56876}" dt="2024-06-13T11:13:59.160" v="3280" actId="167"/>
          <ac:spMkLst>
            <pc:docMk/>
            <pc:sldMk cId="0" sldId="308"/>
            <ac:spMk id="6" creationId="{1CC0D6F1-E7EE-3E1E-BA7F-0778470070B2}"/>
          </ac:spMkLst>
        </pc:spChg>
        <pc:spChg chg="mod ord">
          <ac:chgData name="Deimonmi Nongrum [Chillibreeze]" userId="e937f645-8c95-42a9-a298-dfd645e9a76a" providerId="ADAL" clId="{750E9A50-ACEA-48D3-B2C6-355D5EC56876}" dt="2024-06-13T11:13:59.160" v="3280" actId="167"/>
          <ac:spMkLst>
            <pc:docMk/>
            <pc:sldMk cId="0" sldId="308"/>
            <ac:spMk id="7" creationId="{34DC39A6-19C8-2E37-B217-3C4FD7558ED2}"/>
          </ac:spMkLst>
        </pc:spChg>
        <pc:spChg chg="mod ord">
          <ac:chgData name="Deimonmi Nongrum [Chillibreeze]" userId="e937f645-8c95-42a9-a298-dfd645e9a76a" providerId="ADAL" clId="{750E9A50-ACEA-48D3-B2C6-355D5EC56876}" dt="2024-06-13T11:13:59.160" v="3280" actId="167"/>
          <ac:spMkLst>
            <pc:docMk/>
            <pc:sldMk cId="0" sldId="308"/>
            <ac:spMk id="11" creationId="{6CDFEE81-8E47-3AD6-7AD9-8E24A21F79E4}"/>
          </ac:spMkLst>
        </pc:spChg>
        <pc:spChg chg="mod ord">
          <ac:chgData name="Deimonmi Nongrum [Chillibreeze]" userId="e937f645-8c95-42a9-a298-dfd645e9a76a" providerId="ADAL" clId="{750E9A50-ACEA-48D3-B2C6-355D5EC56876}" dt="2024-06-13T11:13:59.160" v="3280" actId="167"/>
          <ac:spMkLst>
            <pc:docMk/>
            <pc:sldMk cId="0" sldId="308"/>
            <ac:spMk id="17" creationId="{78E4453A-1DD9-1C9E-28C5-38C124B609A7}"/>
          </ac:spMkLst>
        </pc:spChg>
        <pc:spChg chg="ord">
          <ac:chgData name="Deimonmi Nongrum [Chillibreeze]" userId="e937f645-8c95-42a9-a298-dfd645e9a76a" providerId="ADAL" clId="{750E9A50-ACEA-48D3-B2C6-355D5EC56876}" dt="2024-06-13T11:14:04.500" v="3287"/>
          <ac:spMkLst>
            <pc:docMk/>
            <pc:sldMk cId="0" sldId="308"/>
            <ac:spMk id="18" creationId="{F96A20DE-E07B-C695-7B3B-63E44516DDFF}"/>
          </ac:spMkLst>
        </pc:spChg>
        <pc:spChg chg="mod ord">
          <ac:chgData name="Deimonmi Nongrum [Chillibreeze]" userId="e937f645-8c95-42a9-a298-dfd645e9a76a" providerId="ADAL" clId="{750E9A50-ACEA-48D3-B2C6-355D5EC56876}" dt="2024-06-13T12:04:07.114" v="4061" actId="20577"/>
          <ac:spMkLst>
            <pc:docMk/>
            <pc:sldMk cId="0" sldId="308"/>
            <ac:spMk id="21" creationId="{C21BA13C-84AF-3544-7EAC-051AF7ABE70A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08"/>
            <ac:spMk id="4958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08"/>
            <ac:spMk id="4960" creationId="{00000000-0000-0000-0000-000000000000}"/>
          </ac:spMkLst>
        </pc:spChg>
        <pc:grpChg chg="mod ord">
          <ac:chgData name="Deimonmi Nongrum [Chillibreeze]" userId="e937f645-8c95-42a9-a298-dfd645e9a76a" providerId="ADAL" clId="{750E9A50-ACEA-48D3-B2C6-355D5EC56876}" dt="2024-06-13T11:13:59.160" v="3280" actId="167"/>
          <ac:grpSpMkLst>
            <pc:docMk/>
            <pc:sldMk cId="0" sldId="308"/>
            <ac:grpSpMk id="8" creationId="{F314464D-7192-FF05-3C42-68531B31B139}"/>
          </ac:grpSpMkLst>
        </pc:grpChg>
        <pc:grpChg chg="mod ord">
          <ac:chgData name="Deimonmi Nongrum [Chillibreeze]" userId="e937f645-8c95-42a9-a298-dfd645e9a76a" providerId="ADAL" clId="{750E9A50-ACEA-48D3-B2C6-355D5EC56876}" dt="2024-06-13T11:13:59.160" v="3280" actId="167"/>
          <ac:grpSpMkLst>
            <pc:docMk/>
            <pc:sldMk cId="0" sldId="308"/>
            <ac:grpSpMk id="12" creationId="{6E3DE023-EB7A-8BA6-CD60-8A26BE5FC2AB}"/>
          </ac:grpSpMkLst>
        </pc:grpChg>
        <pc:picChg chg="mod ord">
          <ac:chgData name="Deimonmi Nongrum [Chillibreeze]" userId="e937f645-8c95-42a9-a298-dfd645e9a76a" providerId="ADAL" clId="{750E9A50-ACEA-48D3-B2C6-355D5EC56876}" dt="2024-06-13T11:13:59.160" v="3280" actId="167"/>
          <ac:picMkLst>
            <pc:docMk/>
            <pc:sldMk cId="0" sldId="308"/>
            <ac:picMk id="19" creationId="{E2100808-E8A8-6720-3C13-CE78BD1BCA81}"/>
          </ac:picMkLst>
        </pc:picChg>
        <pc:picChg chg="ord">
          <ac:chgData name="Deimonmi Nongrum [Chillibreeze]" userId="e937f645-8c95-42a9-a298-dfd645e9a76a" providerId="ADAL" clId="{750E9A50-ACEA-48D3-B2C6-355D5EC56876}" dt="2024-06-13T11:14:03.153" v="3285"/>
          <ac:picMkLst>
            <pc:docMk/>
            <pc:sldMk cId="0" sldId="308"/>
            <ac:picMk id="24" creationId="{D42EECD0-DFFA-6F3E-4AEF-8923E243EEFF}"/>
          </ac:picMkLst>
        </pc:picChg>
      </pc:sldChg>
      <pc:sldChg chg="addSp modSp mod modClrScheme chgLayout">
        <pc:chgData name="Deimonmi Nongrum [Chillibreeze]" userId="e937f645-8c95-42a9-a298-dfd645e9a76a" providerId="ADAL" clId="{750E9A50-ACEA-48D3-B2C6-355D5EC56876}" dt="2024-06-13T12:04:11.076" v="4064" actId="20577"/>
        <pc:sldMkLst>
          <pc:docMk/>
          <pc:sldMk cId="0" sldId="309"/>
        </pc:sldMkLst>
        <pc:spChg chg="add mod">
          <ac:chgData name="Deimonmi Nongrum [Chillibreeze]" userId="e937f645-8c95-42a9-a298-dfd645e9a76a" providerId="ADAL" clId="{750E9A50-ACEA-48D3-B2C6-355D5EC56876}" dt="2024-06-12T03:57:00.382" v="59"/>
          <ac:spMkLst>
            <pc:docMk/>
            <pc:sldMk cId="0" sldId="309"/>
            <ac:spMk id="2" creationId="{7DF187F9-7DC8-119B-393B-30D39FDBD815}"/>
          </ac:spMkLst>
        </pc:spChg>
        <pc:spChg chg="mod ord">
          <ac:chgData name="Deimonmi Nongrum [Chillibreeze]" userId="e937f645-8c95-42a9-a298-dfd645e9a76a" providerId="ADAL" clId="{750E9A50-ACEA-48D3-B2C6-355D5EC56876}" dt="2024-06-13T11:14:12.016" v="3291" actId="167"/>
          <ac:spMkLst>
            <pc:docMk/>
            <pc:sldMk cId="0" sldId="309"/>
            <ac:spMk id="5" creationId="{2F29025A-89DA-E5E5-2062-ED0C88077107}"/>
          </ac:spMkLst>
        </pc:spChg>
        <pc:spChg chg="mod ord">
          <ac:chgData name="Deimonmi Nongrum [Chillibreeze]" userId="e937f645-8c95-42a9-a298-dfd645e9a76a" providerId="ADAL" clId="{750E9A50-ACEA-48D3-B2C6-355D5EC56876}" dt="2024-06-13T11:14:12.016" v="3291" actId="167"/>
          <ac:spMkLst>
            <pc:docMk/>
            <pc:sldMk cId="0" sldId="309"/>
            <ac:spMk id="6" creationId="{32E15A4C-8E1B-CE5C-4DC8-7DC345C6570A}"/>
          </ac:spMkLst>
        </pc:spChg>
        <pc:spChg chg="mod ord">
          <ac:chgData name="Deimonmi Nongrum [Chillibreeze]" userId="e937f645-8c95-42a9-a298-dfd645e9a76a" providerId="ADAL" clId="{750E9A50-ACEA-48D3-B2C6-355D5EC56876}" dt="2024-06-13T11:14:12.016" v="3291" actId="167"/>
          <ac:spMkLst>
            <pc:docMk/>
            <pc:sldMk cId="0" sldId="309"/>
            <ac:spMk id="7" creationId="{0A3D973D-B04F-185F-6872-AC47F6FC77CC}"/>
          </ac:spMkLst>
        </pc:spChg>
        <pc:spChg chg="mod ord">
          <ac:chgData name="Deimonmi Nongrum [Chillibreeze]" userId="e937f645-8c95-42a9-a298-dfd645e9a76a" providerId="ADAL" clId="{750E9A50-ACEA-48D3-B2C6-355D5EC56876}" dt="2024-06-13T11:14:12.016" v="3291" actId="167"/>
          <ac:spMkLst>
            <pc:docMk/>
            <pc:sldMk cId="0" sldId="309"/>
            <ac:spMk id="11" creationId="{04FB8BCA-8CB3-899C-9789-89E079A9D221}"/>
          </ac:spMkLst>
        </pc:spChg>
        <pc:spChg chg="mod ord">
          <ac:chgData name="Deimonmi Nongrum [Chillibreeze]" userId="e937f645-8c95-42a9-a298-dfd645e9a76a" providerId="ADAL" clId="{750E9A50-ACEA-48D3-B2C6-355D5EC56876}" dt="2024-06-13T11:14:12.016" v="3291" actId="167"/>
          <ac:spMkLst>
            <pc:docMk/>
            <pc:sldMk cId="0" sldId="309"/>
            <ac:spMk id="17" creationId="{F1FE3F90-8F25-002A-4F21-2C5D3D4823F3}"/>
          </ac:spMkLst>
        </pc:spChg>
        <pc:spChg chg="ord">
          <ac:chgData name="Deimonmi Nongrum [Chillibreeze]" userId="e937f645-8c95-42a9-a298-dfd645e9a76a" providerId="ADAL" clId="{750E9A50-ACEA-48D3-B2C6-355D5EC56876}" dt="2024-06-13T11:14:19.279" v="3299"/>
          <ac:spMkLst>
            <pc:docMk/>
            <pc:sldMk cId="0" sldId="309"/>
            <ac:spMk id="18" creationId="{EE850FB3-92C3-7D15-B00F-1F2533C7C610}"/>
          </ac:spMkLst>
        </pc:spChg>
        <pc:spChg chg="mod ord">
          <ac:chgData name="Deimonmi Nongrum [Chillibreeze]" userId="e937f645-8c95-42a9-a298-dfd645e9a76a" providerId="ADAL" clId="{750E9A50-ACEA-48D3-B2C6-355D5EC56876}" dt="2024-06-13T12:04:11.076" v="4064" actId="20577"/>
          <ac:spMkLst>
            <pc:docMk/>
            <pc:sldMk cId="0" sldId="309"/>
            <ac:spMk id="21" creationId="{513269D2-123B-C2C5-299D-75A9F9E1BC85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09"/>
            <ac:spMk id="4971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09"/>
            <ac:spMk id="4973" creationId="{00000000-0000-0000-0000-000000000000}"/>
          </ac:spMkLst>
        </pc:spChg>
        <pc:grpChg chg="mod ord">
          <ac:chgData name="Deimonmi Nongrum [Chillibreeze]" userId="e937f645-8c95-42a9-a298-dfd645e9a76a" providerId="ADAL" clId="{750E9A50-ACEA-48D3-B2C6-355D5EC56876}" dt="2024-06-13T11:14:12.016" v="3291" actId="167"/>
          <ac:grpSpMkLst>
            <pc:docMk/>
            <pc:sldMk cId="0" sldId="309"/>
            <ac:grpSpMk id="8" creationId="{1BBEBD5B-4522-DB04-5FC1-CB2D3F0D2322}"/>
          </ac:grpSpMkLst>
        </pc:grpChg>
        <pc:grpChg chg="mod ord">
          <ac:chgData name="Deimonmi Nongrum [Chillibreeze]" userId="e937f645-8c95-42a9-a298-dfd645e9a76a" providerId="ADAL" clId="{750E9A50-ACEA-48D3-B2C6-355D5EC56876}" dt="2024-06-13T11:14:12.016" v="3291" actId="167"/>
          <ac:grpSpMkLst>
            <pc:docMk/>
            <pc:sldMk cId="0" sldId="309"/>
            <ac:grpSpMk id="12" creationId="{63ABA096-9E23-6C8D-60F0-CD4592F6298B}"/>
          </ac:grpSpMkLst>
        </pc:grpChg>
        <pc:picChg chg="mod ord">
          <ac:chgData name="Deimonmi Nongrum [Chillibreeze]" userId="e937f645-8c95-42a9-a298-dfd645e9a76a" providerId="ADAL" clId="{750E9A50-ACEA-48D3-B2C6-355D5EC56876}" dt="2024-06-13T11:14:12.016" v="3291" actId="167"/>
          <ac:picMkLst>
            <pc:docMk/>
            <pc:sldMk cId="0" sldId="309"/>
            <ac:picMk id="19" creationId="{69E2885A-82E7-151B-9DE1-E739AC3E0E8C}"/>
          </ac:picMkLst>
        </pc:picChg>
        <pc:picChg chg="ord">
          <ac:chgData name="Deimonmi Nongrum [Chillibreeze]" userId="e937f645-8c95-42a9-a298-dfd645e9a76a" providerId="ADAL" clId="{750E9A50-ACEA-48D3-B2C6-355D5EC56876}" dt="2024-06-13T11:14:16.772" v="3297"/>
          <ac:picMkLst>
            <pc:docMk/>
            <pc:sldMk cId="0" sldId="309"/>
            <ac:picMk id="26" creationId="{2E5E5C79-88E3-49C8-8313-6A9C926FB3F4}"/>
          </ac:picMkLst>
        </pc:picChg>
      </pc:sldChg>
      <pc:sldChg chg="addSp delSp modSp mod modClrScheme chgLayout">
        <pc:chgData name="Deimonmi Nongrum [Chillibreeze]" userId="e937f645-8c95-42a9-a298-dfd645e9a76a" providerId="ADAL" clId="{750E9A50-ACEA-48D3-B2C6-355D5EC56876}" dt="2024-06-13T12:03:42.817" v="4054" actId="13244"/>
        <pc:sldMkLst>
          <pc:docMk/>
          <pc:sldMk cId="0" sldId="310"/>
        </pc:sldMkLst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310"/>
            <ac:spMk id="2" creationId="{1D02D1A1-3AA3-7BCF-55BE-2214731D32F8}"/>
          </ac:spMkLst>
        </pc:spChg>
        <pc:spChg chg="add mod">
          <ac:chgData name="Deimonmi Nongrum [Chillibreeze]" userId="e937f645-8c95-42a9-a298-dfd645e9a76a" providerId="ADAL" clId="{750E9A50-ACEA-48D3-B2C6-355D5EC56876}" dt="2024-06-13T12:03:42.817" v="4054" actId="13244"/>
          <ac:spMkLst>
            <pc:docMk/>
            <pc:sldMk cId="0" sldId="310"/>
            <ac:spMk id="2" creationId="{99B54070-81EB-6AFB-72E7-3FE853F0D483}"/>
          </ac:spMkLst>
        </pc:spChg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0"/>
            <ac:spMk id="2" creationId="{C3CB5A54-31C7-13AD-600D-3DC65F68EE8A}"/>
          </ac:spMkLst>
        </pc:spChg>
        <pc:spChg chg="add mod">
          <ac:chgData name="Deimonmi Nongrum [Chillibreeze]" userId="e937f645-8c95-42a9-a298-dfd645e9a76a" providerId="ADAL" clId="{750E9A50-ACEA-48D3-B2C6-355D5EC56876}" dt="2024-06-12T03:57:01.688" v="60"/>
          <ac:spMkLst>
            <pc:docMk/>
            <pc:sldMk cId="0" sldId="310"/>
            <ac:spMk id="3" creationId="{74CFC286-CFBD-0592-6D8A-F8EE6B540BBD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0"/>
            <ac:spMk id="4" creationId="{F92BB963-0508-2D31-E7EF-EB855479D525}"/>
          </ac:spMkLst>
        </pc:spChg>
        <pc:spChg chg="mod ord">
          <ac:chgData name="Deimonmi Nongrum [Chillibreeze]" userId="e937f645-8c95-42a9-a298-dfd645e9a76a" providerId="ADAL" clId="{750E9A50-ACEA-48D3-B2C6-355D5EC56876}" dt="2024-06-13T11:14:35.520" v="3301" actId="167"/>
          <ac:spMkLst>
            <pc:docMk/>
            <pc:sldMk cId="0" sldId="310"/>
            <ac:spMk id="5" creationId="{173C26CC-C0A7-9532-C253-28EA395CE8D6}"/>
          </ac:spMkLst>
        </pc:spChg>
        <pc:spChg chg="mod ord">
          <ac:chgData name="Deimonmi Nongrum [Chillibreeze]" userId="e937f645-8c95-42a9-a298-dfd645e9a76a" providerId="ADAL" clId="{750E9A50-ACEA-48D3-B2C6-355D5EC56876}" dt="2024-06-13T11:14:35.520" v="3301" actId="167"/>
          <ac:spMkLst>
            <pc:docMk/>
            <pc:sldMk cId="0" sldId="310"/>
            <ac:spMk id="6" creationId="{2BC8A1B9-C897-FB50-6401-4D14352BD90A}"/>
          </ac:spMkLst>
        </pc:spChg>
        <pc:spChg chg="mod ord">
          <ac:chgData name="Deimonmi Nongrum [Chillibreeze]" userId="e937f645-8c95-42a9-a298-dfd645e9a76a" providerId="ADAL" clId="{750E9A50-ACEA-48D3-B2C6-355D5EC56876}" dt="2024-06-13T11:14:35.520" v="3301" actId="167"/>
          <ac:spMkLst>
            <pc:docMk/>
            <pc:sldMk cId="0" sldId="310"/>
            <ac:spMk id="7" creationId="{C973A006-CA7B-EF94-D5F3-325A3E34E569}"/>
          </ac:spMkLst>
        </pc:spChg>
        <pc:spChg chg="mod ord">
          <ac:chgData name="Deimonmi Nongrum [Chillibreeze]" userId="e937f645-8c95-42a9-a298-dfd645e9a76a" providerId="ADAL" clId="{750E9A50-ACEA-48D3-B2C6-355D5EC56876}" dt="2024-06-13T11:14:35.520" v="3301" actId="167"/>
          <ac:spMkLst>
            <pc:docMk/>
            <pc:sldMk cId="0" sldId="310"/>
            <ac:spMk id="12" creationId="{8DA281CA-FF89-F959-5216-3A12A28C24DE}"/>
          </ac:spMkLst>
        </pc:spChg>
        <pc:spChg chg="mod ord">
          <ac:chgData name="Deimonmi Nongrum [Chillibreeze]" userId="e937f645-8c95-42a9-a298-dfd645e9a76a" providerId="ADAL" clId="{750E9A50-ACEA-48D3-B2C6-355D5EC56876}" dt="2024-06-13T11:14:35.520" v="3301" actId="167"/>
          <ac:spMkLst>
            <pc:docMk/>
            <pc:sldMk cId="0" sldId="310"/>
            <ac:spMk id="13" creationId="{905BE1AE-84AF-D455-3E10-878EF604CD27}"/>
          </ac:spMkLst>
        </pc:spChg>
        <pc:spChg chg="mod ord">
          <ac:chgData name="Deimonmi Nongrum [Chillibreeze]" userId="e937f645-8c95-42a9-a298-dfd645e9a76a" providerId="ADAL" clId="{750E9A50-ACEA-48D3-B2C6-355D5EC56876}" dt="2024-06-13T11:14:35.520" v="3301" actId="167"/>
          <ac:spMkLst>
            <pc:docMk/>
            <pc:sldMk cId="0" sldId="310"/>
            <ac:spMk id="14" creationId="{1E3D855B-C6DB-6DE5-0B2C-BE51DEA44A3B}"/>
          </ac:spMkLst>
        </pc:spChg>
        <pc:spChg chg="mod ord">
          <ac:chgData name="Deimonmi Nongrum [Chillibreeze]" userId="e937f645-8c95-42a9-a298-dfd645e9a76a" providerId="ADAL" clId="{750E9A50-ACEA-48D3-B2C6-355D5EC56876}" dt="2024-06-13T11:14:35.520" v="3301" actId="167"/>
          <ac:spMkLst>
            <pc:docMk/>
            <pc:sldMk cId="0" sldId="310"/>
            <ac:spMk id="23" creationId="{D4AD8ACF-0DB5-3D5D-25CE-8FD971146941}"/>
          </ac:spMkLst>
        </pc:spChg>
        <pc:spChg chg="mod ord">
          <ac:chgData name="Deimonmi Nongrum [Chillibreeze]" userId="e937f645-8c95-42a9-a298-dfd645e9a76a" providerId="ADAL" clId="{750E9A50-ACEA-48D3-B2C6-355D5EC56876}" dt="2024-06-13T11:14:35.520" v="3301" actId="167"/>
          <ac:spMkLst>
            <pc:docMk/>
            <pc:sldMk cId="0" sldId="310"/>
            <ac:spMk id="28" creationId="{0D3894DA-55D2-C3CB-BBCD-B7C49F803387}"/>
          </ac:spMkLst>
        </pc:spChg>
        <pc:spChg chg="mod">
          <ac:chgData name="Deimonmi Nongrum [Chillibreeze]" userId="e937f645-8c95-42a9-a298-dfd645e9a76a" providerId="ADAL" clId="{750E9A50-ACEA-48D3-B2C6-355D5EC56876}" dt="2024-06-13T11:14:45.823" v="3302" actId="962"/>
          <ac:spMkLst>
            <pc:docMk/>
            <pc:sldMk cId="0" sldId="310"/>
            <ac:spMk id="32" creationId="{3524CFDC-D903-1A58-CECE-7AA291BAD93D}"/>
          </ac:spMkLst>
        </pc:spChg>
        <pc:spChg chg="mod ord">
          <ac:chgData name="Deimonmi Nongrum [Chillibreeze]" userId="e937f645-8c95-42a9-a298-dfd645e9a76a" providerId="ADAL" clId="{750E9A50-ACEA-48D3-B2C6-355D5EC56876}" dt="2024-06-13T11:14:35.520" v="3301" actId="167"/>
          <ac:spMkLst>
            <pc:docMk/>
            <pc:sldMk cId="0" sldId="310"/>
            <ac:spMk id="33" creationId="{802F44FA-440C-A413-16BA-AA3CB1B618DC}"/>
          </ac:spMkLst>
        </pc:spChg>
        <pc:grpChg chg="mod ord">
          <ac:chgData name="Deimonmi Nongrum [Chillibreeze]" userId="e937f645-8c95-42a9-a298-dfd645e9a76a" providerId="ADAL" clId="{750E9A50-ACEA-48D3-B2C6-355D5EC56876}" dt="2024-06-13T11:14:35.520" v="3301" actId="167"/>
          <ac:grpSpMkLst>
            <pc:docMk/>
            <pc:sldMk cId="0" sldId="310"/>
            <ac:grpSpMk id="8" creationId="{B5B32B52-73FF-E75D-FEAF-E694A139D0A0}"/>
          </ac:grpSpMkLst>
        </pc:grpChg>
        <pc:grpChg chg="mod ord">
          <ac:chgData name="Deimonmi Nongrum [Chillibreeze]" userId="e937f645-8c95-42a9-a298-dfd645e9a76a" providerId="ADAL" clId="{750E9A50-ACEA-48D3-B2C6-355D5EC56876}" dt="2024-06-13T11:14:35.520" v="3301" actId="167"/>
          <ac:grpSpMkLst>
            <pc:docMk/>
            <pc:sldMk cId="0" sldId="310"/>
            <ac:grpSpMk id="15" creationId="{16B338A0-14BF-AD94-BE32-4BA7A857A1AC}"/>
          </ac:grpSpMkLst>
        </pc:grpChg>
        <pc:grpChg chg="mod ord">
          <ac:chgData name="Deimonmi Nongrum [Chillibreeze]" userId="e937f645-8c95-42a9-a298-dfd645e9a76a" providerId="ADAL" clId="{750E9A50-ACEA-48D3-B2C6-355D5EC56876}" dt="2024-06-13T11:14:35.520" v="3301" actId="167"/>
          <ac:grpSpMkLst>
            <pc:docMk/>
            <pc:sldMk cId="0" sldId="310"/>
            <ac:grpSpMk id="19" creationId="{884962B4-AACA-3727-5208-F7C8C8B44150}"/>
          </ac:grpSpMkLst>
        </pc:grpChg>
      </pc:sldChg>
      <pc:sldChg chg="modSp mod modClrScheme chgLayout">
        <pc:chgData name="Deimonmi Nongrum [Chillibreeze]" userId="e937f645-8c95-42a9-a298-dfd645e9a76a" providerId="ADAL" clId="{750E9A50-ACEA-48D3-B2C6-355D5EC56876}" dt="2024-06-13T03:32:40.594" v="523" actId="700"/>
        <pc:sldMkLst>
          <pc:docMk/>
          <pc:sldMk cId="0" sldId="311"/>
        </pc:sldMkLst>
        <pc:spChg chg="mod ord">
          <ac:chgData name="Deimonmi Nongrum [Chillibreeze]" userId="e937f645-8c95-42a9-a298-dfd645e9a76a" providerId="ADAL" clId="{750E9A50-ACEA-48D3-B2C6-355D5EC56876}" dt="2024-06-13T03:32:40.594" v="523" actId="700"/>
          <ac:spMkLst>
            <pc:docMk/>
            <pc:sldMk cId="0" sldId="311"/>
            <ac:spMk id="2" creationId="{3D408D19-AC09-9434-273D-FA05DA90367C}"/>
          </ac:spMkLst>
        </pc:spChg>
        <pc:spChg chg="mod ord">
          <ac:chgData name="Deimonmi Nongrum [Chillibreeze]" userId="e937f645-8c95-42a9-a298-dfd645e9a76a" providerId="ADAL" clId="{750E9A50-ACEA-48D3-B2C6-355D5EC56876}" dt="2024-06-13T03:32:40.594" v="523" actId="700"/>
          <ac:spMkLst>
            <pc:docMk/>
            <pc:sldMk cId="0" sldId="311"/>
            <ac:spMk id="4" creationId="{5187D840-5A08-0A2C-C570-721D86162E4E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1"/>
            <ac:spMk id="5008" creationId="{00000000-0000-0000-0000-000000000000}"/>
          </ac:spMkLst>
        </pc:spChg>
      </pc:sldChg>
      <pc:sldChg chg="modSp mod modClrScheme chgLayout">
        <pc:chgData name="Deimonmi Nongrum [Chillibreeze]" userId="e937f645-8c95-42a9-a298-dfd645e9a76a" providerId="ADAL" clId="{750E9A50-ACEA-48D3-B2C6-355D5EC56876}" dt="2024-06-12T09:43:22.507" v="153" actId="700"/>
        <pc:sldMkLst>
          <pc:docMk/>
          <pc:sldMk cId="0" sldId="312"/>
        </pc:sldMkLst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2"/>
            <ac:spMk id="5013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2"/>
            <ac:spMk id="5014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2"/>
            <ac:spMk id="5015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2"/>
            <ac:spMk id="5016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2"/>
            <ac:spMk id="5017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2"/>
            <ac:spMk id="5018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2"/>
            <ac:spMk id="5019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2"/>
            <ac:spMk id="5020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2"/>
            <ac:spMk id="5021" creationId="{00000000-0000-0000-0000-000000000000}"/>
          </ac:spMkLst>
        </pc:spChg>
      </pc:sldChg>
      <pc:sldChg chg="addSp delSp modSp mod modClrScheme chgLayout">
        <pc:chgData name="Deimonmi Nongrum [Chillibreeze]" userId="e937f645-8c95-42a9-a298-dfd645e9a76a" providerId="ADAL" clId="{750E9A50-ACEA-48D3-B2C6-355D5EC56876}" dt="2024-06-13T12:13:51.553" v="4771" actId="12789"/>
        <pc:sldMkLst>
          <pc:docMk/>
          <pc:sldMk cId="0" sldId="313"/>
        </pc:sldMkLst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3"/>
            <ac:spMk id="2" creationId="{10D4B3BF-D8A3-80B5-77C5-893C66BF1010}"/>
          </ac:spMkLst>
        </pc:spChg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313"/>
            <ac:spMk id="2" creationId="{837832FD-9E1F-56D8-6B5B-1CAFA90EB295}"/>
          </ac:spMkLst>
        </pc:spChg>
        <pc:spChg chg="add del mod">
          <ac:chgData name="Deimonmi Nongrum [Chillibreeze]" userId="e937f645-8c95-42a9-a298-dfd645e9a76a" providerId="ADAL" clId="{750E9A50-ACEA-48D3-B2C6-355D5EC56876}" dt="2024-06-12T12:28:23.246" v="204" actId="6264"/>
          <ac:spMkLst>
            <pc:docMk/>
            <pc:sldMk cId="0" sldId="313"/>
            <ac:spMk id="2" creationId="{905F279B-B8DD-31E0-E52C-83FB66E22218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3"/>
            <ac:spMk id="3" creationId="{9F8A95F9-4D77-2AFE-01DB-D9B12D45FF1B}"/>
          </ac:spMkLst>
        </pc:spChg>
        <pc:spChg chg="add del mod">
          <ac:chgData name="Deimonmi Nongrum [Chillibreeze]" userId="e937f645-8c95-42a9-a298-dfd645e9a76a" providerId="ADAL" clId="{750E9A50-ACEA-48D3-B2C6-355D5EC56876}" dt="2024-06-12T12:28:23.413" v="205" actId="6264"/>
          <ac:spMkLst>
            <pc:docMk/>
            <pc:sldMk cId="0" sldId="313"/>
            <ac:spMk id="3" creationId="{C5A17E9F-B8B5-5248-BBE8-4A5C7CFDDF49}"/>
          </ac:spMkLst>
        </pc:spChg>
        <pc:spChg chg="add del mod">
          <ac:chgData name="Deimonmi Nongrum [Chillibreeze]" userId="e937f645-8c95-42a9-a298-dfd645e9a76a" providerId="ADAL" clId="{750E9A50-ACEA-48D3-B2C6-355D5EC56876}" dt="2024-06-12T12:28:23.572" v="206" actId="6264"/>
          <ac:spMkLst>
            <pc:docMk/>
            <pc:sldMk cId="0" sldId="313"/>
            <ac:spMk id="4" creationId="{BC99C6CB-CA4E-B50E-C318-7ADB66CC2DF5}"/>
          </ac:spMkLst>
        </pc:spChg>
        <pc:spChg chg="add del mod">
          <ac:chgData name="Deimonmi Nongrum [Chillibreeze]" userId="e937f645-8c95-42a9-a298-dfd645e9a76a" providerId="ADAL" clId="{750E9A50-ACEA-48D3-B2C6-355D5EC56876}" dt="2024-06-12T12:28:23.740" v="207" actId="6264"/>
          <ac:spMkLst>
            <pc:docMk/>
            <pc:sldMk cId="0" sldId="313"/>
            <ac:spMk id="5" creationId="{870A5850-CD94-A637-2652-EA8AABF6EB71}"/>
          </ac:spMkLst>
        </pc:spChg>
        <pc:spChg chg="del mod ord">
          <ac:chgData name="Deimonmi Nongrum [Chillibreeze]" userId="e937f645-8c95-42a9-a298-dfd645e9a76a" providerId="ADAL" clId="{750E9A50-ACEA-48D3-B2C6-355D5EC56876}" dt="2024-06-12T12:28:27.076" v="209" actId="6264"/>
          <ac:spMkLst>
            <pc:docMk/>
            <pc:sldMk cId="0" sldId="313"/>
            <ac:spMk id="6" creationId="{4F2167BB-18AA-F53B-A300-2EEF185ECF52}"/>
          </ac:spMkLst>
        </pc:spChg>
        <pc:spChg chg="add del mod ord">
          <ac:chgData name="Deimonmi Nongrum [Chillibreeze]" userId="e937f645-8c95-42a9-a298-dfd645e9a76a" providerId="ADAL" clId="{750E9A50-ACEA-48D3-B2C6-355D5EC56876}" dt="2024-06-12T12:28:27.285" v="210" actId="6264"/>
          <ac:spMkLst>
            <pc:docMk/>
            <pc:sldMk cId="0" sldId="313"/>
            <ac:spMk id="7" creationId="{DF825CA7-B872-1855-CEFA-DF2D0B22A4FF}"/>
          </ac:spMkLst>
        </pc:spChg>
        <pc:spChg chg="add del mod ord">
          <ac:chgData name="Deimonmi Nongrum [Chillibreeze]" userId="e937f645-8c95-42a9-a298-dfd645e9a76a" providerId="ADAL" clId="{750E9A50-ACEA-48D3-B2C6-355D5EC56876}" dt="2024-06-12T12:28:27.443" v="211" actId="6264"/>
          <ac:spMkLst>
            <pc:docMk/>
            <pc:sldMk cId="0" sldId="313"/>
            <ac:spMk id="8" creationId="{E5A6023B-E303-08B1-F849-670C64987BE1}"/>
          </ac:spMkLst>
        </pc:spChg>
        <pc:spChg chg="add del mod ord">
          <ac:chgData name="Deimonmi Nongrum [Chillibreeze]" userId="e937f645-8c95-42a9-a298-dfd645e9a76a" providerId="ADAL" clId="{750E9A50-ACEA-48D3-B2C6-355D5EC56876}" dt="2024-06-12T12:28:27.612" v="212" actId="6264"/>
          <ac:spMkLst>
            <pc:docMk/>
            <pc:sldMk cId="0" sldId="313"/>
            <ac:spMk id="9" creationId="{31301C42-2E2A-83A8-E9A7-1AC584DF278F}"/>
          </ac:spMkLst>
        </pc:spChg>
        <pc:spChg chg="add del mod ord">
          <ac:chgData name="Deimonmi Nongrum [Chillibreeze]" userId="e937f645-8c95-42a9-a298-dfd645e9a76a" providerId="ADAL" clId="{750E9A50-ACEA-48D3-B2C6-355D5EC56876}" dt="2024-06-12T12:28:27.740" v="213" actId="6264"/>
          <ac:spMkLst>
            <pc:docMk/>
            <pc:sldMk cId="0" sldId="313"/>
            <ac:spMk id="10" creationId="{1DDF8522-1CFF-1C51-DD7A-77DD809AA07E}"/>
          </ac:spMkLst>
        </pc:spChg>
        <pc:spChg chg="add mod ord">
          <ac:chgData name="Deimonmi Nongrum [Chillibreeze]" userId="e937f645-8c95-42a9-a298-dfd645e9a76a" providerId="ADAL" clId="{750E9A50-ACEA-48D3-B2C6-355D5EC56876}" dt="2024-06-13T11:16:01.217" v="3336"/>
          <ac:spMkLst>
            <pc:docMk/>
            <pc:sldMk cId="0" sldId="313"/>
            <ac:spMk id="11" creationId="{D1E7090C-EC29-1E60-58AE-8A0E8E06F9DC}"/>
          </ac:spMkLst>
        </pc:spChg>
        <pc:spChg chg="mod">
          <ac:chgData name="Deimonmi Nongrum [Chillibreeze]" userId="e937f645-8c95-42a9-a298-dfd645e9a76a" providerId="ADAL" clId="{750E9A50-ACEA-48D3-B2C6-355D5EC56876}" dt="2024-06-12T12:28:14.644" v="203" actId="207"/>
          <ac:spMkLst>
            <pc:docMk/>
            <pc:sldMk cId="0" sldId="313"/>
            <ac:spMk id="14" creationId="{9D890E61-9306-D164-D154-2D2A0315F820}"/>
          </ac:spMkLst>
        </pc:spChg>
        <pc:spChg chg="mod">
          <ac:chgData name="Deimonmi Nongrum [Chillibreeze]" userId="e937f645-8c95-42a9-a298-dfd645e9a76a" providerId="ADAL" clId="{750E9A50-ACEA-48D3-B2C6-355D5EC56876}" dt="2024-06-12T12:28:14.644" v="203" actId="207"/>
          <ac:spMkLst>
            <pc:docMk/>
            <pc:sldMk cId="0" sldId="313"/>
            <ac:spMk id="15" creationId="{DC08158A-C61D-4D08-1CD8-07751EC9F0BD}"/>
          </ac:spMkLst>
        </pc:spChg>
        <pc:spChg chg="mod">
          <ac:chgData name="Deimonmi Nongrum [Chillibreeze]" userId="e937f645-8c95-42a9-a298-dfd645e9a76a" providerId="ADAL" clId="{750E9A50-ACEA-48D3-B2C6-355D5EC56876}" dt="2024-06-12T12:28:14.644" v="203" actId="207"/>
          <ac:spMkLst>
            <pc:docMk/>
            <pc:sldMk cId="0" sldId="313"/>
            <ac:spMk id="16" creationId="{29E00554-5DC8-B7FC-EFD5-F0A85E359BAE}"/>
          </ac:spMkLst>
        </pc:spChg>
        <pc:spChg chg="mod ord">
          <ac:chgData name="Deimonmi Nongrum [Chillibreeze]" userId="e937f645-8c95-42a9-a298-dfd645e9a76a" providerId="ADAL" clId="{750E9A50-ACEA-48D3-B2C6-355D5EC56876}" dt="2024-06-13T11:15:57.552" v="3331" actId="167"/>
          <ac:spMkLst>
            <pc:docMk/>
            <pc:sldMk cId="0" sldId="313"/>
            <ac:spMk id="5005" creationId="{AD8706CF-5A6C-4D0E-A1CC-F93371BE7C5C}"/>
          </ac:spMkLst>
        </pc:spChg>
        <pc:spChg chg="mod ord">
          <ac:chgData name="Deimonmi Nongrum [Chillibreeze]" userId="e937f645-8c95-42a9-a298-dfd645e9a76a" providerId="ADAL" clId="{750E9A50-ACEA-48D3-B2C6-355D5EC56876}" dt="2024-06-13T11:15:57.552" v="3331" actId="167"/>
          <ac:spMkLst>
            <pc:docMk/>
            <pc:sldMk cId="0" sldId="313"/>
            <ac:spMk id="5012" creationId="{0AFE93EA-FA4E-6E8A-FFF4-1A269DBFBF01}"/>
          </ac:spMkLst>
        </pc:spChg>
        <pc:spChg chg="mod ord">
          <ac:chgData name="Deimonmi Nongrum [Chillibreeze]" userId="e937f645-8c95-42a9-a298-dfd645e9a76a" providerId="ADAL" clId="{750E9A50-ACEA-48D3-B2C6-355D5EC56876}" dt="2024-06-13T11:15:57.552" v="3331" actId="167"/>
          <ac:spMkLst>
            <pc:docMk/>
            <pc:sldMk cId="0" sldId="313"/>
            <ac:spMk id="5017" creationId="{8D52C56F-F144-509C-562F-49625827AB6D}"/>
          </ac:spMkLst>
        </pc:spChg>
        <pc:spChg chg="mod ord">
          <ac:chgData name="Deimonmi Nongrum [Chillibreeze]" userId="e937f645-8c95-42a9-a298-dfd645e9a76a" providerId="ADAL" clId="{750E9A50-ACEA-48D3-B2C6-355D5EC56876}" dt="2024-06-13T11:15:57.552" v="3331" actId="167"/>
          <ac:spMkLst>
            <pc:docMk/>
            <pc:sldMk cId="0" sldId="313"/>
            <ac:spMk id="5025" creationId="{0B5477EE-11B2-CBFF-9F67-4EDBACF500F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3"/>
            <ac:spMk id="5054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3"/>
            <ac:spMk id="5055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3"/>
            <ac:spMk id="5056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3"/>
            <ac:spMk id="5058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16:02.779" v="3338"/>
          <ac:spMkLst>
            <pc:docMk/>
            <pc:sldMk cId="0" sldId="313"/>
            <ac:spMk id="5063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16:03.691" v="3339"/>
          <ac:spMkLst>
            <pc:docMk/>
            <pc:sldMk cId="0" sldId="313"/>
            <ac:spMk id="5069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16:04.310" v="3340"/>
          <ac:spMkLst>
            <pc:docMk/>
            <pc:sldMk cId="0" sldId="313"/>
            <ac:spMk id="5070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16:08.713" v="3347"/>
          <ac:spMkLst>
            <pc:docMk/>
            <pc:sldMk cId="0" sldId="313"/>
            <ac:spMk id="5103" creationId="{121EBF11-E697-4EE1-5BAD-F58D6C7D6A3B}"/>
          </ac:spMkLst>
        </pc:spChg>
        <pc:spChg chg="ord">
          <ac:chgData name="Deimonmi Nongrum [Chillibreeze]" userId="e937f645-8c95-42a9-a298-dfd645e9a76a" providerId="ADAL" clId="{750E9A50-ACEA-48D3-B2C6-355D5EC56876}" dt="2024-06-13T11:16:09.230" v="3348"/>
          <ac:spMkLst>
            <pc:docMk/>
            <pc:sldMk cId="0" sldId="313"/>
            <ac:spMk id="5104" creationId="{91EA7893-4534-6820-7D29-1E920C1F6B89}"/>
          </ac:spMkLst>
        </pc:spChg>
        <pc:spChg chg="mod ord">
          <ac:chgData name="Deimonmi Nongrum [Chillibreeze]" userId="e937f645-8c95-42a9-a298-dfd645e9a76a" providerId="ADAL" clId="{750E9A50-ACEA-48D3-B2C6-355D5EC56876}" dt="2024-06-13T11:16:07.565" v="3345"/>
          <ac:spMkLst>
            <pc:docMk/>
            <pc:sldMk cId="0" sldId="313"/>
            <ac:spMk id="5105" creationId="{810D8A3A-33DB-3599-D680-AC5CC8B7568A}"/>
          </ac:spMkLst>
        </pc:spChg>
        <pc:spChg chg="ord">
          <ac:chgData name="Deimonmi Nongrum [Chillibreeze]" userId="e937f645-8c95-42a9-a298-dfd645e9a76a" providerId="ADAL" clId="{750E9A50-ACEA-48D3-B2C6-355D5EC56876}" dt="2024-06-13T11:16:08.096" v="3346"/>
          <ac:spMkLst>
            <pc:docMk/>
            <pc:sldMk cId="0" sldId="313"/>
            <ac:spMk id="5106" creationId="{3F8920B6-A409-DD2C-AD63-334D3AECDC5F}"/>
          </ac:spMkLst>
        </pc:spChg>
        <pc:spChg chg="mod ord">
          <ac:chgData name="Deimonmi Nongrum [Chillibreeze]" userId="e937f645-8c95-42a9-a298-dfd645e9a76a" providerId="ADAL" clId="{750E9A50-ACEA-48D3-B2C6-355D5EC56876}" dt="2024-06-13T11:16:06.446" v="3343"/>
          <ac:spMkLst>
            <pc:docMk/>
            <pc:sldMk cId="0" sldId="313"/>
            <ac:spMk id="5107" creationId="{2217DB7A-4524-83F0-C85A-CD999AE9256D}"/>
          </ac:spMkLst>
        </pc:spChg>
        <pc:spChg chg="ord">
          <ac:chgData name="Deimonmi Nongrum [Chillibreeze]" userId="e937f645-8c95-42a9-a298-dfd645e9a76a" providerId="ADAL" clId="{750E9A50-ACEA-48D3-B2C6-355D5EC56876}" dt="2024-06-13T11:16:06.887" v="3344"/>
          <ac:spMkLst>
            <pc:docMk/>
            <pc:sldMk cId="0" sldId="313"/>
            <ac:spMk id="5108" creationId="{EC2AED84-281A-3305-F912-931E45C89E1C}"/>
          </ac:spMkLst>
        </pc:spChg>
        <pc:spChg chg="mod ord">
          <ac:chgData name="Deimonmi Nongrum [Chillibreeze]" userId="e937f645-8c95-42a9-a298-dfd645e9a76a" providerId="ADAL" clId="{750E9A50-ACEA-48D3-B2C6-355D5EC56876}" dt="2024-06-13T11:16:05.342" v="3341"/>
          <ac:spMkLst>
            <pc:docMk/>
            <pc:sldMk cId="0" sldId="313"/>
            <ac:spMk id="5109" creationId="{F6239304-3850-725C-DA51-11005557207F}"/>
          </ac:spMkLst>
        </pc:spChg>
        <pc:spChg chg="ord">
          <ac:chgData name="Deimonmi Nongrum [Chillibreeze]" userId="e937f645-8c95-42a9-a298-dfd645e9a76a" providerId="ADAL" clId="{750E9A50-ACEA-48D3-B2C6-355D5EC56876}" dt="2024-06-13T11:16:05.794" v="3342"/>
          <ac:spMkLst>
            <pc:docMk/>
            <pc:sldMk cId="0" sldId="313"/>
            <ac:spMk id="5110" creationId="{4BB393BE-5A89-36AB-CC28-F2C77F7C204D}"/>
          </ac:spMkLst>
        </pc:spChg>
        <pc:grpChg chg="add del mod">
          <ac:chgData name="Deimonmi Nongrum [Chillibreeze]" userId="e937f645-8c95-42a9-a298-dfd645e9a76a" providerId="ADAL" clId="{750E9A50-ACEA-48D3-B2C6-355D5EC56876}" dt="2024-06-13T04:35:01.124" v="1064" actId="165"/>
          <ac:grpSpMkLst>
            <pc:docMk/>
            <pc:sldMk cId="0" sldId="313"/>
            <ac:grpSpMk id="2" creationId="{7D07FF0B-83E6-1C0F-B765-770276EC7F88}"/>
          </ac:grpSpMkLst>
        </pc:grpChg>
        <pc:grpChg chg="mod ord">
          <ac:chgData name="Deimonmi Nongrum [Chillibreeze]" userId="e937f645-8c95-42a9-a298-dfd645e9a76a" providerId="ADAL" clId="{750E9A50-ACEA-48D3-B2C6-355D5EC56876}" dt="2024-06-13T12:13:51.553" v="4771" actId="12789"/>
          <ac:grpSpMkLst>
            <pc:docMk/>
            <pc:sldMk cId="0" sldId="313"/>
            <ac:grpSpMk id="5006" creationId="{2AEFB7EF-C123-0E2F-3914-10BB720485BD}"/>
          </ac:grpSpMkLst>
        </pc:grpChg>
        <pc:grpChg chg="mod ord">
          <ac:chgData name="Deimonmi Nongrum [Chillibreeze]" userId="e937f645-8c95-42a9-a298-dfd645e9a76a" providerId="ADAL" clId="{750E9A50-ACEA-48D3-B2C6-355D5EC56876}" dt="2024-06-13T11:15:57.552" v="3331" actId="167"/>
          <ac:grpSpMkLst>
            <pc:docMk/>
            <pc:sldMk cId="0" sldId="313"/>
            <ac:grpSpMk id="5013" creationId="{BFF1EC3E-BF84-A8E0-A3E7-18DBACFA4AC6}"/>
          </ac:grpSpMkLst>
        </pc:grpChg>
        <pc:grpChg chg="mod ord">
          <ac:chgData name="Deimonmi Nongrum [Chillibreeze]" userId="e937f645-8c95-42a9-a298-dfd645e9a76a" providerId="ADAL" clId="{750E9A50-ACEA-48D3-B2C6-355D5EC56876}" dt="2024-06-13T11:15:57.552" v="3331" actId="167"/>
          <ac:grpSpMkLst>
            <pc:docMk/>
            <pc:sldMk cId="0" sldId="313"/>
            <ac:grpSpMk id="5018" creationId="{AF7A0C62-7654-86EC-3363-F07A7F621F66}"/>
          </ac:grpSpMkLst>
        </pc:grpChg>
        <pc:picChg chg="mod ord">
          <ac:chgData name="Deimonmi Nongrum [Chillibreeze]" userId="e937f645-8c95-42a9-a298-dfd645e9a76a" providerId="ADAL" clId="{750E9A50-ACEA-48D3-B2C6-355D5EC56876}" dt="2024-06-13T12:13:33.121" v="4770" actId="962"/>
          <ac:picMkLst>
            <pc:docMk/>
            <pc:sldMk cId="0" sldId="313"/>
            <ac:picMk id="5062" creationId="{00000000-0000-0000-0000-000000000000}"/>
          </ac:picMkLst>
        </pc:picChg>
        <pc:picChg chg="mod ord">
          <ac:chgData name="Deimonmi Nongrum [Chillibreeze]" userId="e937f645-8c95-42a9-a298-dfd645e9a76a" providerId="ADAL" clId="{750E9A50-ACEA-48D3-B2C6-355D5EC56876}" dt="2024-06-13T11:15:57.552" v="3331" actId="167"/>
          <ac:picMkLst>
            <pc:docMk/>
            <pc:sldMk cId="0" sldId="313"/>
            <ac:picMk id="5097" creationId="{C40027DF-97A5-3D50-A5A2-9A5EF9AA7270}"/>
          </ac:picMkLst>
        </pc:picChg>
        <pc:picChg chg="mod ord">
          <ac:chgData name="Deimonmi Nongrum [Chillibreeze]" userId="e937f645-8c95-42a9-a298-dfd645e9a76a" providerId="ADAL" clId="{750E9A50-ACEA-48D3-B2C6-355D5EC56876}" dt="2024-06-13T11:15:57.552" v="3331" actId="167"/>
          <ac:picMkLst>
            <pc:docMk/>
            <pc:sldMk cId="0" sldId="313"/>
            <ac:picMk id="5099" creationId="{7E68E62E-E702-1C74-4586-86A97EF93716}"/>
          </ac:picMkLst>
        </pc:picChg>
        <pc:picChg chg="mod ord">
          <ac:chgData name="Deimonmi Nongrum [Chillibreeze]" userId="e937f645-8c95-42a9-a298-dfd645e9a76a" providerId="ADAL" clId="{750E9A50-ACEA-48D3-B2C6-355D5EC56876}" dt="2024-06-13T12:13:51.553" v="4771" actId="12789"/>
          <ac:picMkLst>
            <pc:docMk/>
            <pc:sldMk cId="0" sldId="313"/>
            <ac:picMk id="5101" creationId="{867EDB9E-8720-3D28-2F75-8A8266DD177D}"/>
          </ac:picMkLst>
        </pc:picChg>
        <pc:cxnChg chg="mod ord topLvl">
          <ac:chgData name="Deimonmi Nongrum [Chillibreeze]" userId="e937f645-8c95-42a9-a298-dfd645e9a76a" providerId="ADAL" clId="{750E9A50-ACEA-48D3-B2C6-355D5EC56876}" dt="2024-06-13T11:15:57.552" v="3331" actId="167"/>
          <ac:cxnSpMkLst>
            <pc:docMk/>
            <pc:sldMk cId="0" sldId="313"/>
            <ac:cxnSpMk id="5035" creationId="{857DE0D9-767A-937F-7966-F5C3343D4F54}"/>
          </ac:cxnSpMkLst>
        </pc:cxnChg>
        <pc:cxnChg chg="mod ord topLvl">
          <ac:chgData name="Deimonmi Nongrum [Chillibreeze]" userId="e937f645-8c95-42a9-a298-dfd645e9a76a" providerId="ADAL" clId="{750E9A50-ACEA-48D3-B2C6-355D5EC56876}" dt="2024-06-13T11:15:57.552" v="3331" actId="167"/>
          <ac:cxnSpMkLst>
            <pc:docMk/>
            <pc:sldMk cId="0" sldId="313"/>
            <ac:cxnSpMk id="5036" creationId="{ACCBBB42-38E5-28BA-95BD-D6604F057209}"/>
          </ac:cxnSpMkLst>
        </pc:cxnChg>
        <pc:cxnChg chg="mod ord topLvl">
          <ac:chgData name="Deimonmi Nongrum [Chillibreeze]" userId="e937f645-8c95-42a9-a298-dfd645e9a76a" providerId="ADAL" clId="{750E9A50-ACEA-48D3-B2C6-355D5EC56876}" dt="2024-06-13T11:15:57.552" v="3331" actId="167"/>
          <ac:cxnSpMkLst>
            <pc:docMk/>
            <pc:sldMk cId="0" sldId="313"/>
            <ac:cxnSpMk id="5037" creationId="{0461DCAE-DB18-7599-F41B-5D158627FBB2}"/>
          </ac:cxnSpMkLst>
        </pc:cxnChg>
      </pc:sldChg>
      <pc:sldChg chg="addSp delSp modSp mod modClrScheme chgLayout">
        <pc:chgData name="Deimonmi Nongrum [Chillibreeze]" userId="e937f645-8c95-42a9-a298-dfd645e9a76a" providerId="ADAL" clId="{750E9A50-ACEA-48D3-B2C6-355D5EC56876}" dt="2024-06-12T09:43:22.507" v="153" actId="700"/>
        <pc:sldMkLst>
          <pc:docMk/>
          <pc:sldMk cId="0" sldId="314"/>
        </pc:sldMkLst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4"/>
            <ac:spMk id="2" creationId="{957F4A70-B8EC-23B1-B84D-181B00E782A1}"/>
          </ac:spMkLst>
        </pc:spChg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314"/>
            <ac:spMk id="2" creationId="{AF6872FE-6D3B-EEA7-3E50-BA2C814229D3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4"/>
            <ac:spMk id="3" creationId="{562B07DA-6531-E521-9C6A-86426F06FD2B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4"/>
            <ac:spMk id="5098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4"/>
            <ac:spMk id="5100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4"/>
            <ac:spMk id="5102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4"/>
            <ac:spMk id="5103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4"/>
            <ac:spMk id="5104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4"/>
            <ac:spMk id="5105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4"/>
            <ac:spMk id="5110" creationId="{00000000-0000-0000-0000-000000000000}"/>
          </ac:spMkLst>
        </pc:spChg>
        <pc:cxnChg chg="mod">
          <ac:chgData name="Deimonmi Nongrum [Chillibreeze]" userId="e937f645-8c95-42a9-a298-dfd645e9a76a" providerId="ADAL" clId="{750E9A50-ACEA-48D3-B2C6-355D5EC56876}" dt="2024-06-12T09:43:22.507" v="153" actId="700"/>
          <ac:cxnSpMkLst>
            <pc:docMk/>
            <pc:sldMk cId="0" sldId="314"/>
            <ac:cxnSpMk id="5114" creationId="{00000000-0000-0000-0000-000000000000}"/>
          </ac:cxnSpMkLst>
        </pc:cxnChg>
      </pc:sldChg>
      <pc:sldChg chg="addSp delSp modSp mod modClrScheme chgLayout">
        <pc:chgData name="Deimonmi Nongrum [Chillibreeze]" userId="e937f645-8c95-42a9-a298-dfd645e9a76a" providerId="ADAL" clId="{750E9A50-ACEA-48D3-B2C6-355D5EC56876}" dt="2024-06-13T12:42:56.271" v="5716" actId="962"/>
        <pc:sldMkLst>
          <pc:docMk/>
          <pc:sldMk cId="0" sldId="315"/>
        </pc:sldMkLst>
        <pc:spChg chg="add mod ord">
          <ac:chgData name="Deimonmi Nongrum [Chillibreeze]" userId="e937f645-8c95-42a9-a298-dfd645e9a76a" providerId="ADAL" clId="{750E9A50-ACEA-48D3-B2C6-355D5EC56876}" dt="2024-06-13T12:40:42.352" v="5270" actId="14100"/>
          <ac:spMkLst>
            <pc:docMk/>
            <pc:sldMk cId="0" sldId="315"/>
            <ac:spMk id="2" creationId="{C5C99F57-F711-A6A0-2E44-67900BD7C4A9}"/>
          </ac:spMkLst>
        </pc:spChg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315"/>
            <ac:spMk id="2" creationId="{E216B6EA-0EB3-8F87-D00F-A632FEE592D6}"/>
          </ac:spMkLst>
        </pc:spChg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5"/>
            <ac:spMk id="2" creationId="{F89D054F-F80B-FA65-8BF7-A90F7E087132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5"/>
            <ac:spMk id="3" creationId="{64C86320-39CD-1F7D-C046-21BF4C2697A4}"/>
          </ac:spMkLst>
        </pc:spChg>
        <pc:spChg chg="add del mod">
          <ac:chgData name="Deimonmi Nongrum [Chillibreeze]" userId="e937f645-8c95-42a9-a298-dfd645e9a76a" providerId="ADAL" clId="{750E9A50-ACEA-48D3-B2C6-355D5EC56876}" dt="2024-06-13T04:38:56.868" v="1155" actId="21"/>
          <ac:spMkLst>
            <pc:docMk/>
            <pc:sldMk cId="0" sldId="315"/>
            <ac:spMk id="3" creationId="{9B2C65F3-96D0-2469-FA93-055ED3E78A1D}"/>
          </ac:spMkLst>
        </pc:spChg>
        <pc:spChg chg="ord">
          <ac:chgData name="Deimonmi Nongrum [Chillibreeze]" userId="e937f645-8c95-42a9-a298-dfd645e9a76a" providerId="ADAL" clId="{750E9A50-ACEA-48D3-B2C6-355D5EC56876}" dt="2024-06-13T11:17:15.228" v="3383"/>
          <ac:spMkLst>
            <pc:docMk/>
            <pc:sldMk cId="0" sldId="315"/>
            <ac:spMk id="5" creationId="{C9178E0C-7D14-9B52-B7E0-9375C27342AE}"/>
          </ac:spMkLst>
        </pc:spChg>
        <pc:spChg chg="mod ord">
          <ac:chgData name="Deimonmi Nongrum [Chillibreeze]" userId="e937f645-8c95-42a9-a298-dfd645e9a76a" providerId="ADAL" clId="{750E9A50-ACEA-48D3-B2C6-355D5EC56876}" dt="2024-06-13T11:17:17.329" v="3384"/>
          <ac:spMkLst>
            <pc:docMk/>
            <pc:sldMk cId="0" sldId="315"/>
            <ac:spMk id="6" creationId="{AD57D389-D847-7979-E72B-0D4514F93621}"/>
          </ac:spMkLst>
        </pc:spChg>
        <pc:spChg chg="mod ord">
          <ac:chgData name="Deimonmi Nongrum [Chillibreeze]" userId="e937f645-8c95-42a9-a298-dfd645e9a76a" providerId="ADAL" clId="{750E9A50-ACEA-48D3-B2C6-355D5EC56876}" dt="2024-06-13T12:40:28.751" v="5269" actId="167"/>
          <ac:spMkLst>
            <pc:docMk/>
            <pc:sldMk cId="0" sldId="315"/>
            <ac:spMk id="8" creationId="{1E79E7C3-96C9-53CC-25A9-02D1BFECB4AF}"/>
          </ac:spMkLst>
        </pc:spChg>
        <pc:spChg chg="ord">
          <ac:chgData name="Deimonmi Nongrum [Chillibreeze]" userId="e937f645-8c95-42a9-a298-dfd645e9a76a" providerId="ADAL" clId="{750E9A50-ACEA-48D3-B2C6-355D5EC56876}" dt="2024-06-13T11:17:18.109" v="3385"/>
          <ac:spMkLst>
            <pc:docMk/>
            <pc:sldMk cId="0" sldId="315"/>
            <ac:spMk id="9" creationId="{50511286-E0DE-0001-DE73-57985F537201}"/>
          </ac:spMkLst>
        </pc:spChg>
        <pc:spChg chg="mod ord">
          <ac:chgData name="Deimonmi Nongrum [Chillibreeze]" userId="e937f645-8c95-42a9-a298-dfd645e9a76a" providerId="ADAL" clId="{750E9A50-ACEA-48D3-B2C6-355D5EC56876}" dt="2024-06-13T12:40:28.751" v="5269" actId="167"/>
          <ac:spMkLst>
            <pc:docMk/>
            <pc:sldMk cId="0" sldId="315"/>
            <ac:spMk id="10" creationId="{E8C8D640-02EC-549D-4745-1D3F9AAA4E06}"/>
          </ac:spMkLst>
        </pc:spChg>
        <pc:spChg chg="mod ord">
          <ac:chgData name="Deimonmi Nongrum [Chillibreeze]" userId="e937f645-8c95-42a9-a298-dfd645e9a76a" providerId="ADAL" clId="{750E9A50-ACEA-48D3-B2C6-355D5EC56876}" dt="2024-06-13T11:17:11.386" v="3377" actId="167"/>
          <ac:spMkLst>
            <pc:docMk/>
            <pc:sldMk cId="0" sldId="315"/>
            <ac:spMk id="11" creationId="{044D7F2B-1A74-3BB9-6CDA-1EE8ED74867B}"/>
          </ac:spMkLst>
        </pc:spChg>
        <pc:spChg chg="ord">
          <ac:chgData name="Deimonmi Nongrum [Chillibreeze]" userId="e937f645-8c95-42a9-a298-dfd645e9a76a" providerId="ADAL" clId="{750E9A50-ACEA-48D3-B2C6-355D5EC56876}" dt="2024-06-13T11:17:20.776" v="3389"/>
          <ac:spMkLst>
            <pc:docMk/>
            <pc:sldMk cId="0" sldId="315"/>
            <ac:spMk id="12" creationId="{1D34D513-FEE7-9179-D479-6E0ECE30850B}"/>
          </ac:spMkLst>
        </pc:spChg>
        <pc:spChg chg="mod ord">
          <ac:chgData name="Deimonmi Nongrum [Chillibreeze]" userId="e937f645-8c95-42a9-a298-dfd645e9a76a" providerId="ADAL" clId="{750E9A50-ACEA-48D3-B2C6-355D5EC56876}" dt="2024-06-13T11:17:11.386" v="3377" actId="167"/>
          <ac:spMkLst>
            <pc:docMk/>
            <pc:sldMk cId="0" sldId="315"/>
            <ac:spMk id="13" creationId="{2C51531C-2771-B1C6-7A9F-AAC5C187AE1D}"/>
          </ac:spMkLst>
        </pc:spChg>
        <pc:spChg chg="mod ord">
          <ac:chgData name="Deimonmi Nongrum [Chillibreeze]" userId="e937f645-8c95-42a9-a298-dfd645e9a76a" providerId="ADAL" clId="{750E9A50-ACEA-48D3-B2C6-355D5EC56876}" dt="2024-06-13T12:36:10.937" v="4851" actId="1035"/>
          <ac:spMkLst>
            <pc:docMk/>
            <pc:sldMk cId="0" sldId="315"/>
            <ac:spMk id="14" creationId="{AFEE0F39-4E72-3E4E-1D62-A472F50DD409}"/>
          </ac:spMkLst>
        </pc:spChg>
        <pc:spChg chg="mod ord">
          <ac:chgData name="Deimonmi Nongrum [Chillibreeze]" userId="e937f645-8c95-42a9-a298-dfd645e9a76a" providerId="ADAL" clId="{750E9A50-ACEA-48D3-B2C6-355D5EC56876}" dt="2024-06-13T12:36:10.937" v="4851" actId="1035"/>
          <ac:spMkLst>
            <pc:docMk/>
            <pc:sldMk cId="0" sldId="315"/>
            <ac:spMk id="15" creationId="{C30881F7-CD16-453A-C9F4-1176FCA56054}"/>
          </ac:spMkLst>
        </pc:spChg>
        <pc:spChg chg="mod ord">
          <ac:chgData name="Deimonmi Nongrum [Chillibreeze]" userId="e937f645-8c95-42a9-a298-dfd645e9a76a" providerId="ADAL" clId="{750E9A50-ACEA-48D3-B2C6-355D5EC56876}" dt="2024-06-13T12:36:10.937" v="4851" actId="1035"/>
          <ac:spMkLst>
            <pc:docMk/>
            <pc:sldMk cId="0" sldId="315"/>
            <ac:spMk id="23" creationId="{3D2562FC-1162-6990-AFEE-EA6765BF1986}"/>
          </ac:spMkLst>
        </pc:spChg>
        <pc:spChg chg="mod ord">
          <ac:chgData name="Deimonmi Nongrum [Chillibreeze]" userId="e937f645-8c95-42a9-a298-dfd645e9a76a" providerId="ADAL" clId="{750E9A50-ACEA-48D3-B2C6-355D5EC56876}" dt="2024-06-13T12:36:10.937" v="4851" actId="1035"/>
          <ac:spMkLst>
            <pc:docMk/>
            <pc:sldMk cId="0" sldId="315"/>
            <ac:spMk id="28" creationId="{B1911410-5815-1D6A-46E8-86F11B827B1A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5"/>
            <ac:spMk id="5120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5"/>
            <ac:spMk id="5121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5"/>
            <ac:spMk id="5122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5"/>
            <ac:spMk id="5123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5"/>
            <ac:spMk id="5124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5"/>
            <ac:spMk id="5125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5"/>
            <ac:spMk id="5132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5"/>
            <ac:spMk id="5140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5"/>
            <ac:spMk id="5141" creationId="{00000000-0000-0000-0000-000000000000}"/>
          </ac:spMkLst>
        </pc:spChg>
        <pc:grpChg chg="mod ord">
          <ac:chgData name="Deimonmi Nongrum [Chillibreeze]" userId="e937f645-8c95-42a9-a298-dfd645e9a76a" providerId="ADAL" clId="{750E9A50-ACEA-48D3-B2C6-355D5EC56876}" dt="2024-06-13T11:17:11.386" v="3377" actId="167"/>
          <ac:grpSpMkLst>
            <pc:docMk/>
            <pc:sldMk cId="0" sldId="315"/>
            <ac:grpSpMk id="16" creationId="{2458708E-AF0A-C3DF-BE54-AE58D6647FE0}"/>
          </ac:grpSpMkLst>
        </pc:grpChg>
        <pc:grpChg chg="del">
          <ac:chgData name="Deimonmi Nongrum [Chillibreeze]" userId="e937f645-8c95-42a9-a298-dfd645e9a76a" providerId="ADAL" clId="{750E9A50-ACEA-48D3-B2C6-355D5EC56876}" dt="2024-06-13T04:37:06.863" v="1068" actId="478"/>
          <ac:grpSpMkLst>
            <pc:docMk/>
            <pc:sldMk cId="0" sldId="315"/>
            <ac:grpSpMk id="19" creationId="{2BDAF9EC-9620-32E8-DB11-7E0A0F3C37CB}"/>
          </ac:grpSpMkLst>
        </pc:grpChg>
        <pc:picChg chg="mod ord">
          <ac:chgData name="Deimonmi Nongrum [Chillibreeze]" userId="e937f645-8c95-42a9-a298-dfd645e9a76a" providerId="ADAL" clId="{750E9A50-ACEA-48D3-B2C6-355D5EC56876}" dt="2024-06-13T12:42:56.271" v="5716" actId="962"/>
          <ac:picMkLst>
            <pc:docMk/>
            <pc:sldMk cId="0" sldId="315"/>
            <ac:picMk id="27" creationId="{59D3316D-E7F0-6323-D4A6-0263DCDC972A}"/>
          </ac:picMkLst>
        </pc:picChg>
        <pc:cxnChg chg="mod">
          <ac:chgData name="Deimonmi Nongrum [Chillibreeze]" userId="e937f645-8c95-42a9-a298-dfd645e9a76a" providerId="ADAL" clId="{750E9A50-ACEA-48D3-B2C6-355D5EC56876}" dt="2024-06-12T09:43:22.507" v="153" actId="700"/>
          <ac:cxnSpMkLst>
            <pc:docMk/>
            <pc:sldMk cId="0" sldId="315"/>
            <ac:cxnSpMk id="5139" creationId="{00000000-0000-0000-0000-000000000000}"/>
          </ac:cxnSpMkLst>
        </pc:cxnChg>
      </pc:sldChg>
      <pc:sldChg chg="addSp delSp modSp mod modClrScheme chgLayout">
        <pc:chgData name="Deimonmi Nongrum [Chillibreeze]" userId="e937f645-8c95-42a9-a298-dfd645e9a76a" providerId="ADAL" clId="{750E9A50-ACEA-48D3-B2C6-355D5EC56876}" dt="2024-06-13T14:27:44.296" v="7309" actId="20577"/>
        <pc:sldMkLst>
          <pc:docMk/>
          <pc:sldMk cId="0" sldId="316"/>
        </pc:sldMkLst>
        <pc:spChg chg="add del mod">
          <ac:chgData name="Deimonmi Nongrum [Chillibreeze]" userId="e937f645-8c95-42a9-a298-dfd645e9a76a" providerId="ADAL" clId="{750E9A50-ACEA-48D3-B2C6-355D5EC56876}" dt="2024-06-13T04:39:39.241" v="1255" actId="21"/>
          <ac:spMkLst>
            <pc:docMk/>
            <pc:sldMk cId="0" sldId="316"/>
            <ac:spMk id="2" creationId="{9B2C65F3-96D0-2469-FA93-055ED3E78A1D}"/>
          </ac:spMkLst>
        </pc:spChg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316"/>
            <ac:spMk id="2" creationId="{B514C12E-2652-6652-9B74-E2A29FDC8574}"/>
          </ac:spMkLst>
        </pc:spChg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6"/>
            <ac:spMk id="2" creationId="{E48137C4-C9F7-C7B7-AC59-376F72A54885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6"/>
            <ac:spMk id="3" creationId="{29021B6B-F7A4-BD12-8525-80237F6B379E}"/>
          </ac:spMkLst>
        </pc:spChg>
        <pc:spChg chg="mod ord">
          <ac:chgData name="Deimonmi Nongrum [Chillibreeze]" userId="e937f645-8c95-42a9-a298-dfd645e9a76a" providerId="ADAL" clId="{750E9A50-ACEA-48D3-B2C6-355D5EC56876}" dt="2024-06-13T11:18:58.594" v="3423"/>
          <ac:spMkLst>
            <pc:docMk/>
            <pc:sldMk cId="0" sldId="316"/>
            <ac:spMk id="6" creationId="{73A6A96E-8B4B-F2D5-0F49-83408B27E815}"/>
          </ac:spMkLst>
        </pc:spChg>
        <pc:spChg chg="mod ord">
          <ac:chgData name="Deimonmi Nongrum [Chillibreeze]" userId="e937f645-8c95-42a9-a298-dfd645e9a76a" providerId="ADAL" clId="{750E9A50-ACEA-48D3-B2C6-355D5EC56876}" dt="2024-06-13T11:18:53.640" v="3415" actId="167"/>
          <ac:spMkLst>
            <pc:docMk/>
            <pc:sldMk cId="0" sldId="316"/>
            <ac:spMk id="7" creationId="{837B9F35-AB09-38B2-4F84-E210A293FE11}"/>
          </ac:spMkLst>
        </pc:spChg>
        <pc:spChg chg="ord">
          <ac:chgData name="Deimonmi Nongrum [Chillibreeze]" userId="e937f645-8c95-42a9-a298-dfd645e9a76a" providerId="ADAL" clId="{750E9A50-ACEA-48D3-B2C6-355D5EC56876}" dt="2024-06-13T11:18:59.467" v="3424"/>
          <ac:spMkLst>
            <pc:docMk/>
            <pc:sldMk cId="0" sldId="316"/>
            <ac:spMk id="8" creationId="{7B46139E-1705-2504-F2DB-4800C71B1B8F}"/>
          </ac:spMkLst>
        </pc:spChg>
        <pc:spChg chg="mod ord">
          <ac:chgData name="Deimonmi Nongrum [Chillibreeze]" userId="e937f645-8c95-42a9-a298-dfd645e9a76a" providerId="ADAL" clId="{750E9A50-ACEA-48D3-B2C6-355D5EC56876}" dt="2024-06-13T11:18:53.640" v="3415" actId="167"/>
          <ac:spMkLst>
            <pc:docMk/>
            <pc:sldMk cId="0" sldId="316"/>
            <ac:spMk id="9" creationId="{0C1E193C-7B3E-F8CE-C738-469F4F87CEF6}"/>
          </ac:spMkLst>
        </pc:spChg>
        <pc:spChg chg="mod ord">
          <ac:chgData name="Deimonmi Nongrum [Chillibreeze]" userId="e937f645-8c95-42a9-a298-dfd645e9a76a" providerId="ADAL" clId="{750E9A50-ACEA-48D3-B2C6-355D5EC56876}" dt="2024-06-13T11:18:53.640" v="3415" actId="167"/>
          <ac:spMkLst>
            <pc:docMk/>
            <pc:sldMk cId="0" sldId="316"/>
            <ac:spMk id="10" creationId="{CC1ACA16-EEE4-9B72-7141-ED1B7F5A2CFD}"/>
          </ac:spMkLst>
        </pc:spChg>
        <pc:spChg chg="ord">
          <ac:chgData name="Deimonmi Nongrum [Chillibreeze]" userId="e937f645-8c95-42a9-a298-dfd645e9a76a" providerId="ADAL" clId="{750E9A50-ACEA-48D3-B2C6-355D5EC56876}" dt="2024-06-13T11:19:01.699" v="3427"/>
          <ac:spMkLst>
            <pc:docMk/>
            <pc:sldMk cId="0" sldId="316"/>
            <ac:spMk id="11" creationId="{4A99329F-9467-7A6F-0E3E-37D69C57D3DA}"/>
          </ac:spMkLst>
        </pc:spChg>
        <pc:spChg chg="mod ord">
          <ac:chgData name="Deimonmi Nongrum [Chillibreeze]" userId="e937f645-8c95-42a9-a298-dfd645e9a76a" providerId="ADAL" clId="{750E9A50-ACEA-48D3-B2C6-355D5EC56876}" dt="2024-06-13T11:18:53.640" v="3415" actId="167"/>
          <ac:spMkLst>
            <pc:docMk/>
            <pc:sldMk cId="0" sldId="316"/>
            <ac:spMk id="12" creationId="{B7576897-0F11-2938-7772-CDA723992680}"/>
          </ac:spMkLst>
        </pc:spChg>
        <pc:spChg chg="mod ord">
          <ac:chgData name="Deimonmi Nongrum [Chillibreeze]" userId="e937f645-8c95-42a9-a298-dfd645e9a76a" providerId="ADAL" clId="{750E9A50-ACEA-48D3-B2C6-355D5EC56876}" dt="2024-06-13T12:36:30.256" v="4859" actId="1035"/>
          <ac:spMkLst>
            <pc:docMk/>
            <pc:sldMk cId="0" sldId="316"/>
            <ac:spMk id="13" creationId="{5DF44DE9-E817-F282-684B-776DD879B830}"/>
          </ac:spMkLst>
        </pc:spChg>
        <pc:spChg chg="mod ord">
          <ac:chgData name="Deimonmi Nongrum [Chillibreeze]" userId="e937f645-8c95-42a9-a298-dfd645e9a76a" providerId="ADAL" clId="{750E9A50-ACEA-48D3-B2C6-355D5EC56876}" dt="2024-06-13T12:36:30.256" v="4859" actId="1035"/>
          <ac:spMkLst>
            <pc:docMk/>
            <pc:sldMk cId="0" sldId="316"/>
            <ac:spMk id="14" creationId="{AE4FC78C-F035-1840-3A05-989E89BBBE81}"/>
          </ac:spMkLst>
        </pc:spChg>
        <pc:spChg chg="mod ord">
          <ac:chgData name="Deimonmi Nongrum [Chillibreeze]" userId="e937f645-8c95-42a9-a298-dfd645e9a76a" providerId="ADAL" clId="{750E9A50-ACEA-48D3-B2C6-355D5EC56876}" dt="2024-06-13T14:27:44.296" v="7309" actId="20577"/>
          <ac:spMkLst>
            <pc:docMk/>
            <pc:sldMk cId="0" sldId="316"/>
            <ac:spMk id="22" creationId="{824A7E5A-BA2B-8EAB-D15F-10E6053ACFBB}"/>
          </ac:spMkLst>
        </pc:spChg>
        <pc:spChg chg="mod ord">
          <ac:chgData name="Deimonmi Nongrum [Chillibreeze]" userId="e937f645-8c95-42a9-a298-dfd645e9a76a" providerId="ADAL" clId="{750E9A50-ACEA-48D3-B2C6-355D5EC56876}" dt="2024-06-13T12:36:30.256" v="4859" actId="1035"/>
          <ac:spMkLst>
            <pc:docMk/>
            <pc:sldMk cId="0" sldId="316"/>
            <ac:spMk id="24" creationId="{4B7CCF63-FBD1-02C0-55E9-BF3309C07D81}"/>
          </ac:spMkLst>
        </pc:spChg>
        <pc:spChg chg="ord">
          <ac:chgData name="Deimonmi Nongrum [Chillibreeze]" userId="e937f645-8c95-42a9-a298-dfd645e9a76a" providerId="ADAL" clId="{750E9A50-ACEA-48D3-B2C6-355D5EC56876}" dt="2024-06-13T11:18:57.295" v="3422"/>
          <ac:spMkLst>
            <pc:docMk/>
            <pc:sldMk cId="0" sldId="316"/>
            <ac:spMk id="26" creationId="{328D4680-FEF9-9CF1-38D5-CB297726C765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6"/>
            <ac:spMk id="5147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6"/>
            <ac:spMk id="5148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6"/>
            <ac:spMk id="5149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6"/>
            <ac:spMk id="5150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6"/>
            <ac:spMk id="5151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6"/>
            <ac:spMk id="5152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6"/>
            <ac:spMk id="5164" creationId="{00000000-0000-0000-0000-000000000000}"/>
          </ac:spMkLst>
        </pc:spChg>
        <pc:grpChg chg="mod ord">
          <ac:chgData name="Deimonmi Nongrum [Chillibreeze]" userId="e937f645-8c95-42a9-a298-dfd645e9a76a" providerId="ADAL" clId="{750E9A50-ACEA-48D3-B2C6-355D5EC56876}" dt="2024-06-13T11:18:53.640" v="3415" actId="167"/>
          <ac:grpSpMkLst>
            <pc:docMk/>
            <pc:sldMk cId="0" sldId="316"/>
            <ac:grpSpMk id="15" creationId="{096C0C21-739A-BEEB-5DE6-6B0FA9D70057}"/>
          </ac:grpSpMkLst>
        </pc:grpChg>
        <pc:cxnChg chg="mod">
          <ac:chgData name="Deimonmi Nongrum [Chillibreeze]" userId="e937f645-8c95-42a9-a298-dfd645e9a76a" providerId="ADAL" clId="{750E9A50-ACEA-48D3-B2C6-355D5EC56876}" dt="2024-06-12T09:43:22.507" v="153" actId="700"/>
          <ac:cxnSpMkLst>
            <pc:docMk/>
            <pc:sldMk cId="0" sldId="316"/>
            <ac:cxnSpMk id="5166" creationId="{00000000-0000-0000-0000-000000000000}"/>
          </ac:cxnSpMkLst>
        </pc:cxnChg>
      </pc:sldChg>
      <pc:sldChg chg="addSp delSp modSp mod modClrScheme chgLayout">
        <pc:chgData name="Deimonmi Nongrum [Chillibreeze]" userId="e937f645-8c95-42a9-a298-dfd645e9a76a" providerId="ADAL" clId="{750E9A50-ACEA-48D3-B2C6-355D5EC56876}" dt="2024-06-12T09:43:22.507" v="153" actId="700"/>
        <pc:sldMkLst>
          <pc:docMk/>
          <pc:sldMk cId="0" sldId="317"/>
        </pc:sldMkLst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317"/>
            <ac:spMk id="2" creationId="{4F9E68D8-AADC-EFF8-3EFF-26AF0452B349}"/>
          </ac:spMkLst>
        </pc:spChg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7"/>
            <ac:spMk id="2" creationId="{DEF95219-1AD9-01E4-6D7A-A9B2811920D9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7"/>
            <ac:spMk id="3" creationId="{53B6975E-FEE9-FB74-5820-64AAD091AC63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7"/>
            <ac:spMk id="5173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7"/>
            <ac:spMk id="5174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7"/>
            <ac:spMk id="5175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7"/>
            <ac:spMk id="5176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7"/>
            <ac:spMk id="5177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7"/>
            <ac:spMk id="5178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7"/>
            <ac:spMk id="5185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7"/>
            <ac:spMk id="5190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7"/>
            <ac:spMk id="5191" creationId="{00000000-0000-0000-0000-000000000000}"/>
          </ac:spMkLst>
        </pc:spChg>
      </pc:sldChg>
      <pc:sldChg chg="addSp delSp modSp mod modClrScheme chgLayout">
        <pc:chgData name="Deimonmi Nongrum [Chillibreeze]" userId="e937f645-8c95-42a9-a298-dfd645e9a76a" providerId="ADAL" clId="{750E9A50-ACEA-48D3-B2C6-355D5EC56876}" dt="2024-06-13T12:05:44.969" v="4081" actId="13244"/>
        <pc:sldMkLst>
          <pc:docMk/>
          <pc:sldMk cId="0" sldId="318"/>
        </pc:sldMkLst>
        <pc:spChg chg="add mod ord topLvl">
          <ac:chgData name="Deimonmi Nongrum [Chillibreeze]" userId="e937f645-8c95-42a9-a298-dfd645e9a76a" providerId="ADAL" clId="{750E9A50-ACEA-48D3-B2C6-355D5EC56876}" dt="2024-06-13T11:19:22.734" v="3433" actId="167"/>
          <ac:spMkLst>
            <pc:docMk/>
            <pc:sldMk cId="0" sldId="318"/>
            <ac:spMk id="2" creationId="{087DE7BD-9755-1FCF-136D-7E891A478270}"/>
          </ac:spMkLst>
        </pc:spChg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8"/>
            <ac:spMk id="2" creationId="{5EB1A25D-BAF6-9675-5B01-C9B23FD25E0A}"/>
          </ac:spMkLst>
        </pc:spChg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318"/>
            <ac:spMk id="2" creationId="{6B22A4BC-CC81-A844-781B-549DD6918C42}"/>
          </ac:spMkLst>
        </pc:spChg>
        <pc:spChg chg="add mod ord topLvl">
          <ac:chgData name="Deimonmi Nongrum [Chillibreeze]" userId="e937f645-8c95-42a9-a298-dfd645e9a76a" providerId="ADAL" clId="{750E9A50-ACEA-48D3-B2C6-355D5EC56876}" dt="2024-06-13T11:19:51.536" v="3455"/>
          <ac:spMkLst>
            <pc:docMk/>
            <pc:sldMk cId="0" sldId="318"/>
            <ac:spMk id="3" creationId="{5C220339-5157-C337-D1E8-DDC1A133AB28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8"/>
            <ac:spMk id="3" creationId="{D3D184F1-96A7-8A41-A35C-83835E3FC3C9}"/>
          </ac:spMkLst>
        </pc:spChg>
        <pc:spChg chg="add mod ord topLvl">
          <ac:chgData name="Deimonmi Nongrum [Chillibreeze]" userId="e937f645-8c95-42a9-a298-dfd645e9a76a" providerId="ADAL" clId="{750E9A50-ACEA-48D3-B2C6-355D5EC56876}" dt="2024-06-13T11:19:22.734" v="3433" actId="167"/>
          <ac:spMkLst>
            <pc:docMk/>
            <pc:sldMk cId="0" sldId="318"/>
            <ac:spMk id="4" creationId="{41A0F61A-0FAD-0BB0-C90D-E9BE4353F7CA}"/>
          </ac:spMkLst>
        </pc:spChg>
        <pc:spChg chg="del mod">
          <ac:chgData name="Deimonmi Nongrum [Chillibreeze]" userId="e937f645-8c95-42a9-a298-dfd645e9a76a" providerId="ADAL" clId="{750E9A50-ACEA-48D3-B2C6-355D5EC56876}" dt="2024-06-13T10:04:09.009" v="1504" actId="478"/>
          <ac:spMkLst>
            <pc:docMk/>
            <pc:sldMk cId="0" sldId="318"/>
            <ac:spMk id="5" creationId="{4B380BF2-BB83-4454-849D-532D043AB0E6}"/>
          </ac:spMkLst>
        </pc:spChg>
        <pc:spChg chg="del mod">
          <ac:chgData name="Deimonmi Nongrum [Chillibreeze]" userId="e937f645-8c95-42a9-a298-dfd645e9a76a" providerId="ADAL" clId="{750E9A50-ACEA-48D3-B2C6-355D5EC56876}" dt="2024-06-13T10:04:09.009" v="1504" actId="478"/>
          <ac:spMkLst>
            <pc:docMk/>
            <pc:sldMk cId="0" sldId="318"/>
            <ac:spMk id="6" creationId="{EEDF09EF-1E71-8FA4-BEC2-D643A7F12879}"/>
          </ac:spMkLst>
        </pc:spChg>
        <pc:spChg chg="del mod">
          <ac:chgData name="Deimonmi Nongrum [Chillibreeze]" userId="e937f645-8c95-42a9-a298-dfd645e9a76a" providerId="ADAL" clId="{750E9A50-ACEA-48D3-B2C6-355D5EC56876}" dt="2024-06-13T10:04:09.009" v="1504" actId="478"/>
          <ac:spMkLst>
            <pc:docMk/>
            <pc:sldMk cId="0" sldId="318"/>
            <ac:spMk id="7" creationId="{9807A9B3-B05C-308F-C732-5DD777B3D135}"/>
          </ac:spMkLst>
        </pc:spChg>
        <pc:spChg chg="del mod">
          <ac:chgData name="Deimonmi Nongrum [Chillibreeze]" userId="e937f645-8c95-42a9-a298-dfd645e9a76a" providerId="ADAL" clId="{750E9A50-ACEA-48D3-B2C6-355D5EC56876}" dt="2024-06-13T10:04:09.009" v="1504" actId="478"/>
          <ac:spMkLst>
            <pc:docMk/>
            <pc:sldMk cId="0" sldId="318"/>
            <ac:spMk id="8" creationId="{4BDAC46D-8688-B864-D484-30816CE575BC}"/>
          </ac:spMkLst>
        </pc:spChg>
        <pc:spChg chg="del mod">
          <ac:chgData name="Deimonmi Nongrum [Chillibreeze]" userId="e937f645-8c95-42a9-a298-dfd645e9a76a" providerId="ADAL" clId="{750E9A50-ACEA-48D3-B2C6-355D5EC56876}" dt="2024-06-13T10:04:09.009" v="1504" actId="478"/>
          <ac:spMkLst>
            <pc:docMk/>
            <pc:sldMk cId="0" sldId="318"/>
            <ac:spMk id="9" creationId="{40859B9C-FD0C-3C20-8AA1-64AE096F9BED}"/>
          </ac:spMkLst>
        </pc:spChg>
        <pc:spChg chg="add mod ord topLvl">
          <ac:chgData name="Deimonmi Nongrum [Chillibreeze]" userId="e937f645-8c95-42a9-a298-dfd645e9a76a" providerId="ADAL" clId="{750E9A50-ACEA-48D3-B2C6-355D5EC56876}" dt="2024-06-13T11:19:51.537" v="3458"/>
          <ac:spMkLst>
            <pc:docMk/>
            <pc:sldMk cId="0" sldId="318"/>
            <ac:spMk id="10" creationId="{65F3FFFD-C2BA-C4C3-BCEC-744F2A1516C8}"/>
          </ac:spMkLst>
        </pc:spChg>
        <pc:spChg chg="add mod ord">
          <ac:chgData name="Deimonmi Nongrum [Chillibreeze]" userId="e937f645-8c95-42a9-a298-dfd645e9a76a" providerId="ADAL" clId="{750E9A50-ACEA-48D3-B2C6-355D5EC56876}" dt="2024-06-13T11:19:36.100" v="3443"/>
          <ac:spMkLst>
            <pc:docMk/>
            <pc:sldMk cId="0" sldId="318"/>
            <ac:spMk id="14" creationId="{72F75328-5025-E319-7C2F-6AA3C356C090}"/>
          </ac:spMkLst>
        </pc:spChg>
        <pc:spChg chg="del mod">
          <ac:chgData name="Deimonmi Nongrum [Chillibreeze]" userId="e937f645-8c95-42a9-a298-dfd645e9a76a" providerId="ADAL" clId="{750E9A50-ACEA-48D3-B2C6-355D5EC56876}" dt="2024-06-13T10:01:23.888" v="1321" actId="21"/>
          <ac:spMkLst>
            <pc:docMk/>
            <pc:sldMk cId="0" sldId="318"/>
            <ac:spMk id="16" creationId="{088BA2F6-B8CA-38CE-F6B6-03951B5CFF1B}"/>
          </ac:spMkLst>
        </pc:spChg>
        <pc:spChg chg="del mod">
          <ac:chgData name="Deimonmi Nongrum [Chillibreeze]" userId="e937f645-8c95-42a9-a298-dfd645e9a76a" providerId="ADAL" clId="{750E9A50-ACEA-48D3-B2C6-355D5EC56876}" dt="2024-06-13T10:01:23.888" v="1321" actId="21"/>
          <ac:spMkLst>
            <pc:docMk/>
            <pc:sldMk cId="0" sldId="318"/>
            <ac:spMk id="17" creationId="{7900B5A2-AF50-B891-C3A5-9CBBAA1C7D95}"/>
          </ac:spMkLst>
        </pc:spChg>
        <pc:spChg chg="del mod">
          <ac:chgData name="Deimonmi Nongrum [Chillibreeze]" userId="e937f645-8c95-42a9-a298-dfd645e9a76a" providerId="ADAL" clId="{750E9A50-ACEA-48D3-B2C6-355D5EC56876}" dt="2024-06-13T10:01:23.888" v="1321" actId="21"/>
          <ac:spMkLst>
            <pc:docMk/>
            <pc:sldMk cId="0" sldId="318"/>
            <ac:spMk id="18" creationId="{BA1CAD2F-8DAA-4C64-F3EF-54DEAADCB666}"/>
          </ac:spMkLst>
        </pc:spChg>
        <pc:spChg chg="del mod">
          <ac:chgData name="Deimonmi Nongrum [Chillibreeze]" userId="e937f645-8c95-42a9-a298-dfd645e9a76a" providerId="ADAL" clId="{750E9A50-ACEA-48D3-B2C6-355D5EC56876}" dt="2024-06-13T10:01:23.888" v="1321" actId="21"/>
          <ac:spMkLst>
            <pc:docMk/>
            <pc:sldMk cId="0" sldId="318"/>
            <ac:spMk id="19" creationId="{1549C34F-68F0-BF5A-0B2A-A59290C4F678}"/>
          </ac:spMkLst>
        </pc:spChg>
        <pc:spChg chg="del mod">
          <ac:chgData name="Deimonmi Nongrum [Chillibreeze]" userId="e937f645-8c95-42a9-a298-dfd645e9a76a" providerId="ADAL" clId="{750E9A50-ACEA-48D3-B2C6-355D5EC56876}" dt="2024-06-13T10:01:23.888" v="1321" actId="21"/>
          <ac:spMkLst>
            <pc:docMk/>
            <pc:sldMk cId="0" sldId="318"/>
            <ac:spMk id="20" creationId="{E63079AD-F362-397A-28DE-CD79C82447F4}"/>
          </ac:spMkLst>
        </pc:spChg>
        <pc:spChg chg="del mod">
          <ac:chgData name="Deimonmi Nongrum [Chillibreeze]" userId="e937f645-8c95-42a9-a298-dfd645e9a76a" providerId="ADAL" clId="{750E9A50-ACEA-48D3-B2C6-355D5EC56876}" dt="2024-06-13T10:01:23.888" v="1321" actId="21"/>
          <ac:spMkLst>
            <pc:docMk/>
            <pc:sldMk cId="0" sldId="318"/>
            <ac:spMk id="21" creationId="{385E313D-3BD2-49E2-EE10-04B3F73ACF87}"/>
          </ac:spMkLst>
        </pc:spChg>
        <pc:spChg chg="del mod">
          <ac:chgData name="Deimonmi Nongrum [Chillibreeze]" userId="e937f645-8c95-42a9-a298-dfd645e9a76a" providerId="ADAL" clId="{750E9A50-ACEA-48D3-B2C6-355D5EC56876}" dt="2024-06-13T10:01:23.888" v="1321" actId="21"/>
          <ac:spMkLst>
            <pc:docMk/>
            <pc:sldMk cId="0" sldId="318"/>
            <ac:spMk id="22" creationId="{2CF7F0BA-782D-E723-343D-E5755B6A6FF6}"/>
          </ac:spMkLst>
        </pc:spChg>
        <pc:spChg chg="del mod">
          <ac:chgData name="Deimonmi Nongrum [Chillibreeze]" userId="e937f645-8c95-42a9-a298-dfd645e9a76a" providerId="ADAL" clId="{750E9A50-ACEA-48D3-B2C6-355D5EC56876}" dt="2024-06-13T10:01:23.888" v="1321" actId="21"/>
          <ac:spMkLst>
            <pc:docMk/>
            <pc:sldMk cId="0" sldId="318"/>
            <ac:spMk id="23" creationId="{631B0CAE-F7B4-7415-5A30-8EC2655E82A5}"/>
          </ac:spMkLst>
        </pc:spChg>
        <pc:spChg chg="add mod ord">
          <ac:chgData name="Deimonmi Nongrum [Chillibreeze]" userId="e937f645-8c95-42a9-a298-dfd645e9a76a" providerId="ADAL" clId="{750E9A50-ACEA-48D3-B2C6-355D5EC56876}" dt="2024-06-13T11:19:39.397" v="3448"/>
          <ac:spMkLst>
            <pc:docMk/>
            <pc:sldMk cId="0" sldId="318"/>
            <ac:spMk id="24" creationId="{31D48A27-6A46-B0D3-38EE-67D85737A657}"/>
          </ac:spMkLst>
        </pc:spChg>
        <pc:spChg chg="add mod ord">
          <ac:chgData name="Deimonmi Nongrum [Chillibreeze]" userId="e937f645-8c95-42a9-a298-dfd645e9a76a" providerId="ADAL" clId="{750E9A50-ACEA-48D3-B2C6-355D5EC56876}" dt="2024-06-13T11:19:22.734" v="3433" actId="167"/>
          <ac:spMkLst>
            <pc:docMk/>
            <pc:sldMk cId="0" sldId="318"/>
            <ac:spMk id="25" creationId="{8D94F516-32EE-AFBB-8F8A-999E794530E4}"/>
          </ac:spMkLst>
        </pc:spChg>
        <pc:spChg chg="add mod ord">
          <ac:chgData name="Deimonmi Nongrum [Chillibreeze]" userId="e937f645-8c95-42a9-a298-dfd645e9a76a" providerId="ADAL" clId="{750E9A50-ACEA-48D3-B2C6-355D5EC56876}" dt="2024-06-13T11:19:38.564" v="3447"/>
          <ac:spMkLst>
            <pc:docMk/>
            <pc:sldMk cId="0" sldId="318"/>
            <ac:spMk id="30" creationId="{088BA2F6-B8CA-38CE-F6B6-03951B5CFF1B}"/>
          </ac:spMkLst>
        </pc:spChg>
        <pc:spChg chg="add mod ord">
          <ac:chgData name="Deimonmi Nongrum [Chillibreeze]" userId="e937f645-8c95-42a9-a298-dfd645e9a76a" providerId="ADAL" clId="{750E9A50-ACEA-48D3-B2C6-355D5EC56876}" dt="2024-06-13T11:19:41.889" v="3452"/>
          <ac:spMkLst>
            <pc:docMk/>
            <pc:sldMk cId="0" sldId="318"/>
            <ac:spMk id="31" creationId="{7900B5A2-AF50-B891-C3A5-9CBBAA1C7D95}"/>
          </ac:spMkLst>
        </pc:spChg>
        <pc:spChg chg="add mod ord">
          <ac:chgData name="Deimonmi Nongrum [Chillibreeze]" userId="e937f645-8c95-42a9-a298-dfd645e9a76a" providerId="ADAL" clId="{750E9A50-ACEA-48D3-B2C6-355D5EC56876}" dt="2024-06-13T11:19:36.819" v="3444"/>
          <ac:spMkLst>
            <pc:docMk/>
            <pc:sldMk cId="0" sldId="318"/>
            <ac:spMk id="32" creationId="{BA1CAD2F-8DAA-4C64-F3EF-54DEAADCB666}"/>
          </ac:spMkLst>
        </pc:spChg>
        <pc:spChg chg="add mod ord">
          <ac:chgData name="Deimonmi Nongrum [Chillibreeze]" userId="e937f645-8c95-42a9-a298-dfd645e9a76a" providerId="ADAL" clId="{750E9A50-ACEA-48D3-B2C6-355D5EC56876}" dt="2024-06-13T11:19:40.077" v="3449"/>
          <ac:spMkLst>
            <pc:docMk/>
            <pc:sldMk cId="0" sldId="318"/>
            <ac:spMk id="33" creationId="{1549C34F-68F0-BF5A-0B2A-A59290C4F678}"/>
          </ac:spMkLst>
        </pc:spChg>
        <pc:spChg chg="add mod ord">
          <ac:chgData name="Deimonmi Nongrum [Chillibreeze]" userId="e937f645-8c95-42a9-a298-dfd645e9a76a" providerId="ADAL" clId="{750E9A50-ACEA-48D3-B2C6-355D5EC56876}" dt="2024-06-13T11:19:37.372" v="3445"/>
          <ac:spMkLst>
            <pc:docMk/>
            <pc:sldMk cId="0" sldId="318"/>
            <ac:spMk id="34" creationId="{E63079AD-F362-397A-28DE-CD79C82447F4}"/>
          </ac:spMkLst>
        </pc:spChg>
        <pc:spChg chg="add mod ord">
          <ac:chgData name="Deimonmi Nongrum [Chillibreeze]" userId="e937f645-8c95-42a9-a298-dfd645e9a76a" providerId="ADAL" clId="{750E9A50-ACEA-48D3-B2C6-355D5EC56876}" dt="2024-06-13T11:19:40.651" v="3450"/>
          <ac:spMkLst>
            <pc:docMk/>
            <pc:sldMk cId="0" sldId="318"/>
            <ac:spMk id="35" creationId="{385E313D-3BD2-49E2-EE10-04B3F73ACF87}"/>
          </ac:spMkLst>
        </pc:spChg>
        <pc:spChg chg="add mod ord">
          <ac:chgData name="Deimonmi Nongrum [Chillibreeze]" userId="e937f645-8c95-42a9-a298-dfd645e9a76a" providerId="ADAL" clId="{750E9A50-ACEA-48D3-B2C6-355D5EC56876}" dt="2024-06-13T11:19:37.926" v="3446"/>
          <ac:spMkLst>
            <pc:docMk/>
            <pc:sldMk cId="0" sldId="318"/>
            <ac:spMk id="36" creationId="{2CF7F0BA-782D-E723-343D-E5755B6A6FF6}"/>
          </ac:spMkLst>
        </pc:spChg>
        <pc:spChg chg="add mod ord">
          <ac:chgData name="Deimonmi Nongrum [Chillibreeze]" userId="e937f645-8c95-42a9-a298-dfd645e9a76a" providerId="ADAL" clId="{750E9A50-ACEA-48D3-B2C6-355D5EC56876}" dt="2024-06-13T11:19:41.301" v="3451"/>
          <ac:spMkLst>
            <pc:docMk/>
            <pc:sldMk cId="0" sldId="318"/>
            <ac:spMk id="37" creationId="{631B0CAE-F7B4-7415-5A30-8EC2655E82A5}"/>
          </ac:spMkLst>
        </pc:spChg>
        <pc:spChg chg="add mod ord">
          <ac:chgData name="Deimonmi Nongrum [Chillibreeze]" userId="e937f645-8c95-42a9-a298-dfd645e9a76a" providerId="ADAL" clId="{750E9A50-ACEA-48D3-B2C6-355D5EC56876}" dt="2024-06-13T11:19:33.104" v="3439"/>
          <ac:spMkLst>
            <pc:docMk/>
            <pc:sldMk cId="0" sldId="318"/>
            <ac:spMk id="42" creationId="{0361A59A-9FAE-F1EE-7914-23C784BFD36E}"/>
          </ac:spMkLst>
        </pc:spChg>
        <pc:spChg chg="add mod ord">
          <ac:chgData name="Deimonmi Nongrum [Chillibreeze]" userId="e937f645-8c95-42a9-a298-dfd645e9a76a" providerId="ADAL" clId="{750E9A50-ACEA-48D3-B2C6-355D5EC56876}" dt="2024-06-13T11:19:33.778" v="3440"/>
          <ac:spMkLst>
            <pc:docMk/>
            <pc:sldMk cId="0" sldId="318"/>
            <ac:spMk id="43" creationId="{DD997731-DC30-3707-0504-96803ED40796}"/>
          </ac:spMkLst>
        </pc:spChg>
        <pc:spChg chg="add mod ord">
          <ac:chgData name="Deimonmi Nongrum [Chillibreeze]" userId="e937f645-8c95-42a9-a298-dfd645e9a76a" providerId="ADAL" clId="{750E9A50-ACEA-48D3-B2C6-355D5EC56876}" dt="2024-06-13T11:19:34.553" v="3441"/>
          <ac:spMkLst>
            <pc:docMk/>
            <pc:sldMk cId="0" sldId="318"/>
            <ac:spMk id="44" creationId="{FE1081E3-BDCF-AB79-D696-5F69ED67F444}"/>
          </ac:spMkLst>
        </pc:spChg>
        <pc:spChg chg="add mod ord">
          <ac:chgData name="Deimonmi Nongrum [Chillibreeze]" userId="e937f645-8c95-42a9-a298-dfd645e9a76a" providerId="ADAL" clId="{750E9A50-ACEA-48D3-B2C6-355D5EC56876}" dt="2024-06-13T11:19:35.205" v="3442"/>
          <ac:spMkLst>
            <pc:docMk/>
            <pc:sldMk cId="0" sldId="318"/>
            <ac:spMk id="45" creationId="{371A1E6D-026A-C775-7EB8-A7AF8D84C407}"/>
          </ac:spMkLst>
        </pc:spChg>
        <pc:spChg chg="del mod">
          <ac:chgData name="Deimonmi Nongrum [Chillibreeze]" userId="e937f645-8c95-42a9-a298-dfd645e9a76a" providerId="ADAL" clId="{750E9A50-ACEA-48D3-B2C6-355D5EC56876}" dt="2024-06-13T10:01:23.888" v="1321" actId="21"/>
          <ac:spMkLst>
            <pc:docMk/>
            <pc:sldMk cId="0" sldId="318"/>
            <ac:spMk id="51" creationId="{0361A59A-9FAE-F1EE-7914-23C784BFD36E}"/>
          </ac:spMkLst>
        </pc:spChg>
        <pc:spChg chg="del mod">
          <ac:chgData name="Deimonmi Nongrum [Chillibreeze]" userId="e937f645-8c95-42a9-a298-dfd645e9a76a" providerId="ADAL" clId="{750E9A50-ACEA-48D3-B2C6-355D5EC56876}" dt="2024-06-13T10:01:23.888" v="1321" actId="21"/>
          <ac:spMkLst>
            <pc:docMk/>
            <pc:sldMk cId="0" sldId="318"/>
            <ac:spMk id="52" creationId="{DD997731-DC30-3707-0504-96803ED40796}"/>
          </ac:spMkLst>
        </pc:spChg>
        <pc:spChg chg="del mod">
          <ac:chgData name="Deimonmi Nongrum [Chillibreeze]" userId="e937f645-8c95-42a9-a298-dfd645e9a76a" providerId="ADAL" clId="{750E9A50-ACEA-48D3-B2C6-355D5EC56876}" dt="2024-06-13T10:01:23.888" v="1321" actId="21"/>
          <ac:spMkLst>
            <pc:docMk/>
            <pc:sldMk cId="0" sldId="318"/>
            <ac:spMk id="53" creationId="{FE1081E3-BDCF-AB79-D696-5F69ED67F444}"/>
          </ac:spMkLst>
        </pc:spChg>
        <pc:spChg chg="del mod">
          <ac:chgData name="Deimonmi Nongrum [Chillibreeze]" userId="e937f645-8c95-42a9-a298-dfd645e9a76a" providerId="ADAL" clId="{750E9A50-ACEA-48D3-B2C6-355D5EC56876}" dt="2024-06-13T10:01:23.888" v="1321" actId="21"/>
          <ac:spMkLst>
            <pc:docMk/>
            <pc:sldMk cId="0" sldId="318"/>
            <ac:spMk id="54" creationId="{371A1E6D-026A-C775-7EB8-A7AF8D84C407}"/>
          </ac:spMkLst>
        </pc:spChg>
        <pc:spChg chg="add mod">
          <ac:chgData name="Deimonmi Nongrum [Chillibreeze]" userId="e937f645-8c95-42a9-a298-dfd645e9a76a" providerId="ADAL" clId="{750E9A50-ACEA-48D3-B2C6-355D5EC56876}" dt="2024-06-13T10:03:58.808" v="1500" actId="571"/>
          <ac:spMkLst>
            <pc:docMk/>
            <pc:sldMk cId="0" sldId="318"/>
            <ac:spMk id="57" creationId="{4F943DF9-DA70-CABF-9647-CDE4237BA7ED}"/>
          </ac:spMkLst>
        </pc:spChg>
        <pc:spChg chg="add mod">
          <ac:chgData name="Deimonmi Nongrum [Chillibreeze]" userId="e937f645-8c95-42a9-a298-dfd645e9a76a" providerId="ADAL" clId="{750E9A50-ACEA-48D3-B2C6-355D5EC56876}" dt="2024-06-13T12:05:44.969" v="4081" actId="13244"/>
          <ac:spMkLst>
            <pc:docMk/>
            <pc:sldMk cId="0" sldId="318"/>
            <ac:spMk id="61" creationId="{6A880001-9222-C10C-088C-319F6A07C7CE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8"/>
            <ac:spMk id="5199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8"/>
            <ac:spMk id="5203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8"/>
            <ac:spMk id="5213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8"/>
            <ac:spMk id="5215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8"/>
            <ac:spMk id="5216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8"/>
            <ac:spMk id="5217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8"/>
            <ac:spMk id="5218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8"/>
            <ac:spMk id="5219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8"/>
            <ac:spMk id="5220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8"/>
            <ac:spMk id="5224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8"/>
            <ac:spMk id="5225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8"/>
            <ac:spMk id="5226" creationId="{00000000-0000-0000-0000-000000000000}"/>
          </ac:spMkLst>
        </pc:spChg>
        <pc:grpChg chg="add del mod">
          <ac:chgData name="Deimonmi Nongrum [Chillibreeze]" userId="e937f645-8c95-42a9-a298-dfd645e9a76a" providerId="ADAL" clId="{750E9A50-ACEA-48D3-B2C6-355D5EC56876}" dt="2024-06-13T09:58:35.362" v="1265" actId="165"/>
          <ac:grpSpMkLst>
            <pc:docMk/>
            <pc:sldMk cId="0" sldId="318"/>
            <ac:grpSpMk id="13" creationId="{4265FA78-F5E8-7FCF-C08C-429BB2ED3863}"/>
          </ac:grpSpMkLst>
        </pc:grpChg>
        <pc:grpChg chg="add del mod">
          <ac:chgData name="Deimonmi Nongrum [Chillibreeze]" userId="e937f645-8c95-42a9-a298-dfd645e9a76a" providerId="ADAL" clId="{750E9A50-ACEA-48D3-B2C6-355D5EC56876}" dt="2024-06-13T10:02:22.682" v="1373" actId="165"/>
          <ac:grpSpMkLst>
            <pc:docMk/>
            <pc:sldMk cId="0" sldId="318"/>
            <ac:grpSpMk id="26" creationId="{201CFA57-93BC-13E2-D0BB-24C37FF3A281}"/>
          </ac:grpSpMkLst>
        </pc:grpChg>
        <pc:grpChg chg="add del mod">
          <ac:chgData name="Deimonmi Nongrum [Chillibreeze]" userId="e937f645-8c95-42a9-a298-dfd645e9a76a" providerId="ADAL" clId="{750E9A50-ACEA-48D3-B2C6-355D5EC56876}" dt="2024-06-13T10:03:03.574" v="1383" actId="165"/>
          <ac:grpSpMkLst>
            <pc:docMk/>
            <pc:sldMk cId="0" sldId="318"/>
            <ac:grpSpMk id="38" creationId="{56B8E4EA-C847-48CE-6FDF-8F43DC5C4BE9}"/>
          </ac:grpSpMkLst>
        </pc:grpChg>
        <pc:grpChg chg="del mod">
          <ac:chgData name="Deimonmi Nongrum [Chillibreeze]" userId="e937f645-8c95-42a9-a298-dfd645e9a76a" providerId="ADAL" clId="{750E9A50-ACEA-48D3-B2C6-355D5EC56876}" dt="2024-06-13T10:01:23.888" v="1321" actId="21"/>
          <ac:grpSpMkLst>
            <pc:docMk/>
            <pc:sldMk cId="0" sldId="318"/>
            <ac:grpSpMk id="46" creationId="{201CFA57-93BC-13E2-D0BB-24C37FF3A281}"/>
          </ac:grpSpMkLst>
        </pc:grpChg>
        <pc:grpChg chg="del mod">
          <ac:chgData name="Deimonmi Nongrum [Chillibreeze]" userId="e937f645-8c95-42a9-a298-dfd645e9a76a" providerId="ADAL" clId="{750E9A50-ACEA-48D3-B2C6-355D5EC56876}" dt="2024-06-13T10:01:23.888" v="1321" actId="21"/>
          <ac:grpSpMkLst>
            <pc:docMk/>
            <pc:sldMk cId="0" sldId="318"/>
            <ac:grpSpMk id="47" creationId="{56B8E4EA-C847-48CE-6FDF-8F43DC5C4BE9}"/>
          </ac:grpSpMkLst>
        </pc:grpChg>
        <pc:grpChg chg="mod ord">
          <ac:chgData name="Deimonmi Nongrum [Chillibreeze]" userId="e937f645-8c95-42a9-a298-dfd645e9a76a" providerId="ADAL" clId="{750E9A50-ACEA-48D3-B2C6-355D5EC56876}" dt="2024-06-13T11:19:22.734" v="3433" actId="167"/>
          <ac:grpSpMkLst>
            <pc:docMk/>
            <pc:sldMk cId="0" sldId="318"/>
            <ac:grpSpMk id="5191" creationId="{E192A0BA-AB34-1148-0C93-97C93CF2AA80}"/>
          </ac:grpSpMkLst>
        </pc:grpChg>
        <pc:cxnChg chg="mod ord topLvl">
          <ac:chgData name="Deimonmi Nongrum [Chillibreeze]" userId="e937f645-8c95-42a9-a298-dfd645e9a76a" providerId="ADAL" clId="{750E9A50-ACEA-48D3-B2C6-355D5EC56876}" dt="2024-06-13T11:19:22.734" v="3433" actId="167"/>
          <ac:cxnSpMkLst>
            <pc:docMk/>
            <pc:sldMk cId="0" sldId="318"/>
            <ac:cxnSpMk id="27" creationId="{13EDEBA2-B9C5-E555-685B-D5F18F974301}"/>
          </ac:cxnSpMkLst>
        </pc:cxnChg>
        <pc:cxnChg chg="mod ord topLvl">
          <ac:chgData name="Deimonmi Nongrum [Chillibreeze]" userId="e937f645-8c95-42a9-a298-dfd645e9a76a" providerId="ADAL" clId="{750E9A50-ACEA-48D3-B2C6-355D5EC56876}" dt="2024-06-13T11:19:22.734" v="3433" actId="167"/>
          <ac:cxnSpMkLst>
            <pc:docMk/>
            <pc:sldMk cId="0" sldId="318"/>
            <ac:cxnSpMk id="28" creationId="{B48B9496-F267-9CC0-9B0F-7E0013DD6204}"/>
          </ac:cxnSpMkLst>
        </pc:cxnChg>
        <pc:cxnChg chg="mod ord topLvl">
          <ac:chgData name="Deimonmi Nongrum [Chillibreeze]" userId="e937f645-8c95-42a9-a298-dfd645e9a76a" providerId="ADAL" clId="{750E9A50-ACEA-48D3-B2C6-355D5EC56876}" dt="2024-06-13T11:19:22.734" v="3433" actId="167"/>
          <ac:cxnSpMkLst>
            <pc:docMk/>
            <pc:sldMk cId="0" sldId="318"/>
            <ac:cxnSpMk id="29" creationId="{8BCE2C0D-F97E-2CC6-F499-F5734034D526}"/>
          </ac:cxnSpMkLst>
        </pc:cxnChg>
        <pc:cxnChg chg="mod ord topLvl">
          <ac:chgData name="Deimonmi Nongrum [Chillibreeze]" userId="e937f645-8c95-42a9-a298-dfd645e9a76a" providerId="ADAL" clId="{750E9A50-ACEA-48D3-B2C6-355D5EC56876}" dt="2024-06-13T11:19:22.734" v="3433" actId="167"/>
          <ac:cxnSpMkLst>
            <pc:docMk/>
            <pc:sldMk cId="0" sldId="318"/>
            <ac:cxnSpMk id="39" creationId="{279E9726-53FA-1DB5-B4A2-5322A6272238}"/>
          </ac:cxnSpMkLst>
        </pc:cxnChg>
        <pc:cxnChg chg="mod ord topLvl">
          <ac:chgData name="Deimonmi Nongrum [Chillibreeze]" userId="e937f645-8c95-42a9-a298-dfd645e9a76a" providerId="ADAL" clId="{750E9A50-ACEA-48D3-B2C6-355D5EC56876}" dt="2024-06-13T11:19:22.734" v="3433" actId="167"/>
          <ac:cxnSpMkLst>
            <pc:docMk/>
            <pc:sldMk cId="0" sldId="318"/>
            <ac:cxnSpMk id="40" creationId="{AA52C948-2BE1-8499-DF1A-21E075D85630}"/>
          </ac:cxnSpMkLst>
        </pc:cxnChg>
        <pc:cxnChg chg="mod ord topLvl">
          <ac:chgData name="Deimonmi Nongrum [Chillibreeze]" userId="e937f645-8c95-42a9-a298-dfd645e9a76a" providerId="ADAL" clId="{750E9A50-ACEA-48D3-B2C6-355D5EC56876}" dt="2024-06-13T11:19:22.734" v="3433" actId="167"/>
          <ac:cxnSpMkLst>
            <pc:docMk/>
            <pc:sldMk cId="0" sldId="318"/>
            <ac:cxnSpMk id="41" creationId="{1F77414F-B4D0-A9A6-7D6B-53556699347F}"/>
          </ac:cxnSpMkLst>
        </pc:cxnChg>
        <pc:cxnChg chg="add del mod">
          <ac:chgData name="Deimonmi Nongrum [Chillibreeze]" userId="e937f645-8c95-42a9-a298-dfd645e9a76a" providerId="ADAL" clId="{750E9A50-ACEA-48D3-B2C6-355D5EC56876}" dt="2024-06-13T10:04:13.785" v="1505" actId="478"/>
          <ac:cxnSpMkLst>
            <pc:docMk/>
            <pc:sldMk cId="0" sldId="318"/>
            <ac:cxnSpMk id="55" creationId="{F028B295-1B97-D921-BD36-CFFC0FEA543E}"/>
          </ac:cxnSpMkLst>
        </pc:cxnChg>
        <pc:cxnChg chg="add del mod">
          <ac:chgData name="Deimonmi Nongrum [Chillibreeze]" userId="e937f645-8c95-42a9-a298-dfd645e9a76a" providerId="ADAL" clId="{750E9A50-ACEA-48D3-B2C6-355D5EC56876}" dt="2024-06-13T10:04:13.785" v="1505" actId="478"/>
          <ac:cxnSpMkLst>
            <pc:docMk/>
            <pc:sldMk cId="0" sldId="318"/>
            <ac:cxnSpMk id="56" creationId="{33525EA8-53A3-6412-D515-73EBF733A5EA}"/>
          </ac:cxnSpMkLst>
        </pc:cxnChg>
        <pc:cxnChg chg="add mod ord">
          <ac:chgData name="Deimonmi Nongrum [Chillibreeze]" userId="e937f645-8c95-42a9-a298-dfd645e9a76a" providerId="ADAL" clId="{750E9A50-ACEA-48D3-B2C6-355D5EC56876}" dt="2024-06-13T11:19:22.734" v="3433" actId="167"/>
          <ac:cxnSpMkLst>
            <pc:docMk/>
            <pc:sldMk cId="0" sldId="318"/>
            <ac:cxnSpMk id="58" creationId="{9F9B97C7-6C01-36F3-E6E7-EF62FD01D603}"/>
          </ac:cxnSpMkLst>
        </pc:cxnChg>
        <pc:cxnChg chg="add mod ord">
          <ac:chgData name="Deimonmi Nongrum [Chillibreeze]" userId="e937f645-8c95-42a9-a298-dfd645e9a76a" providerId="ADAL" clId="{750E9A50-ACEA-48D3-B2C6-355D5EC56876}" dt="2024-06-13T11:19:22.734" v="3433" actId="167"/>
          <ac:cxnSpMkLst>
            <pc:docMk/>
            <pc:sldMk cId="0" sldId="318"/>
            <ac:cxnSpMk id="59" creationId="{4A941B6C-0341-9095-C6FB-9D2D3440310A}"/>
          </ac:cxnSpMkLst>
        </pc:cxnChg>
        <pc:cxnChg chg="add mod ord">
          <ac:chgData name="Deimonmi Nongrum [Chillibreeze]" userId="e937f645-8c95-42a9-a298-dfd645e9a76a" providerId="ADAL" clId="{750E9A50-ACEA-48D3-B2C6-355D5EC56876}" dt="2024-06-13T11:19:22.734" v="3433" actId="167"/>
          <ac:cxnSpMkLst>
            <pc:docMk/>
            <pc:sldMk cId="0" sldId="318"/>
            <ac:cxnSpMk id="60" creationId="{57C6F8BC-B156-F135-072A-DC677E82409D}"/>
          </ac:cxnSpMkLst>
        </pc:cxnChg>
      </pc:sldChg>
      <pc:sldChg chg="modSp mod modClrScheme chgLayout">
        <pc:chgData name="Deimonmi Nongrum [Chillibreeze]" userId="e937f645-8c95-42a9-a298-dfd645e9a76a" providerId="ADAL" clId="{750E9A50-ACEA-48D3-B2C6-355D5EC56876}" dt="2024-06-13T12:48:19.506" v="6135" actId="20577"/>
        <pc:sldMkLst>
          <pc:docMk/>
          <pc:sldMk cId="0" sldId="319"/>
        </pc:sldMkLst>
        <pc:spChg chg="mod ord">
          <ac:chgData name="Deimonmi Nongrum [Chillibreeze]" userId="e937f645-8c95-42a9-a298-dfd645e9a76a" providerId="ADAL" clId="{750E9A50-ACEA-48D3-B2C6-355D5EC56876}" dt="2024-06-13T03:32:46.969" v="524" actId="700"/>
          <ac:spMkLst>
            <pc:docMk/>
            <pc:sldMk cId="0" sldId="319"/>
            <ac:spMk id="2" creationId="{BFCC5CB4-034B-477C-6269-AEF1E95EA57B}"/>
          </ac:spMkLst>
        </pc:spChg>
        <pc:spChg chg="mod ord">
          <ac:chgData name="Deimonmi Nongrum [Chillibreeze]" userId="e937f645-8c95-42a9-a298-dfd645e9a76a" providerId="ADAL" clId="{750E9A50-ACEA-48D3-B2C6-355D5EC56876}" dt="2024-06-13T12:48:19.506" v="6135" actId="20577"/>
          <ac:spMkLst>
            <pc:docMk/>
            <pc:sldMk cId="0" sldId="319"/>
            <ac:spMk id="10" creationId="{6CBE5D10-8EB8-724B-2498-8D8EF2CE26A1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19"/>
            <ac:spMk id="5243" creationId="{00000000-0000-0000-0000-000000000000}"/>
          </ac:spMkLst>
        </pc:spChg>
      </pc:sldChg>
      <pc:sldChg chg="modSp mod modClrScheme chgLayout">
        <pc:chgData name="Deimonmi Nongrum [Chillibreeze]" userId="e937f645-8c95-42a9-a298-dfd645e9a76a" providerId="ADAL" clId="{750E9A50-ACEA-48D3-B2C6-355D5EC56876}" dt="2024-06-13T13:13:40.284" v="6139" actId="962"/>
        <pc:sldMkLst>
          <pc:docMk/>
          <pc:sldMk cId="0" sldId="320"/>
        </pc:sldMkLst>
        <pc:spChg chg="mod ord">
          <ac:chgData name="Deimonmi Nongrum [Chillibreeze]" userId="e937f645-8c95-42a9-a298-dfd645e9a76a" providerId="ADAL" clId="{750E9A50-ACEA-48D3-B2C6-355D5EC56876}" dt="2024-06-13T12:46:59.850" v="6130" actId="700"/>
          <ac:spMkLst>
            <pc:docMk/>
            <pc:sldMk cId="0" sldId="320"/>
            <ac:spMk id="5248" creationId="{00000000-0000-0000-0000-000000000000}"/>
          </ac:spMkLst>
        </pc:spChg>
        <pc:picChg chg="mod ord">
          <ac:chgData name="Deimonmi Nongrum [Chillibreeze]" userId="e937f645-8c95-42a9-a298-dfd645e9a76a" providerId="ADAL" clId="{750E9A50-ACEA-48D3-B2C6-355D5EC56876}" dt="2024-06-13T13:13:40.284" v="6139" actId="962"/>
          <ac:picMkLst>
            <pc:docMk/>
            <pc:sldMk cId="0" sldId="320"/>
            <ac:picMk id="5249" creationId="{00000000-0000-0000-0000-000000000000}"/>
          </ac:picMkLst>
        </pc:picChg>
        <pc:picChg chg="mod ord">
          <ac:chgData name="Deimonmi Nongrum [Chillibreeze]" userId="e937f645-8c95-42a9-a298-dfd645e9a76a" providerId="ADAL" clId="{750E9A50-ACEA-48D3-B2C6-355D5EC56876}" dt="2024-06-13T13:11:41.812" v="6137" actId="962"/>
          <ac:picMkLst>
            <pc:docMk/>
            <pc:sldMk cId="0" sldId="320"/>
            <ac:picMk id="5250" creationId="{00000000-0000-0000-0000-000000000000}"/>
          </ac:picMkLst>
        </pc:picChg>
      </pc:sldChg>
      <pc:sldChg chg="modSp mod modClrScheme chgLayout">
        <pc:chgData name="Deimonmi Nongrum [Chillibreeze]" userId="e937f645-8c95-42a9-a298-dfd645e9a76a" providerId="ADAL" clId="{750E9A50-ACEA-48D3-B2C6-355D5EC56876}" dt="2024-06-13T03:32:54.985" v="525" actId="700"/>
        <pc:sldMkLst>
          <pc:docMk/>
          <pc:sldMk cId="0" sldId="321"/>
        </pc:sldMkLst>
        <pc:spChg chg="mod ord">
          <ac:chgData name="Deimonmi Nongrum [Chillibreeze]" userId="e937f645-8c95-42a9-a298-dfd645e9a76a" providerId="ADAL" clId="{750E9A50-ACEA-48D3-B2C6-355D5EC56876}" dt="2024-06-13T03:32:54.985" v="525" actId="700"/>
          <ac:spMkLst>
            <pc:docMk/>
            <pc:sldMk cId="0" sldId="321"/>
            <ac:spMk id="8" creationId="{81D35526-B0B4-2872-C57F-3FC9711318F6}"/>
          </ac:spMkLst>
        </pc:spChg>
        <pc:spChg chg="mod ord">
          <ac:chgData name="Deimonmi Nongrum [Chillibreeze]" userId="e937f645-8c95-42a9-a298-dfd645e9a76a" providerId="ADAL" clId="{750E9A50-ACEA-48D3-B2C6-355D5EC56876}" dt="2024-06-13T03:32:54.985" v="525" actId="700"/>
          <ac:spMkLst>
            <pc:docMk/>
            <pc:sldMk cId="0" sldId="321"/>
            <ac:spMk id="10" creationId="{441DDFDC-9025-DBC3-9E0F-4FB94C66616B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21"/>
            <ac:spMk id="5255" creationId="{00000000-0000-0000-0000-000000000000}"/>
          </ac:spMkLst>
        </pc:spChg>
      </pc:sldChg>
      <pc:sldChg chg="modSp mod modClrScheme chgLayout">
        <pc:chgData name="Deimonmi Nongrum [Chillibreeze]" userId="e937f645-8c95-42a9-a298-dfd645e9a76a" providerId="ADAL" clId="{750E9A50-ACEA-48D3-B2C6-355D5EC56876}" dt="2024-06-13T13:40:40.524" v="6215" actId="962"/>
        <pc:sldMkLst>
          <pc:docMk/>
          <pc:sldMk cId="0" sldId="322"/>
        </pc:sldMkLst>
        <pc:spChg chg="mod ord">
          <ac:chgData name="Deimonmi Nongrum [Chillibreeze]" userId="e937f645-8c95-42a9-a298-dfd645e9a76a" providerId="ADAL" clId="{750E9A50-ACEA-48D3-B2C6-355D5EC56876}" dt="2024-06-13T12:47:13.493" v="6133" actId="20577"/>
          <ac:spMkLst>
            <pc:docMk/>
            <pc:sldMk cId="0" sldId="322"/>
            <ac:spMk id="5260" creationId="{00000000-0000-0000-0000-000000000000}"/>
          </ac:spMkLst>
        </pc:spChg>
        <pc:picChg chg="mod">
          <ac:chgData name="Deimonmi Nongrum [Chillibreeze]" userId="e937f645-8c95-42a9-a298-dfd645e9a76a" providerId="ADAL" clId="{750E9A50-ACEA-48D3-B2C6-355D5EC56876}" dt="2024-06-13T13:13:52.051" v="6143" actId="962"/>
          <ac:picMkLst>
            <pc:docMk/>
            <pc:sldMk cId="0" sldId="322"/>
            <ac:picMk id="5261" creationId="{00000000-0000-0000-0000-000000000000}"/>
          </ac:picMkLst>
        </pc:picChg>
        <pc:picChg chg="mod">
          <ac:chgData name="Deimonmi Nongrum [Chillibreeze]" userId="e937f645-8c95-42a9-a298-dfd645e9a76a" providerId="ADAL" clId="{750E9A50-ACEA-48D3-B2C6-355D5EC56876}" dt="2024-06-13T13:40:40.524" v="6215" actId="962"/>
          <ac:picMkLst>
            <pc:docMk/>
            <pc:sldMk cId="0" sldId="322"/>
            <ac:picMk id="5262" creationId="{00000000-0000-0000-0000-000000000000}"/>
          </ac:picMkLst>
        </pc:picChg>
      </pc:sldChg>
      <pc:sldChg chg="addSp delSp modSp mod modClrScheme chgLayout">
        <pc:chgData name="Deimonmi Nongrum [Chillibreeze]" userId="e937f645-8c95-42a9-a298-dfd645e9a76a" providerId="ADAL" clId="{750E9A50-ACEA-48D3-B2C6-355D5EC56876}" dt="2024-06-13T11:23:23.759" v="3475" actId="478"/>
        <pc:sldMkLst>
          <pc:docMk/>
          <pc:sldMk cId="0" sldId="323"/>
        </pc:sldMkLst>
        <pc:spChg chg="add del mod ord">
          <ac:chgData name="Deimonmi Nongrum [Chillibreeze]" userId="e937f645-8c95-42a9-a298-dfd645e9a76a" providerId="ADAL" clId="{750E9A50-ACEA-48D3-B2C6-355D5EC56876}" dt="2024-06-13T11:23:12.029" v="3467" actId="6264"/>
          <ac:spMkLst>
            <pc:docMk/>
            <pc:sldMk cId="0" sldId="323"/>
            <ac:spMk id="2" creationId="{2946C6DC-0C69-8233-00E3-DACC43DD41A0}"/>
          </ac:spMkLst>
        </pc:spChg>
        <pc:spChg chg="add del mod">
          <ac:chgData name="Deimonmi Nongrum [Chillibreeze]" userId="e937f645-8c95-42a9-a298-dfd645e9a76a" providerId="ADAL" clId="{750E9A50-ACEA-48D3-B2C6-355D5EC56876}" dt="2024-06-13T11:23:12.029" v="3467" actId="6264"/>
          <ac:spMkLst>
            <pc:docMk/>
            <pc:sldMk cId="0" sldId="323"/>
            <ac:spMk id="3" creationId="{66862D36-5A13-2BD4-8DBC-2BC57BB7EA7F}"/>
          </ac:spMkLst>
        </pc:spChg>
        <pc:spChg chg="add mod ord">
          <ac:chgData name="Deimonmi Nongrum [Chillibreeze]" userId="e937f645-8c95-42a9-a298-dfd645e9a76a" providerId="ADAL" clId="{750E9A50-ACEA-48D3-B2C6-355D5EC56876}" dt="2024-06-13T11:23:21.978" v="3474"/>
          <ac:spMkLst>
            <pc:docMk/>
            <pc:sldMk cId="0" sldId="323"/>
            <ac:spMk id="4" creationId="{158B7EEC-1434-FE77-2A9B-5B2B4E746C95}"/>
          </ac:spMkLst>
        </pc:spChg>
        <pc:spChg chg="mod ord">
          <ac:chgData name="Deimonmi Nongrum [Chillibreeze]" userId="e937f645-8c95-42a9-a298-dfd645e9a76a" providerId="ADAL" clId="{750E9A50-ACEA-48D3-B2C6-355D5EC56876}" dt="2024-06-13T11:23:12.029" v="3467" actId="6264"/>
          <ac:spMkLst>
            <pc:docMk/>
            <pc:sldMk cId="0" sldId="323"/>
            <ac:spMk id="15" creationId="{A23A634B-086B-29F7-CE75-3322C7A64650}"/>
          </ac:spMkLst>
        </pc:spChg>
        <pc:spChg chg="del mod">
          <ac:chgData name="Deimonmi Nongrum [Chillibreeze]" userId="e937f645-8c95-42a9-a298-dfd645e9a76a" providerId="ADAL" clId="{750E9A50-ACEA-48D3-B2C6-355D5EC56876}" dt="2024-06-13T11:23:23.759" v="3475" actId="478"/>
          <ac:spMkLst>
            <pc:docMk/>
            <pc:sldMk cId="0" sldId="323"/>
            <ac:spMk id="22" creationId="{2DF5557B-1BB4-F330-DC8C-674B7D3D3063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23"/>
            <ac:spMk id="5267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23"/>
            <ac:spMk id="5269" creationId="{00000000-0000-0000-0000-000000000000}"/>
          </ac:spMkLst>
        </pc:spChg>
      </pc:sldChg>
      <pc:sldChg chg="addSp delSp modSp mod modClrScheme chgLayout">
        <pc:chgData name="Deimonmi Nongrum [Chillibreeze]" userId="e937f645-8c95-42a9-a298-dfd645e9a76a" providerId="ADAL" clId="{750E9A50-ACEA-48D3-B2C6-355D5EC56876}" dt="2024-06-13T14:28:34.017" v="7310" actId="478"/>
        <pc:sldMkLst>
          <pc:docMk/>
          <pc:sldMk cId="0" sldId="324"/>
        </pc:sldMkLst>
        <pc:spChg chg="add del mod">
          <ac:chgData name="Deimonmi Nongrum [Chillibreeze]" userId="e937f645-8c95-42a9-a298-dfd645e9a76a" providerId="ADAL" clId="{750E9A50-ACEA-48D3-B2C6-355D5EC56876}" dt="2024-06-13T11:24:24.219" v="3477" actId="478"/>
          <ac:spMkLst>
            <pc:docMk/>
            <pc:sldMk cId="0" sldId="324"/>
            <ac:spMk id="3" creationId="{FCF34EAA-031C-08F2-9905-A849055A3953}"/>
          </ac:spMkLst>
        </pc:spChg>
        <pc:spChg chg="del">
          <ac:chgData name="Deimonmi Nongrum [Chillibreeze]" userId="e937f645-8c95-42a9-a298-dfd645e9a76a" providerId="ADAL" clId="{750E9A50-ACEA-48D3-B2C6-355D5EC56876}" dt="2024-06-13T11:24:20.294" v="3476" actId="478"/>
          <ac:spMkLst>
            <pc:docMk/>
            <pc:sldMk cId="0" sldId="324"/>
            <ac:spMk id="10" creationId="{A3334DD9-10EE-E58D-6DD5-F7EA586AE8FC}"/>
          </ac:spMkLst>
        </pc:spChg>
        <pc:spChg chg="del">
          <ac:chgData name="Deimonmi Nongrum [Chillibreeze]" userId="e937f645-8c95-42a9-a298-dfd645e9a76a" providerId="ADAL" clId="{750E9A50-ACEA-48D3-B2C6-355D5EC56876}" dt="2024-06-13T14:28:34.017" v="7310" actId="478"/>
          <ac:spMkLst>
            <pc:docMk/>
            <pc:sldMk cId="0" sldId="324"/>
            <ac:spMk id="16" creationId="{65194275-511C-AEE6-D7A2-9B5EFA69F823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24"/>
            <ac:spMk id="5274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24"/>
            <ac:spMk id="5275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24"/>
            <ac:spMk id="5276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24"/>
            <ac:spMk id="5277" creationId="{00000000-0000-0000-0000-000000000000}"/>
          </ac:spMkLst>
        </pc:spChg>
      </pc:sldChg>
      <pc:sldChg chg="addSp delSp modSp mod modClrScheme chgLayout">
        <pc:chgData name="Deimonmi Nongrum [Chillibreeze]" userId="e937f645-8c95-42a9-a298-dfd645e9a76a" providerId="ADAL" clId="{750E9A50-ACEA-48D3-B2C6-355D5EC56876}" dt="2024-06-13T12:04:20.353" v="4066" actId="20577"/>
        <pc:sldMkLst>
          <pc:docMk/>
          <pc:sldMk cId="0" sldId="325"/>
        </pc:sldMkLst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325"/>
            <ac:spMk id="2" creationId="{8E43F768-C542-6C49-4B4D-F948DA71EF7C}"/>
          </ac:spMkLst>
        </pc:spChg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25"/>
            <ac:spMk id="2" creationId="{DE550325-3274-B076-5F66-2B98A9A93FF1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25"/>
            <ac:spMk id="3" creationId="{08B34382-6749-73CD-D7D0-F5BEB47700E1}"/>
          </ac:spMkLst>
        </pc:spChg>
        <pc:spChg chg="mod ord">
          <ac:chgData name="Deimonmi Nongrum [Chillibreeze]" userId="e937f645-8c95-42a9-a298-dfd645e9a76a" providerId="ADAL" clId="{750E9A50-ACEA-48D3-B2C6-355D5EC56876}" dt="2024-06-13T11:25:21.426" v="3497" actId="167"/>
          <ac:spMkLst>
            <pc:docMk/>
            <pc:sldMk cId="0" sldId="325"/>
            <ac:spMk id="3" creationId="{BE871233-E224-3871-69A9-6389BED115C9}"/>
          </ac:spMkLst>
        </pc:spChg>
        <pc:spChg chg="mod ord">
          <ac:chgData name="Deimonmi Nongrum [Chillibreeze]" userId="e937f645-8c95-42a9-a298-dfd645e9a76a" providerId="ADAL" clId="{750E9A50-ACEA-48D3-B2C6-355D5EC56876}" dt="2024-06-13T11:25:21.426" v="3497" actId="167"/>
          <ac:spMkLst>
            <pc:docMk/>
            <pc:sldMk cId="0" sldId="325"/>
            <ac:spMk id="5" creationId="{41F0EC2E-B522-F679-8B61-29B6F8B43D4D}"/>
          </ac:spMkLst>
        </pc:spChg>
        <pc:spChg chg="mod">
          <ac:chgData name="Deimonmi Nongrum [Chillibreeze]" userId="e937f645-8c95-42a9-a298-dfd645e9a76a" providerId="ADAL" clId="{750E9A50-ACEA-48D3-B2C6-355D5EC56876}" dt="2024-06-13T10:10:28.510" v="1618"/>
          <ac:spMkLst>
            <pc:docMk/>
            <pc:sldMk cId="0" sldId="325"/>
            <ac:spMk id="7" creationId="{95BEF6EB-26FC-0A40-58FE-785F68604884}"/>
          </ac:spMkLst>
        </pc:spChg>
        <pc:spChg chg="mod">
          <ac:chgData name="Deimonmi Nongrum [Chillibreeze]" userId="e937f645-8c95-42a9-a298-dfd645e9a76a" providerId="ADAL" clId="{750E9A50-ACEA-48D3-B2C6-355D5EC56876}" dt="2024-06-13T10:10:28.510" v="1618"/>
          <ac:spMkLst>
            <pc:docMk/>
            <pc:sldMk cId="0" sldId="325"/>
            <ac:spMk id="8" creationId="{4AE16FE6-942A-37F0-2215-82FA25D23155}"/>
          </ac:spMkLst>
        </pc:spChg>
        <pc:spChg chg="mod">
          <ac:chgData name="Deimonmi Nongrum [Chillibreeze]" userId="e937f645-8c95-42a9-a298-dfd645e9a76a" providerId="ADAL" clId="{750E9A50-ACEA-48D3-B2C6-355D5EC56876}" dt="2024-06-13T10:12:04.742" v="1649"/>
          <ac:spMkLst>
            <pc:docMk/>
            <pc:sldMk cId="0" sldId="325"/>
            <ac:spMk id="10" creationId="{A5FB76DE-B192-C7C7-20DF-DAEA271A2428}"/>
          </ac:spMkLst>
        </pc:spChg>
        <pc:spChg chg="mod">
          <ac:chgData name="Deimonmi Nongrum [Chillibreeze]" userId="e937f645-8c95-42a9-a298-dfd645e9a76a" providerId="ADAL" clId="{750E9A50-ACEA-48D3-B2C6-355D5EC56876}" dt="2024-06-13T10:12:04.742" v="1649"/>
          <ac:spMkLst>
            <pc:docMk/>
            <pc:sldMk cId="0" sldId="325"/>
            <ac:spMk id="11" creationId="{3A145435-5C61-9D5B-1BE1-8BC6330FC9F0}"/>
          </ac:spMkLst>
        </pc:spChg>
        <pc:spChg chg="mod">
          <ac:chgData name="Deimonmi Nongrum [Chillibreeze]" userId="e937f645-8c95-42a9-a298-dfd645e9a76a" providerId="ADAL" clId="{750E9A50-ACEA-48D3-B2C6-355D5EC56876}" dt="2024-06-13T10:13:04.750" v="1680"/>
          <ac:spMkLst>
            <pc:docMk/>
            <pc:sldMk cId="0" sldId="325"/>
            <ac:spMk id="13" creationId="{93F62F07-B8EE-BF2E-0957-94C259744E2F}"/>
          </ac:spMkLst>
        </pc:spChg>
        <pc:spChg chg="mod">
          <ac:chgData name="Deimonmi Nongrum [Chillibreeze]" userId="e937f645-8c95-42a9-a298-dfd645e9a76a" providerId="ADAL" clId="{750E9A50-ACEA-48D3-B2C6-355D5EC56876}" dt="2024-06-13T10:13:04.750" v="1680"/>
          <ac:spMkLst>
            <pc:docMk/>
            <pc:sldMk cId="0" sldId="325"/>
            <ac:spMk id="14" creationId="{638ABA8C-DD91-5DF9-3CC0-DBD9A6A73FC4}"/>
          </ac:spMkLst>
        </pc:spChg>
        <pc:spChg chg="ord">
          <ac:chgData name="Deimonmi Nongrum [Chillibreeze]" userId="e937f645-8c95-42a9-a298-dfd645e9a76a" providerId="ADAL" clId="{750E9A50-ACEA-48D3-B2C6-355D5EC56876}" dt="2024-06-13T11:25:29.207" v="3505"/>
          <ac:spMkLst>
            <pc:docMk/>
            <pc:sldMk cId="0" sldId="325"/>
            <ac:spMk id="16" creationId="{6FED2740-5054-0ACE-8F5A-6AD006D66034}"/>
          </ac:spMkLst>
        </pc:spChg>
        <pc:spChg chg="add mod ord">
          <ac:chgData name="Deimonmi Nongrum [Chillibreeze]" userId="e937f645-8c95-42a9-a298-dfd645e9a76a" providerId="ADAL" clId="{750E9A50-ACEA-48D3-B2C6-355D5EC56876}" dt="2024-06-13T11:25:21.426" v="3497" actId="167"/>
          <ac:spMkLst>
            <pc:docMk/>
            <pc:sldMk cId="0" sldId="325"/>
            <ac:spMk id="18" creationId="{4BBD44B1-D95C-6211-0464-F6F0896A9B36}"/>
          </ac:spMkLst>
        </pc:spChg>
        <pc:spChg chg="mod ord topLvl">
          <ac:chgData name="Deimonmi Nongrum [Chillibreeze]" userId="e937f645-8c95-42a9-a298-dfd645e9a76a" providerId="ADAL" clId="{750E9A50-ACEA-48D3-B2C6-355D5EC56876}" dt="2024-06-13T11:25:31.177" v="3507"/>
          <ac:spMkLst>
            <pc:docMk/>
            <pc:sldMk cId="0" sldId="325"/>
            <ac:spMk id="19" creationId="{601885E9-9157-3803-D6CE-AE7BCB57FCF0}"/>
          </ac:spMkLst>
        </pc:spChg>
        <pc:spChg chg="add mod ord">
          <ac:chgData name="Deimonmi Nongrum [Chillibreeze]" userId="e937f645-8c95-42a9-a298-dfd645e9a76a" providerId="ADAL" clId="{750E9A50-ACEA-48D3-B2C6-355D5EC56876}" dt="2024-06-13T11:25:21.426" v="3497" actId="167"/>
          <ac:spMkLst>
            <pc:docMk/>
            <pc:sldMk cId="0" sldId="325"/>
            <ac:spMk id="20" creationId="{21DFB9ED-2828-E0B4-31E9-56DF44B84C68}"/>
          </ac:spMkLst>
        </pc:spChg>
        <pc:spChg chg="mod ord topLvl">
          <ac:chgData name="Deimonmi Nongrum [Chillibreeze]" userId="e937f645-8c95-42a9-a298-dfd645e9a76a" providerId="ADAL" clId="{750E9A50-ACEA-48D3-B2C6-355D5EC56876}" dt="2024-06-13T11:25:31.779" v="3508"/>
          <ac:spMkLst>
            <pc:docMk/>
            <pc:sldMk cId="0" sldId="325"/>
            <ac:spMk id="21" creationId="{C948F333-CF15-9581-17D9-7D9D1B81B2B1}"/>
          </ac:spMkLst>
        </pc:spChg>
        <pc:spChg chg="mod ord topLvl">
          <ac:chgData name="Deimonmi Nongrum [Chillibreeze]" userId="e937f645-8c95-42a9-a298-dfd645e9a76a" providerId="ADAL" clId="{750E9A50-ACEA-48D3-B2C6-355D5EC56876}" dt="2024-06-13T11:25:32.508" v="3509"/>
          <ac:spMkLst>
            <pc:docMk/>
            <pc:sldMk cId="0" sldId="325"/>
            <ac:spMk id="23" creationId="{BA2F5A8C-832E-8BD8-EAB4-5766FED1D4F0}"/>
          </ac:spMkLst>
        </pc:spChg>
        <pc:spChg chg="mod ord">
          <ac:chgData name="Deimonmi Nongrum [Chillibreeze]" userId="e937f645-8c95-42a9-a298-dfd645e9a76a" providerId="ADAL" clId="{750E9A50-ACEA-48D3-B2C6-355D5EC56876}" dt="2024-06-13T12:04:20.353" v="4066" actId="20577"/>
          <ac:spMkLst>
            <pc:docMk/>
            <pc:sldMk cId="0" sldId="325"/>
            <ac:spMk id="24" creationId="{A45B5091-E812-9894-D492-002839083E29}"/>
          </ac:spMkLst>
        </pc:spChg>
        <pc:spChg chg="mod ord topLvl">
          <ac:chgData name="Deimonmi Nongrum [Chillibreeze]" userId="e937f645-8c95-42a9-a298-dfd645e9a76a" providerId="ADAL" clId="{750E9A50-ACEA-48D3-B2C6-355D5EC56876}" dt="2024-06-13T11:25:33.229" v="3510"/>
          <ac:spMkLst>
            <pc:docMk/>
            <pc:sldMk cId="0" sldId="325"/>
            <ac:spMk id="29" creationId="{D4118DE3-65BB-E397-0204-089E14F8E429}"/>
          </ac:spMkLst>
        </pc:spChg>
        <pc:spChg chg="mod">
          <ac:chgData name="Deimonmi Nongrum [Chillibreeze]" userId="e937f645-8c95-42a9-a298-dfd645e9a76a" providerId="ADAL" clId="{750E9A50-ACEA-48D3-B2C6-355D5EC56876}" dt="2024-06-13T10:13:59.958" v="1711"/>
          <ac:spMkLst>
            <pc:docMk/>
            <pc:sldMk cId="0" sldId="325"/>
            <ac:spMk id="31" creationId="{465756C3-A5BC-4440-C901-9EAE930CCA13}"/>
          </ac:spMkLst>
        </pc:spChg>
        <pc:spChg chg="mod">
          <ac:chgData name="Deimonmi Nongrum [Chillibreeze]" userId="e937f645-8c95-42a9-a298-dfd645e9a76a" providerId="ADAL" clId="{750E9A50-ACEA-48D3-B2C6-355D5EC56876}" dt="2024-06-13T10:13:59.958" v="1711"/>
          <ac:spMkLst>
            <pc:docMk/>
            <pc:sldMk cId="0" sldId="325"/>
            <ac:spMk id="32" creationId="{02C84ABA-E65B-1A1B-C781-C0B69BE87AB1}"/>
          </ac:spMkLst>
        </pc:spChg>
        <pc:spChg chg="del mod topLvl">
          <ac:chgData name="Deimonmi Nongrum [Chillibreeze]" userId="e937f645-8c95-42a9-a298-dfd645e9a76a" providerId="ADAL" clId="{750E9A50-ACEA-48D3-B2C6-355D5EC56876}" dt="2024-06-13T10:10:19.042" v="1598"/>
          <ac:spMkLst>
            <pc:docMk/>
            <pc:sldMk cId="0" sldId="325"/>
            <ac:spMk id="34" creationId="{69695FEB-ED74-2FDD-C70F-72251CA35575}"/>
          </ac:spMkLst>
        </pc:spChg>
        <pc:spChg chg="del mod topLvl">
          <ac:chgData name="Deimonmi Nongrum [Chillibreeze]" userId="e937f645-8c95-42a9-a298-dfd645e9a76a" providerId="ADAL" clId="{750E9A50-ACEA-48D3-B2C6-355D5EC56876}" dt="2024-06-13T10:10:19.042" v="1598"/>
          <ac:spMkLst>
            <pc:docMk/>
            <pc:sldMk cId="0" sldId="325"/>
            <ac:spMk id="36" creationId="{6CFE5F62-941D-74E6-B4FD-CEA05BC3234B}"/>
          </ac:spMkLst>
        </pc:spChg>
        <pc:spChg chg="del mod topLvl">
          <ac:chgData name="Deimonmi Nongrum [Chillibreeze]" userId="e937f645-8c95-42a9-a298-dfd645e9a76a" providerId="ADAL" clId="{750E9A50-ACEA-48D3-B2C6-355D5EC56876}" dt="2024-06-13T10:10:19.042" v="1598"/>
          <ac:spMkLst>
            <pc:docMk/>
            <pc:sldMk cId="0" sldId="325"/>
            <ac:spMk id="37" creationId="{693D463A-CB62-A24B-8747-E8DAB0533482}"/>
          </ac:spMkLst>
        </pc:spChg>
        <pc:spChg chg="del mod topLvl">
          <ac:chgData name="Deimonmi Nongrum [Chillibreeze]" userId="e937f645-8c95-42a9-a298-dfd645e9a76a" providerId="ADAL" clId="{750E9A50-ACEA-48D3-B2C6-355D5EC56876}" dt="2024-06-13T10:10:19.042" v="1598"/>
          <ac:spMkLst>
            <pc:docMk/>
            <pc:sldMk cId="0" sldId="325"/>
            <ac:spMk id="38" creationId="{409B5195-9075-1BF9-2A0F-F4DE5AB4E233}"/>
          </ac:spMkLst>
        </pc:spChg>
        <pc:spChg chg="del mod topLvl">
          <ac:chgData name="Deimonmi Nongrum [Chillibreeze]" userId="e937f645-8c95-42a9-a298-dfd645e9a76a" providerId="ADAL" clId="{750E9A50-ACEA-48D3-B2C6-355D5EC56876}" dt="2024-06-13T10:10:19.042" v="1598"/>
          <ac:spMkLst>
            <pc:docMk/>
            <pc:sldMk cId="0" sldId="325"/>
            <ac:spMk id="39" creationId="{C0EF791C-4727-B870-01D5-C68745093F14}"/>
          </ac:spMkLst>
        </pc:spChg>
        <pc:spChg chg="del mod topLvl">
          <ac:chgData name="Deimonmi Nongrum [Chillibreeze]" userId="e937f645-8c95-42a9-a298-dfd645e9a76a" providerId="ADAL" clId="{750E9A50-ACEA-48D3-B2C6-355D5EC56876}" dt="2024-06-13T10:10:19.042" v="1598"/>
          <ac:spMkLst>
            <pc:docMk/>
            <pc:sldMk cId="0" sldId="325"/>
            <ac:spMk id="40" creationId="{16ECDD34-1C93-B0DC-7AE1-851DF57C5938}"/>
          </ac:spMkLst>
        </pc:spChg>
        <pc:spChg chg="del mod topLvl">
          <ac:chgData name="Deimonmi Nongrum [Chillibreeze]" userId="e937f645-8c95-42a9-a298-dfd645e9a76a" providerId="ADAL" clId="{750E9A50-ACEA-48D3-B2C6-355D5EC56876}" dt="2024-06-13T10:10:19.042" v="1598"/>
          <ac:spMkLst>
            <pc:docMk/>
            <pc:sldMk cId="0" sldId="325"/>
            <ac:spMk id="41" creationId="{112A789E-1109-DDBE-7E01-0BD913B71EA4}"/>
          </ac:spMkLst>
        </pc:spChg>
        <pc:spChg chg="del mod topLvl">
          <ac:chgData name="Deimonmi Nongrum [Chillibreeze]" userId="e937f645-8c95-42a9-a298-dfd645e9a76a" providerId="ADAL" clId="{750E9A50-ACEA-48D3-B2C6-355D5EC56876}" dt="2024-06-13T10:10:19.042" v="1598"/>
          <ac:spMkLst>
            <pc:docMk/>
            <pc:sldMk cId="0" sldId="325"/>
            <ac:spMk id="42" creationId="{D30D329B-0D13-0563-B9D4-B3CF5AA02606}"/>
          </ac:spMkLst>
        </pc:spChg>
        <pc:spChg chg="del mod topLvl">
          <ac:chgData name="Deimonmi Nongrum [Chillibreeze]" userId="e937f645-8c95-42a9-a298-dfd645e9a76a" providerId="ADAL" clId="{750E9A50-ACEA-48D3-B2C6-355D5EC56876}" dt="2024-06-13T10:10:19.042" v="1598"/>
          <ac:spMkLst>
            <pc:docMk/>
            <pc:sldMk cId="0" sldId="325"/>
            <ac:spMk id="43" creationId="{86CBCF08-DA08-1398-A860-ADC2D1989629}"/>
          </ac:spMkLst>
        </pc:spChg>
        <pc:spChg chg="del mod topLvl">
          <ac:chgData name="Deimonmi Nongrum [Chillibreeze]" userId="e937f645-8c95-42a9-a298-dfd645e9a76a" providerId="ADAL" clId="{750E9A50-ACEA-48D3-B2C6-355D5EC56876}" dt="2024-06-13T10:10:19.042" v="1598"/>
          <ac:spMkLst>
            <pc:docMk/>
            <pc:sldMk cId="0" sldId="325"/>
            <ac:spMk id="44" creationId="{192F3F41-70D0-1AD8-47D9-C860B2E26624}"/>
          </ac:spMkLst>
        </pc:spChg>
        <pc:spChg chg="mod ord">
          <ac:chgData name="Deimonmi Nongrum [Chillibreeze]" userId="e937f645-8c95-42a9-a298-dfd645e9a76a" providerId="ADAL" clId="{750E9A50-ACEA-48D3-B2C6-355D5EC56876}" dt="2024-06-13T11:25:21.426" v="3497" actId="167"/>
          <ac:spMkLst>
            <pc:docMk/>
            <pc:sldMk cId="0" sldId="325"/>
            <ac:spMk id="45" creationId="{B6135670-35CE-D365-8ED9-2271A09864B2}"/>
          </ac:spMkLst>
        </pc:spChg>
        <pc:spChg chg="del mod">
          <ac:chgData name="Deimonmi Nongrum [Chillibreeze]" userId="e937f645-8c95-42a9-a298-dfd645e9a76a" providerId="ADAL" clId="{750E9A50-ACEA-48D3-B2C6-355D5EC56876}" dt="2024-06-13T10:11:54.843" v="1629"/>
          <ac:spMkLst>
            <pc:docMk/>
            <pc:sldMk cId="0" sldId="325"/>
            <ac:spMk id="49" creationId="{23603B33-22A7-139D-A466-1C5E2F5D0D10}"/>
          </ac:spMkLst>
        </pc:spChg>
        <pc:spChg chg="del mod">
          <ac:chgData name="Deimonmi Nongrum [Chillibreeze]" userId="e937f645-8c95-42a9-a298-dfd645e9a76a" providerId="ADAL" clId="{750E9A50-ACEA-48D3-B2C6-355D5EC56876}" dt="2024-06-13T10:11:54.843" v="1629"/>
          <ac:spMkLst>
            <pc:docMk/>
            <pc:sldMk cId="0" sldId="325"/>
            <ac:spMk id="50" creationId="{51FCB3CD-0B78-6CEA-D612-93AEF9929AB9}"/>
          </ac:spMkLst>
        </pc:spChg>
        <pc:spChg chg="del mod">
          <ac:chgData name="Deimonmi Nongrum [Chillibreeze]" userId="e937f645-8c95-42a9-a298-dfd645e9a76a" providerId="ADAL" clId="{750E9A50-ACEA-48D3-B2C6-355D5EC56876}" dt="2024-06-13T10:11:54.843" v="1629"/>
          <ac:spMkLst>
            <pc:docMk/>
            <pc:sldMk cId="0" sldId="325"/>
            <ac:spMk id="51" creationId="{DB2BE807-F13C-E7BE-61E0-182EB8F119A9}"/>
          </ac:spMkLst>
        </pc:spChg>
        <pc:spChg chg="del mod">
          <ac:chgData name="Deimonmi Nongrum [Chillibreeze]" userId="e937f645-8c95-42a9-a298-dfd645e9a76a" providerId="ADAL" clId="{750E9A50-ACEA-48D3-B2C6-355D5EC56876}" dt="2024-06-13T10:11:54.843" v="1629"/>
          <ac:spMkLst>
            <pc:docMk/>
            <pc:sldMk cId="0" sldId="325"/>
            <ac:spMk id="52" creationId="{7085BDBB-8682-85EF-E2CF-28D074D6CD69}"/>
          </ac:spMkLst>
        </pc:spChg>
        <pc:spChg chg="del mod">
          <ac:chgData name="Deimonmi Nongrum [Chillibreeze]" userId="e937f645-8c95-42a9-a298-dfd645e9a76a" providerId="ADAL" clId="{750E9A50-ACEA-48D3-B2C6-355D5EC56876}" dt="2024-06-13T10:11:54.843" v="1629"/>
          <ac:spMkLst>
            <pc:docMk/>
            <pc:sldMk cId="0" sldId="325"/>
            <ac:spMk id="53" creationId="{9D614434-9ED8-7838-75AF-77A72EFD3036}"/>
          </ac:spMkLst>
        </pc:spChg>
        <pc:spChg chg="del mod">
          <ac:chgData name="Deimonmi Nongrum [Chillibreeze]" userId="e937f645-8c95-42a9-a298-dfd645e9a76a" providerId="ADAL" clId="{750E9A50-ACEA-48D3-B2C6-355D5EC56876}" dt="2024-06-13T10:11:54.843" v="1629"/>
          <ac:spMkLst>
            <pc:docMk/>
            <pc:sldMk cId="0" sldId="325"/>
            <ac:spMk id="54" creationId="{4230C5A3-078D-0300-3AEE-8F183642F6A8}"/>
          </ac:spMkLst>
        </pc:spChg>
        <pc:spChg chg="del mod">
          <ac:chgData name="Deimonmi Nongrum [Chillibreeze]" userId="e937f645-8c95-42a9-a298-dfd645e9a76a" providerId="ADAL" clId="{750E9A50-ACEA-48D3-B2C6-355D5EC56876}" dt="2024-06-13T10:11:54.843" v="1629"/>
          <ac:spMkLst>
            <pc:docMk/>
            <pc:sldMk cId="0" sldId="325"/>
            <ac:spMk id="55" creationId="{5928FF8E-FFFC-771C-374D-29246B554B2A}"/>
          </ac:spMkLst>
        </pc:spChg>
        <pc:spChg chg="del mod">
          <ac:chgData name="Deimonmi Nongrum [Chillibreeze]" userId="e937f645-8c95-42a9-a298-dfd645e9a76a" providerId="ADAL" clId="{750E9A50-ACEA-48D3-B2C6-355D5EC56876}" dt="2024-06-13T10:11:54.843" v="1629"/>
          <ac:spMkLst>
            <pc:docMk/>
            <pc:sldMk cId="0" sldId="325"/>
            <ac:spMk id="56" creationId="{AC83CE8A-3B88-7B28-C39F-F51B385CACB4}"/>
          </ac:spMkLst>
        </pc:spChg>
        <pc:spChg chg="del mod">
          <ac:chgData name="Deimonmi Nongrum [Chillibreeze]" userId="e937f645-8c95-42a9-a298-dfd645e9a76a" providerId="ADAL" clId="{750E9A50-ACEA-48D3-B2C6-355D5EC56876}" dt="2024-06-13T10:11:54.843" v="1629"/>
          <ac:spMkLst>
            <pc:docMk/>
            <pc:sldMk cId="0" sldId="325"/>
            <ac:spMk id="57" creationId="{54CDB93D-2B1C-D994-8B0F-15F5C8F36DF8}"/>
          </ac:spMkLst>
        </pc:spChg>
        <pc:spChg chg="del mod">
          <ac:chgData name="Deimonmi Nongrum [Chillibreeze]" userId="e937f645-8c95-42a9-a298-dfd645e9a76a" providerId="ADAL" clId="{750E9A50-ACEA-48D3-B2C6-355D5EC56876}" dt="2024-06-13T10:11:54.843" v="1629"/>
          <ac:spMkLst>
            <pc:docMk/>
            <pc:sldMk cId="0" sldId="325"/>
            <ac:spMk id="58" creationId="{C88B1921-F865-BABC-DE83-ABD86605C07A}"/>
          </ac:spMkLst>
        </pc:spChg>
        <pc:spChg chg="del mod">
          <ac:chgData name="Deimonmi Nongrum [Chillibreeze]" userId="e937f645-8c95-42a9-a298-dfd645e9a76a" providerId="ADAL" clId="{750E9A50-ACEA-48D3-B2C6-355D5EC56876}" dt="2024-06-13T10:11:54.843" v="1629"/>
          <ac:spMkLst>
            <pc:docMk/>
            <pc:sldMk cId="0" sldId="325"/>
            <ac:spMk id="59" creationId="{3B61340E-BD63-770F-774D-3938E5180A53}"/>
          </ac:spMkLst>
        </pc:spChg>
        <pc:spChg chg="del mod">
          <ac:chgData name="Deimonmi Nongrum [Chillibreeze]" userId="e937f645-8c95-42a9-a298-dfd645e9a76a" providerId="ADAL" clId="{750E9A50-ACEA-48D3-B2C6-355D5EC56876}" dt="2024-06-13T10:11:54.843" v="1629"/>
          <ac:spMkLst>
            <pc:docMk/>
            <pc:sldMk cId="0" sldId="325"/>
            <ac:spMk id="60" creationId="{7E839424-454C-C17D-2C24-CD21BD8C54F7}"/>
          </ac:spMkLst>
        </pc:spChg>
        <pc:spChg chg="del mod">
          <ac:chgData name="Deimonmi Nongrum [Chillibreeze]" userId="e937f645-8c95-42a9-a298-dfd645e9a76a" providerId="ADAL" clId="{750E9A50-ACEA-48D3-B2C6-355D5EC56876}" dt="2024-06-13T10:11:54.843" v="1629"/>
          <ac:spMkLst>
            <pc:docMk/>
            <pc:sldMk cId="0" sldId="325"/>
            <ac:spMk id="61" creationId="{E87FD195-9264-AEAA-2DFB-7F575293C64C}"/>
          </ac:spMkLst>
        </pc:spChg>
        <pc:spChg chg="del mod">
          <ac:chgData name="Deimonmi Nongrum [Chillibreeze]" userId="e937f645-8c95-42a9-a298-dfd645e9a76a" providerId="ADAL" clId="{750E9A50-ACEA-48D3-B2C6-355D5EC56876}" dt="2024-06-13T10:11:54.843" v="1629"/>
          <ac:spMkLst>
            <pc:docMk/>
            <pc:sldMk cId="0" sldId="325"/>
            <ac:spMk id="62" creationId="{5AAA075E-B4BD-275C-FE2B-D79FC94F3D88}"/>
          </ac:spMkLst>
        </pc:spChg>
        <pc:spChg chg="mod ord">
          <ac:chgData name="Deimonmi Nongrum [Chillibreeze]" userId="e937f645-8c95-42a9-a298-dfd645e9a76a" providerId="ADAL" clId="{750E9A50-ACEA-48D3-B2C6-355D5EC56876}" dt="2024-06-13T11:25:21.426" v="3497" actId="167"/>
          <ac:spMkLst>
            <pc:docMk/>
            <pc:sldMk cId="0" sldId="325"/>
            <ac:spMk id="63" creationId="{5762EBE8-7265-C88B-7EE2-6AFCD9D801C3}"/>
          </ac:spMkLst>
        </pc:spChg>
        <pc:spChg chg="del mod">
          <ac:chgData name="Deimonmi Nongrum [Chillibreeze]" userId="e937f645-8c95-42a9-a298-dfd645e9a76a" providerId="ADAL" clId="{750E9A50-ACEA-48D3-B2C6-355D5EC56876}" dt="2024-06-13T10:12:53.509" v="1660"/>
          <ac:spMkLst>
            <pc:docMk/>
            <pc:sldMk cId="0" sldId="325"/>
            <ac:spMk id="67" creationId="{05D13049-D830-4593-CE8F-19D42FBCD5A7}"/>
          </ac:spMkLst>
        </pc:spChg>
        <pc:spChg chg="del mod">
          <ac:chgData name="Deimonmi Nongrum [Chillibreeze]" userId="e937f645-8c95-42a9-a298-dfd645e9a76a" providerId="ADAL" clId="{750E9A50-ACEA-48D3-B2C6-355D5EC56876}" dt="2024-06-13T10:12:53.509" v="1660"/>
          <ac:spMkLst>
            <pc:docMk/>
            <pc:sldMk cId="0" sldId="325"/>
            <ac:spMk id="68" creationId="{5D63A88F-73DB-4CAE-F9D6-747FAFC2E9BB}"/>
          </ac:spMkLst>
        </pc:spChg>
        <pc:spChg chg="del mod">
          <ac:chgData name="Deimonmi Nongrum [Chillibreeze]" userId="e937f645-8c95-42a9-a298-dfd645e9a76a" providerId="ADAL" clId="{750E9A50-ACEA-48D3-B2C6-355D5EC56876}" dt="2024-06-13T10:12:53.509" v="1660"/>
          <ac:spMkLst>
            <pc:docMk/>
            <pc:sldMk cId="0" sldId="325"/>
            <ac:spMk id="69" creationId="{29B30FCB-88A6-2253-A1C2-6DC03745D829}"/>
          </ac:spMkLst>
        </pc:spChg>
        <pc:spChg chg="del mod">
          <ac:chgData name="Deimonmi Nongrum [Chillibreeze]" userId="e937f645-8c95-42a9-a298-dfd645e9a76a" providerId="ADAL" clId="{750E9A50-ACEA-48D3-B2C6-355D5EC56876}" dt="2024-06-13T10:12:53.509" v="1660"/>
          <ac:spMkLst>
            <pc:docMk/>
            <pc:sldMk cId="0" sldId="325"/>
            <ac:spMk id="70" creationId="{37140BFF-FCF3-D976-1117-B75DA79578E5}"/>
          </ac:spMkLst>
        </pc:spChg>
        <pc:spChg chg="del mod">
          <ac:chgData name="Deimonmi Nongrum [Chillibreeze]" userId="e937f645-8c95-42a9-a298-dfd645e9a76a" providerId="ADAL" clId="{750E9A50-ACEA-48D3-B2C6-355D5EC56876}" dt="2024-06-13T10:12:53.509" v="1660"/>
          <ac:spMkLst>
            <pc:docMk/>
            <pc:sldMk cId="0" sldId="325"/>
            <ac:spMk id="71" creationId="{F3DB87E8-AEB2-3603-2830-7B1D390AD739}"/>
          </ac:spMkLst>
        </pc:spChg>
        <pc:spChg chg="del mod">
          <ac:chgData name="Deimonmi Nongrum [Chillibreeze]" userId="e937f645-8c95-42a9-a298-dfd645e9a76a" providerId="ADAL" clId="{750E9A50-ACEA-48D3-B2C6-355D5EC56876}" dt="2024-06-13T10:12:53.509" v="1660"/>
          <ac:spMkLst>
            <pc:docMk/>
            <pc:sldMk cId="0" sldId="325"/>
            <ac:spMk id="72" creationId="{15708AC3-95D0-6B44-C4F7-3E7C2C3D42F0}"/>
          </ac:spMkLst>
        </pc:spChg>
        <pc:spChg chg="del mod">
          <ac:chgData name="Deimonmi Nongrum [Chillibreeze]" userId="e937f645-8c95-42a9-a298-dfd645e9a76a" providerId="ADAL" clId="{750E9A50-ACEA-48D3-B2C6-355D5EC56876}" dt="2024-06-13T10:12:53.509" v="1660"/>
          <ac:spMkLst>
            <pc:docMk/>
            <pc:sldMk cId="0" sldId="325"/>
            <ac:spMk id="73" creationId="{8139DAB4-3CA1-64CF-9F22-DA0EBD6512B1}"/>
          </ac:spMkLst>
        </pc:spChg>
        <pc:spChg chg="del mod">
          <ac:chgData name="Deimonmi Nongrum [Chillibreeze]" userId="e937f645-8c95-42a9-a298-dfd645e9a76a" providerId="ADAL" clId="{750E9A50-ACEA-48D3-B2C6-355D5EC56876}" dt="2024-06-13T10:12:53.509" v="1660"/>
          <ac:spMkLst>
            <pc:docMk/>
            <pc:sldMk cId="0" sldId="325"/>
            <ac:spMk id="74" creationId="{FEF4ADBC-5A4A-3E66-4EDE-A8EC71109E82}"/>
          </ac:spMkLst>
        </pc:spChg>
        <pc:spChg chg="del mod">
          <ac:chgData name="Deimonmi Nongrum [Chillibreeze]" userId="e937f645-8c95-42a9-a298-dfd645e9a76a" providerId="ADAL" clId="{750E9A50-ACEA-48D3-B2C6-355D5EC56876}" dt="2024-06-13T10:12:53.509" v="1660"/>
          <ac:spMkLst>
            <pc:docMk/>
            <pc:sldMk cId="0" sldId="325"/>
            <ac:spMk id="75" creationId="{2C5CBEDF-D0CB-0164-31CC-2A28E23361DB}"/>
          </ac:spMkLst>
        </pc:spChg>
        <pc:spChg chg="del mod">
          <ac:chgData name="Deimonmi Nongrum [Chillibreeze]" userId="e937f645-8c95-42a9-a298-dfd645e9a76a" providerId="ADAL" clId="{750E9A50-ACEA-48D3-B2C6-355D5EC56876}" dt="2024-06-13T10:12:53.509" v="1660"/>
          <ac:spMkLst>
            <pc:docMk/>
            <pc:sldMk cId="0" sldId="325"/>
            <ac:spMk id="76" creationId="{41EE78FB-97C7-374C-BC07-47C1A191FDFD}"/>
          </ac:spMkLst>
        </pc:spChg>
        <pc:spChg chg="mod ord">
          <ac:chgData name="Deimonmi Nongrum [Chillibreeze]" userId="e937f645-8c95-42a9-a298-dfd645e9a76a" providerId="ADAL" clId="{750E9A50-ACEA-48D3-B2C6-355D5EC56876}" dt="2024-06-13T11:25:21.426" v="3497" actId="167"/>
          <ac:spMkLst>
            <pc:docMk/>
            <pc:sldMk cId="0" sldId="325"/>
            <ac:spMk id="77" creationId="{8E7D230B-1197-9319-CCE1-3EC94D1BB468}"/>
          </ac:spMkLst>
        </pc:spChg>
        <pc:spChg chg="add del mod">
          <ac:chgData name="Deimonmi Nongrum [Chillibreeze]" userId="e937f645-8c95-42a9-a298-dfd645e9a76a" providerId="ADAL" clId="{750E9A50-ACEA-48D3-B2C6-355D5EC56876}" dt="2024-06-13T11:40:47.832" v="3752" actId="478"/>
          <ac:spMkLst>
            <pc:docMk/>
            <pc:sldMk cId="0" sldId="325"/>
            <ac:spMk id="80" creationId="{A2CCF724-FA4D-5105-DC8A-E3EFFE316E08}"/>
          </ac:spMkLst>
        </pc:spChg>
        <pc:grpChg chg="mod ord topLvl">
          <ac:chgData name="Deimonmi Nongrum [Chillibreeze]" userId="e937f645-8c95-42a9-a298-dfd645e9a76a" providerId="ADAL" clId="{750E9A50-ACEA-48D3-B2C6-355D5EC56876}" dt="2024-06-13T11:25:21.426" v="3497" actId="167"/>
          <ac:grpSpMkLst>
            <pc:docMk/>
            <pc:sldMk cId="0" sldId="325"/>
            <ac:grpSpMk id="6" creationId="{53D46360-60AD-559B-F65A-AEAB14251763}"/>
          </ac:grpSpMkLst>
        </pc:grpChg>
        <pc:grpChg chg="mod ord topLvl">
          <ac:chgData name="Deimonmi Nongrum [Chillibreeze]" userId="e937f645-8c95-42a9-a298-dfd645e9a76a" providerId="ADAL" clId="{750E9A50-ACEA-48D3-B2C6-355D5EC56876}" dt="2024-06-13T11:25:21.426" v="3497" actId="167"/>
          <ac:grpSpMkLst>
            <pc:docMk/>
            <pc:sldMk cId="0" sldId="325"/>
            <ac:grpSpMk id="9" creationId="{721BF4E6-73C1-A0BB-8CCC-A6567E197A0A}"/>
          </ac:grpSpMkLst>
        </pc:grpChg>
        <pc:grpChg chg="mod ord topLvl">
          <ac:chgData name="Deimonmi Nongrum [Chillibreeze]" userId="e937f645-8c95-42a9-a298-dfd645e9a76a" providerId="ADAL" clId="{750E9A50-ACEA-48D3-B2C6-355D5EC56876}" dt="2024-06-13T11:25:21.426" v="3497" actId="167"/>
          <ac:grpSpMkLst>
            <pc:docMk/>
            <pc:sldMk cId="0" sldId="325"/>
            <ac:grpSpMk id="12" creationId="{C28AD939-1080-FDFC-B89A-3D0048661DB5}"/>
          </ac:grpSpMkLst>
        </pc:grpChg>
        <pc:grpChg chg="del">
          <ac:chgData name="Deimonmi Nongrum [Chillibreeze]" userId="e937f645-8c95-42a9-a298-dfd645e9a76a" providerId="ADAL" clId="{750E9A50-ACEA-48D3-B2C6-355D5EC56876}" dt="2024-06-13T10:09:40.848" v="1592" actId="165"/>
          <ac:grpSpMkLst>
            <pc:docMk/>
            <pc:sldMk cId="0" sldId="325"/>
            <ac:grpSpMk id="25" creationId="{DCEF7519-AA49-224D-5908-191D75B4935D}"/>
          </ac:grpSpMkLst>
        </pc:grpChg>
        <pc:grpChg chg="del">
          <ac:chgData name="Deimonmi Nongrum [Chillibreeze]" userId="e937f645-8c95-42a9-a298-dfd645e9a76a" providerId="ADAL" clId="{750E9A50-ACEA-48D3-B2C6-355D5EC56876}" dt="2024-06-13T10:09:40.848" v="1592" actId="165"/>
          <ac:grpSpMkLst>
            <pc:docMk/>
            <pc:sldMk cId="0" sldId="325"/>
            <ac:grpSpMk id="26" creationId="{DB911C4D-DE66-C9CF-0C63-57F79C2E503D}"/>
          </ac:grpSpMkLst>
        </pc:grpChg>
        <pc:grpChg chg="del">
          <ac:chgData name="Deimonmi Nongrum [Chillibreeze]" userId="e937f645-8c95-42a9-a298-dfd645e9a76a" providerId="ADAL" clId="{750E9A50-ACEA-48D3-B2C6-355D5EC56876}" dt="2024-06-13T10:09:40.848" v="1592" actId="165"/>
          <ac:grpSpMkLst>
            <pc:docMk/>
            <pc:sldMk cId="0" sldId="325"/>
            <ac:grpSpMk id="27" creationId="{910696CA-B2CD-23A9-261B-6BD2EABC0D0B}"/>
          </ac:grpSpMkLst>
        </pc:grpChg>
        <pc:grpChg chg="mod ord topLvl">
          <ac:chgData name="Deimonmi Nongrum [Chillibreeze]" userId="e937f645-8c95-42a9-a298-dfd645e9a76a" providerId="ADAL" clId="{750E9A50-ACEA-48D3-B2C6-355D5EC56876}" dt="2024-06-13T11:25:21.426" v="3497" actId="167"/>
          <ac:grpSpMkLst>
            <pc:docMk/>
            <pc:sldMk cId="0" sldId="325"/>
            <ac:grpSpMk id="28" creationId="{D005A554-CA48-AD32-F676-FB754D46D1EB}"/>
          </ac:grpSpMkLst>
        </pc:grpChg>
        <pc:grpChg chg="del mod">
          <ac:chgData name="Deimonmi Nongrum [Chillibreeze]" userId="e937f645-8c95-42a9-a298-dfd645e9a76a" providerId="ADAL" clId="{750E9A50-ACEA-48D3-B2C6-355D5EC56876}" dt="2024-06-13T10:10:15.803" v="1596" actId="165"/>
          <ac:grpSpMkLst>
            <pc:docMk/>
            <pc:sldMk cId="0" sldId="325"/>
            <ac:grpSpMk id="33" creationId="{261D3229-E643-28CE-2D1A-067B7AF4F127}"/>
          </ac:grpSpMkLst>
        </pc:grpChg>
        <pc:grpChg chg="del">
          <ac:chgData name="Deimonmi Nongrum [Chillibreeze]" userId="e937f645-8c95-42a9-a298-dfd645e9a76a" providerId="ADAL" clId="{750E9A50-ACEA-48D3-B2C6-355D5EC56876}" dt="2024-06-13T10:09:40.848" v="1592" actId="165"/>
          <ac:grpSpMkLst>
            <pc:docMk/>
            <pc:sldMk cId="0" sldId="325"/>
            <ac:grpSpMk id="35" creationId="{A18CD075-E72F-609C-45E3-D18591CF1842}"/>
          </ac:grpSpMkLst>
        </pc:grpChg>
        <pc:grpChg chg="del mod">
          <ac:chgData name="Deimonmi Nongrum [Chillibreeze]" userId="e937f645-8c95-42a9-a298-dfd645e9a76a" providerId="ADAL" clId="{750E9A50-ACEA-48D3-B2C6-355D5EC56876}" dt="2024-06-13T10:11:53.045" v="1628" actId="27803"/>
          <ac:grpSpMkLst>
            <pc:docMk/>
            <pc:sldMk cId="0" sldId="325"/>
            <ac:grpSpMk id="48" creationId="{20CF57F3-7FEE-CE91-21C1-ADB3C9E91AB6}"/>
          </ac:grpSpMkLst>
        </pc:grpChg>
        <pc:grpChg chg="del mod">
          <ac:chgData name="Deimonmi Nongrum [Chillibreeze]" userId="e937f645-8c95-42a9-a298-dfd645e9a76a" providerId="ADAL" clId="{750E9A50-ACEA-48D3-B2C6-355D5EC56876}" dt="2024-06-13T10:12:51.198" v="1659" actId="27803"/>
          <ac:grpSpMkLst>
            <pc:docMk/>
            <pc:sldMk cId="0" sldId="325"/>
            <ac:grpSpMk id="66" creationId="{5D74863A-ECDD-6BBB-7963-64605F5E3AF2}"/>
          </ac:grpSpMkLst>
        </pc:grpChg>
        <pc:picChg chg="add mod ord">
          <ac:chgData name="Deimonmi Nongrum [Chillibreeze]" userId="e937f645-8c95-42a9-a298-dfd645e9a76a" providerId="ADAL" clId="{750E9A50-ACEA-48D3-B2C6-355D5EC56876}" dt="2024-06-13T11:25:21.426" v="3497" actId="167"/>
          <ac:picMkLst>
            <pc:docMk/>
            <pc:sldMk cId="0" sldId="325"/>
            <ac:picMk id="2" creationId="{36224C55-D071-67D3-F410-37A43FEBA5F2}"/>
          </ac:picMkLst>
        </pc:picChg>
        <pc:picChg chg="ord">
          <ac:chgData name="Deimonmi Nongrum [Chillibreeze]" userId="e937f645-8c95-42a9-a298-dfd645e9a76a" providerId="ADAL" clId="{750E9A50-ACEA-48D3-B2C6-355D5EC56876}" dt="2024-06-13T11:25:28.226" v="3504"/>
          <ac:picMkLst>
            <pc:docMk/>
            <pc:sldMk cId="0" sldId="325"/>
            <ac:picMk id="15" creationId="{73D6B759-913C-AB11-8848-EC5471A1E4EA}"/>
          </ac:picMkLst>
        </pc:picChg>
        <pc:picChg chg="ord">
          <ac:chgData name="Deimonmi Nongrum [Chillibreeze]" userId="e937f645-8c95-42a9-a298-dfd645e9a76a" providerId="ADAL" clId="{750E9A50-ACEA-48D3-B2C6-355D5EC56876}" dt="2024-06-13T11:25:30.210" v="3506"/>
          <ac:picMkLst>
            <pc:docMk/>
            <pc:sldMk cId="0" sldId="325"/>
            <ac:picMk id="17" creationId="{12CC2F8D-54BF-2B79-8A5A-974376589643}"/>
          </ac:picMkLst>
        </pc:picChg>
        <pc:picChg chg="add del mod">
          <ac:chgData name="Deimonmi Nongrum [Chillibreeze]" userId="e937f645-8c95-42a9-a298-dfd645e9a76a" providerId="ADAL" clId="{750E9A50-ACEA-48D3-B2C6-355D5EC56876}" dt="2024-06-13T10:10:15.227" v="1595" actId="27803"/>
          <ac:picMkLst>
            <pc:docMk/>
            <pc:sldMk cId="0" sldId="325"/>
            <ac:picMk id="30" creationId="{529A1999-57AE-FDA2-18EC-07E377CF3B70}"/>
          </ac:picMkLst>
        </pc:picChg>
        <pc:picChg chg="add del mod">
          <ac:chgData name="Deimonmi Nongrum [Chillibreeze]" userId="e937f645-8c95-42a9-a298-dfd645e9a76a" providerId="ADAL" clId="{750E9A50-ACEA-48D3-B2C6-355D5EC56876}" dt="2024-06-13T10:11:53.045" v="1628" actId="27803"/>
          <ac:picMkLst>
            <pc:docMk/>
            <pc:sldMk cId="0" sldId="325"/>
            <ac:picMk id="47" creationId="{CC3D884C-F5F3-EAF4-97D1-1F3965A816C0}"/>
          </ac:picMkLst>
        </pc:picChg>
        <pc:picChg chg="add del mod">
          <ac:chgData name="Deimonmi Nongrum [Chillibreeze]" userId="e937f645-8c95-42a9-a298-dfd645e9a76a" providerId="ADAL" clId="{750E9A50-ACEA-48D3-B2C6-355D5EC56876}" dt="2024-06-13T10:12:51.198" v="1659" actId="27803"/>
          <ac:picMkLst>
            <pc:docMk/>
            <pc:sldMk cId="0" sldId="325"/>
            <ac:picMk id="65" creationId="{241CF420-C681-074B-984F-EFC57F8201D1}"/>
          </ac:picMkLst>
        </pc:picChg>
        <pc:picChg chg="add mod ord">
          <ac:chgData name="Deimonmi Nongrum [Chillibreeze]" userId="e937f645-8c95-42a9-a298-dfd645e9a76a" providerId="ADAL" clId="{750E9A50-ACEA-48D3-B2C6-355D5EC56876}" dt="2024-06-13T11:25:21.426" v="3497" actId="167"/>
          <ac:picMkLst>
            <pc:docMk/>
            <pc:sldMk cId="0" sldId="325"/>
            <ac:picMk id="79" creationId="{3E67966A-AEA7-CB52-5FE2-0BD29B535528}"/>
          </ac:picMkLst>
        </pc:picChg>
        <pc:cxnChg chg="mod ord">
          <ac:chgData name="Deimonmi Nongrum [Chillibreeze]" userId="e937f645-8c95-42a9-a298-dfd645e9a76a" providerId="ADAL" clId="{750E9A50-ACEA-48D3-B2C6-355D5EC56876}" dt="2024-06-13T11:25:21.426" v="3497" actId="167"/>
          <ac:cxnSpMkLst>
            <pc:docMk/>
            <pc:sldMk cId="0" sldId="325"/>
            <ac:cxnSpMk id="4" creationId="{EA72C002-0A2E-94B8-576C-1D2AD36A52DF}"/>
          </ac:cxnSpMkLst>
        </pc:cxnChg>
      </pc:sldChg>
      <pc:sldChg chg="addSp delSp modSp mod modClrScheme chgLayout">
        <pc:chgData name="Deimonmi Nongrum [Chillibreeze]" userId="e937f645-8c95-42a9-a298-dfd645e9a76a" providerId="ADAL" clId="{750E9A50-ACEA-48D3-B2C6-355D5EC56876}" dt="2024-06-13T14:28:50.258" v="7312" actId="207"/>
        <pc:sldMkLst>
          <pc:docMk/>
          <pc:sldMk cId="0" sldId="326"/>
        </pc:sldMkLst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326"/>
            <ac:spMk id="2" creationId="{1514BF5A-3551-C356-1C92-D66F3D271906}"/>
          </ac:spMkLst>
        </pc:spChg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26"/>
            <ac:spMk id="2" creationId="{5C3D149E-7D56-3BD7-D500-3C6C4A8DD1CD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26"/>
            <ac:spMk id="3" creationId="{885DC5AA-3500-408A-28BD-7D05F6B03DAC}"/>
          </ac:spMkLst>
        </pc:spChg>
        <pc:spChg chg="mod ord">
          <ac:chgData name="Deimonmi Nongrum [Chillibreeze]" userId="e937f645-8c95-42a9-a298-dfd645e9a76a" providerId="ADAL" clId="{750E9A50-ACEA-48D3-B2C6-355D5EC56876}" dt="2024-06-13T14:28:50.258" v="7312" actId="207"/>
          <ac:spMkLst>
            <pc:docMk/>
            <pc:sldMk cId="0" sldId="326"/>
            <ac:spMk id="3" creationId="{D22C4184-C8F0-3879-23D7-6840046573E7}"/>
          </ac:spMkLst>
        </pc:spChg>
        <pc:spChg chg="mod ord">
          <ac:chgData name="Deimonmi Nongrum [Chillibreeze]" userId="e937f645-8c95-42a9-a298-dfd645e9a76a" providerId="ADAL" clId="{750E9A50-ACEA-48D3-B2C6-355D5EC56876}" dt="2024-06-13T11:24:55.842" v="3484" actId="167"/>
          <ac:spMkLst>
            <pc:docMk/>
            <pc:sldMk cId="0" sldId="326"/>
            <ac:spMk id="4" creationId="{A30AFEE0-D64B-8CE0-B0B9-EA2185599998}"/>
          </ac:spMkLst>
        </pc:spChg>
        <pc:spChg chg="mod ord">
          <ac:chgData name="Deimonmi Nongrum [Chillibreeze]" userId="e937f645-8c95-42a9-a298-dfd645e9a76a" providerId="ADAL" clId="{750E9A50-ACEA-48D3-B2C6-355D5EC56876}" dt="2024-06-13T11:24:55.842" v="3484" actId="167"/>
          <ac:spMkLst>
            <pc:docMk/>
            <pc:sldMk cId="0" sldId="326"/>
            <ac:spMk id="6" creationId="{FC4BE4C6-051F-F4F6-8504-3461168B43A2}"/>
          </ac:spMkLst>
        </pc:spChg>
        <pc:spChg chg="ord">
          <ac:chgData name="Deimonmi Nongrum [Chillibreeze]" userId="e937f645-8c95-42a9-a298-dfd645e9a76a" providerId="ADAL" clId="{750E9A50-ACEA-48D3-B2C6-355D5EC56876}" dt="2024-06-13T11:25:03.181" v="3490"/>
          <ac:spMkLst>
            <pc:docMk/>
            <pc:sldMk cId="0" sldId="326"/>
            <ac:spMk id="8" creationId="{2B8D49B1-B12E-5477-19E8-C91CB59E7265}"/>
          </ac:spMkLst>
        </pc:spChg>
        <pc:spChg chg="mod ord topLvl">
          <ac:chgData name="Deimonmi Nongrum [Chillibreeze]" userId="e937f645-8c95-42a9-a298-dfd645e9a76a" providerId="ADAL" clId="{750E9A50-ACEA-48D3-B2C6-355D5EC56876}" dt="2024-06-13T11:25:04.494" v="3492"/>
          <ac:spMkLst>
            <pc:docMk/>
            <pc:sldMk cId="0" sldId="326"/>
            <ac:spMk id="12" creationId="{B99D7287-C973-89C0-4A40-55765BC7770D}"/>
          </ac:spMkLst>
        </pc:spChg>
        <pc:spChg chg="mod">
          <ac:chgData name="Deimonmi Nongrum [Chillibreeze]" userId="e937f645-8c95-42a9-a298-dfd645e9a76a" providerId="ADAL" clId="{750E9A50-ACEA-48D3-B2C6-355D5EC56876}" dt="2024-06-13T10:07:10.920" v="1513" actId="165"/>
          <ac:spMkLst>
            <pc:docMk/>
            <pc:sldMk cId="0" sldId="326"/>
            <ac:spMk id="13" creationId="{0F11976C-F16B-F76F-C6DF-76C880781D6C}"/>
          </ac:spMkLst>
        </pc:spChg>
        <pc:spChg chg="mod">
          <ac:chgData name="Deimonmi Nongrum [Chillibreeze]" userId="e937f645-8c95-42a9-a298-dfd645e9a76a" providerId="ADAL" clId="{750E9A50-ACEA-48D3-B2C6-355D5EC56876}" dt="2024-06-13T10:07:10.920" v="1513" actId="165"/>
          <ac:spMkLst>
            <pc:docMk/>
            <pc:sldMk cId="0" sldId="326"/>
            <ac:spMk id="14" creationId="{1C888A36-D0AC-43D4-3C27-18E76B210108}"/>
          </ac:spMkLst>
        </pc:spChg>
        <pc:spChg chg="mod ord topLvl">
          <ac:chgData name="Deimonmi Nongrum [Chillibreeze]" userId="e937f645-8c95-42a9-a298-dfd645e9a76a" providerId="ADAL" clId="{750E9A50-ACEA-48D3-B2C6-355D5EC56876}" dt="2024-06-13T11:25:05.007" v="3493"/>
          <ac:spMkLst>
            <pc:docMk/>
            <pc:sldMk cId="0" sldId="326"/>
            <ac:spMk id="17" creationId="{1FC0648B-3C73-FF3C-9DDA-88862BEA0DBB}"/>
          </ac:spMkLst>
        </pc:spChg>
        <pc:spChg chg="mod">
          <ac:chgData name="Deimonmi Nongrum [Chillibreeze]" userId="e937f645-8c95-42a9-a298-dfd645e9a76a" providerId="ADAL" clId="{750E9A50-ACEA-48D3-B2C6-355D5EC56876}" dt="2024-06-13T10:07:48.222" v="1538"/>
          <ac:spMkLst>
            <pc:docMk/>
            <pc:sldMk cId="0" sldId="326"/>
            <ac:spMk id="18" creationId="{30C53A9C-7A24-C589-1B09-8A34E438D7CA}"/>
          </ac:spMkLst>
        </pc:spChg>
        <pc:spChg chg="mod">
          <ac:chgData name="Deimonmi Nongrum [Chillibreeze]" userId="e937f645-8c95-42a9-a298-dfd645e9a76a" providerId="ADAL" clId="{750E9A50-ACEA-48D3-B2C6-355D5EC56876}" dt="2024-06-13T10:07:48.222" v="1538"/>
          <ac:spMkLst>
            <pc:docMk/>
            <pc:sldMk cId="0" sldId="326"/>
            <ac:spMk id="19" creationId="{8862C80D-7369-A2C5-8F6C-AF8268D2E3D0}"/>
          </ac:spMkLst>
        </pc:spChg>
        <pc:spChg chg="mod ord topLvl">
          <ac:chgData name="Deimonmi Nongrum [Chillibreeze]" userId="e937f645-8c95-42a9-a298-dfd645e9a76a" providerId="ADAL" clId="{750E9A50-ACEA-48D3-B2C6-355D5EC56876}" dt="2024-06-13T11:25:05.756" v="3494"/>
          <ac:spMkLst>
            <pc:docMk/>
            <pc:sldMk cId="0" sldId="326"/>
            <ac:spMk id="22" creationId="{A2FC5AD5-3A18-FD2B-C97B-124A52A7CCB4}"/>
          </ac:spMkLst>
        </pc:spChg>
        <pc:spChg chg="mod">
          <ac:chgData name="Deimonmi Nongrum [Chillibreeze]" userId="e937f645-8c95-42a9-a298-dfd645e9a76a" providerId="ADAL" clId="{750E9A50-ACEA-48D3-B2C6-355D5EC56876}" dt="2024-06-13T10:08:23.973" v="1571"/>
          <ac:spMkLst>
            <pc:docMk/>
            <pc:sldMk cId="0" sldId="326"/>
            <ac:spMk id="23" creationId="{EB7D3934-9999-1220-83BB-4D6F5D7E85E4}"/>
          </ac:spMkLst>
        </pc:spChg>
        <pc:spChg chg="mod">
          <ac:chgData name="Deimonmi Nongrum [Chillibreeze]" userId="e937f645-8c95-42a9-a298-dfd645e9a76a" providerId="ADAL" clId="{750E9A50-ACEA-48D3-B2C6-355D5EC56876}" dt="2024-06-13T10:08:23.973" v="1571"/>
          <ac:spMkLst>
            <pc:docMk/>
            <pc:sldMk cId="0" sldId="326"/>
            <ac:spMk id="24" creationId="{F46E385E-3155-09B6-BFDA-230CE57DA5D9}"/>
          </ac:spMkLst>
        </pc:spChg>
        <pc:spChg chg="mod ord">
          <ac:chgData name="Deimonmi Nongrum [Chillibreeze]" userId="e937f645-8c95-42a9-a298-dfd645e9a76a" providerId="ADAL" clId="{750E9A50-ACEA-48D3-B2C6-355D5EC56876}" dt="2024-06-13T11:24:55.842" v="3484" actId="167"/>
          <ac:spMkLst>
            <pc:docMk/>
            <pc:sldMk cId="0" sldId="326"/>
            <ac:spMk id="26" creationId="{12F39BAC-7369-2049-DFA3-769772128D95}"/>
          </ac:spMkLst>
        </pc:spChg>
        <pc:spChg chg="mod ord">
          <ac:chgData name="Deimonmi Nongrum [Chillibreeze]" userId="e937f645-8c95-42a9-a298-dfd645e9a76a" providerId="ADAL" clId="{750E9A50-ACEA-48D3-B2C6-355D5EC56876}" dt="2024-06-13T11:24:55.842" v="3484" actId="167"/>
          <ac:spMkLst>
            <pc:docMk/>
            <pc:sldMk cId="0" sldId="326"/>
            <ac:spMk id="29" creationId="{C773F581-52D0-4FF2-41DC-EAF18CE015F8}"/>
          </ac:spMkLst>
        </pc:spChg>
        <pc:spChg chg="del mod topLvl">
          <ac:chgData name="Deimonmi Nongrum [Chillibreeze]" userId="e937f645-8c95-42a9-a298-dfd645e9a76a" providerId="ADAL" clId="{750E9A50-ACEA-48D3-B2C6-355D5EC56876}" dt="2024-06-13T10:08:12.324" v="1551"/>
          <ac:spMkLst>
            <pc:docMk/>
            <pc:sldMk cId="0" sldId="326"/>
            <ac:spMk id="33" creationId="{88017A56-B4A6-73F5-EA16-90E4C01FCBFD}"/>
          </ac:spMkLst>
        </pc:spChg>
        <pc:spChg chg="del mod topLvl">
          <ac:chgData name="Deimonmi Nongrum [Chillibreeze]" userId="e937f645-8c95-42a9-a298-dfd645e9a76a" providerId="ADAL" clId="{750E9A50-ACEA-48D3-B2C6-355D5EC56876}" dt="2024-06-13T10:08:12.324" v="1551"/>
          <ac:spMkLst>
            <pc:docMk/>
            <pc:sldMk cId="0" sldId="326"/>
            <ac:spMk id="34" creationId="{F37CAC6E-FE6C-82C1-CD17-9634205FEB71}"/>
          </ac:spMkLst>
        </pc:spChg>
        <pc:spChg chg="del mod topLvl">
          <ac:chgData name="Deimonmi Nongrum [Chillibreeze]" userId="e937f645-8c95-42a9-a298-dfd645e9a76a" providerId="ADAL" clId="{750E9A50-ACEA-48D3-B2C6-355D5EC56876}" dt="2024-06-13T10:08:12.324" v="1551"/>
          <ac:spMkLst>
            <pc:docMk/>
            <pc:sldMk cId="0" sldId="326"/>
            <ac:spMk id="35" creationId="{69D53E29-288D-C010-41EC-D5A5E30009CE}"/>
          </ac:spMkLst>
        </pc:spChg>
        <pc:spChg chg="del mod topLvl">
          <ac:chgData name="Deimonmi Nongrum [Chillibreeze]" userId="e937f645-8c95-42a9-a298-dfd645e9a76a" providerId="ADAL" clId="{750E9A50-ACEA-48D3-B2C6-355D5EC56876}" dt="2024-06-13T10:08:12.324" v="1551"/>
          <ac:spMkLst>
            <pc:docMk/>
            <pc:sldMk cId="0" sldId="326"/>
            <ac:spMk id="36" creationId="{8B268B64-1EAD-A9B8-E55C-F039F191C81B}"/>
          </ac:spMkLst>
        </pc:spChg>
        <pc:spChg chg="del mod topLvl">
          <ac:chgData name="Deimonmi Nongrum [Chillibreeze]" userId="e937f645-8c95-42a9-a298-dfd645e9a76a" providerId="ADAL" clId="{750E9A50-ACEA-48D3-B2C6-355D5EC56876}" dt="2024-06-13T10:08:12.324" v="1551"/>
          <ac:spMkLst>
            <pc:docMk/>
            <pc:sldMk cId="0" sldId="326"/>
            <ac:spMk id="37" creationId="{AF7B7151-AEE2-8924-BA7B-6342AB248098}"/>
          </ac:spMkLst>
        </pc:spChg>
        <pc:spChg chg="del mod topLvl">
          <ac:chgData name="Deimonmi Nongrum [Chillibreeze]" userId="e937f645-8c95-42a9-a298-dfd645e9a76a" providerId="ADAL" clId="{750E9A50-ACEA-48D3-B2C6-355D5EC56876}" dt="2024-06-13T10:08:12.324" v="1551"/>
          <ac:spMkLst>
            <pc:docMk/>
            <pc:sldMk cId="0" sldId="326"/>
            <ac:spMk id="38" creationId="{DA562F8A-58E8-4ED6-A395-AB8D51B8EACB}"/>
          </ac:spMkLst>
        </pc:spChg>
        <pc:spChg chg="mod ord">
          <ac:chgData name="Deimonmi Nongrum [Chillibreeze]" userId="e937f645-8c95-42a9-a298-dfd645e9a76a" providerId="ADAL" clId="{750E9A50-ACEA-48D3-B2C6-355D5EC56876}" dt="2024-06-13T11:24:55.842" v="3484" actId="167"/>
          <ac:spMkLst>
            <pc:docMk/>
            <pc:sldMk cId="0" sldId="326"/>
            <ac:spMk id="39" creationId="{9F6672E8-6F49-8279-C16B-B4C929A381FB}"/>
          </ac:spMkLst>
        </pc:spChg>
        <pc:spChg chg="add del mod ord">
          <ac:chgData name="Deimonmi Nongrum [Chillibreeze]" userId="e937f645-8c95-42a9-a298-dfd645e9a76a" providerId="ADAL" clId="{750E9A50-ACEA-48D3-B2C6-355D5EC56876}" dt="2024-06-13T11:24:55.842" v="3484" actId="167"/>
          <ac:spMkLst>
            <pc:docMk/>
            <pc:sldMk cId="0" sldId="326"/>
            <ac:spMk id="41" creationId="{F395D8EF-B77B-9B2D-EF68-F45E58D13EC7}"/>
          </ac:spMkLst>
        </pc:spChg>
        <pc:spChg chg="add del mod ord">
          <ac:chgData name="Deimonmi Nongrum [Chillibreeze]" userId="e937f645-8c95-42a9-a298-dfd645e9a76a" providerId="ADAL" clId="{750E9A50-ACEA-48D3-B2C6-355D5EC56876}" dt="2024-06-13T11:24:55.842" v="3484" actId="167"/>
          <ac:spMkLst>
            <pc:docMk/>
            <pc:sldMk cId="0" sldId="326"/>
            <ac:spMk id="42" creationId="{3CE0F795-6CBA-ACD2-DEF9-7B3C5A092977}"/>
          </ac:spMkLst>
        </pc:spChg>
        <pc:spChg chg="add del">
          <ac:chgData name="Deimonmi Nongrum [Chillibreeze]" userId="e937f645-8c95-42a9-a298-dfd645e9a76a" providerId="ADAL" clId="{750E9A50-ACEA-48D3-B2C6-355D5EC56876}" dt="2024-06-13T10:09:25.638" v="1590" actId="478"/>
          <ac:spMkLst>
            <pc:docMk/>
            <pc:sldMk cId="0" sldId="326"/>
            <ac:spMk id="43" creationId="{EFF544F7-B8B6-CA7B-850E-A96168B1B2E3}"/>
          </ac:spMkLst>
        </pc:spChg>
        <pc:spChg chg="mod">
          <ac:chgData name="Deimonmi Nongrum [Chillibreeze]" userId="e937f645-8c95-42a9-a298-dfd645e9a76a" providerId="ADAL" clId="{750E9A50-ACEA-48D3-B2C6-355D5EC56876}" dt="2024-06-13T10:09:24.042" v="1589"/>
          <ac:spMkLst>
            <pc:docMk/>
            <pc:sldMk cId="0" sldId="326"/>
            <ac:spMk id="44" creationId="{B7F6EF34-42A5-87F5-ECDA-1F116970AD6A}"/>
          </ac:spMkLst>
        </pc:spChg>
        <pc:spChg chg="add del">
          <ac:chgData name="Deimonmi Nongrum [Chillibreeze]" userId="e937f645-8c95-42a9-a298-dfd645e9a76a" providerId="ADAL" clId="{750E9A50-ACEA-48D3-B2C6-355D5EC56876}" dt="2024-06-13T10:09:22.544" v="1588"/>
          <ac:spMkLst>
            <pc:docMk/>
            <pc:sldMk cId="0" sldId="326"/>
            <ac:spMk id="45" creationId="{4B8BF1F3-17F7-DE42-E372-F7495D0D59A7}"/>
          </ac:spMkLst>
        </pc:spChg>
        <pc:spChg chg="mod">
          <ac:chgData name="Deimonmi Nongrum [Chillibreeze]" userId="e937f645-8c95-42a9-a298-dfd645e9a76a" providerId="ADAL" clId="{750E9A50-ACEA-48D3-B2C6-355D5EC56876}" dt="2024-06-13T10:09:22.544" v="1588"/>
          <ac:spMkLst>
            <pc:docMk/>
            <pc:sldMk cId="0" sldId="326"/>
            <ac:spMk id="46" creationId="{03F740A0-B8F7-26B0-3E9C-06380BEA9495}"/>
          </ac:spMkLst>
        </pc:spChg>
        <pc:grpChg chg="del">
          <ac:chgData name="Deimonmi Nongrum [Chillibreeze]" userId="e937f645-8c95-42a9-a298-dfd645e9a76a" providerId="ADAL" clId="{750E9A50-ACEA-48D3-B2C6-355D5EC56876}" dt="2024-06-13T10:07:10.920" v="1513" actId="165"/>
          <ac:grpSpMkLst>
            <pc:docMk/>
            <pc:sldMk cId="0" sldId="326"/>
            <ac:grpSpMk id="10" creationId="{761F94A1-B557-F130-7BAF-88A9729BE13D}"/>
          </ac:grpSpMkLst>
        </pc:grpChg>
        <pc:grpChg chg="mod ord topLvl">
          <ac:chgData name="Deimonmi Nongrum [Chillibreeze]" userId="e937f645-8c95-42a9-a298-dfd645e9a76a" providerId="ADAL" clId="{750E9A50-ACEA-48D3-B2C6-355D5EC56876}" dt="2024-06-13T11:24:55.842" v="3484" actId="167"/>
          <ac:grpSpMkLst>
            <pc:docMk/>
            <pc:sldMk cId="0" sldId="326"/>
            <ac:grpSpMk id="11" creationId="{C1287889-08F7-7CFF-C171-8112FF93A281}"/>
          </ac:grpSpMkLst>
        </pc:grpChg>
        <pc:grpChg chg="del">
          <ac:chgData name="Deimonmi Nongrum [Chillibreeze]" userId="e937f645-8c95-42a9-a298-dfd645e9a76a" providerId="ADAL" clId="{750E9A50-ACEA-48D3-B2C6-355D5EC56876}" dt="2024-06-13T10:07:10.920" v="1513" actId="165"/>
          <ac:grpSpMkLst>
            <pc:docMk/>
            <pc:sldMk cId="0" sldId="326"/>
            <ac:grpSpMk id="15" creationId="{B4C62CF3-0161-0741-4706-0CBAAC0395C7}"/>
          </ac:grpSpMkLst>
        </pc:grpChg>
        <pc:grpChg chg="mod ord topLvl">
          <ac:chgData name="Deimonmi Nongrum [Chillibreeze]" userId="e937f645-8c95-42a9-a298-dfd645e9a76a" providerId="ADAL" clId="{750E9A50-ACEA-48D3-B2C6-355D5EC56876}" dt="2024-06-13T11:24:55.842" v="3484" actId="167"/>
          <ac:grpSpMkLst>
            <pc:docMk/>
            <pc:sldMk cId="0" sldId="326"/>
            <ac:grpSpMk id="16" creationId="{D0A1D0A8-2660-D5C6-89C2-ECAEE795F6DE}"/>
          </ac:grpSpMkLst>
        </pc:grpChg>
        <pc:grpChg chg="del">
          <ac:chgData name="Deimonmi Nongrum [Chillibreeze]" userId="e937f645-8c95-42a9-a298-dfd645e9a76a" providerId="ADAL" clId="{750E9A50-ACEA-48D3-B2C6-355D5EC56876}" dt="2024-06-13T10:07:10.920" v="1513" actId="165"/>
          <ac:grpSpMkLst>
            <pc:docMk/>
            <pc:sldMk cId="0" sldId="326"/>
            <ac:grpSpMk id="20" creationId="{59E70863-AA35-E9FC-B1D6-2375E7171655}"/>
          </ac:grpSpMkLst>
        </pc:grpChg>
        <pc:grpChg chg="mod ord topLvl">
          <ac:chgData name="Deimonmi Nongrum [Chillibreeze]" userId="e937f645-8c95-42a9-a298-dfd645e9a76a" providerId="ADAL" clId="{750E9A50-ACEA-48D3-B2C6-355D5EC56876}" dt="2024-06-13T11:24:55.842" v="3484" actId="167"/>
          <ac:grpSpMkLst>
            <pc:docMk/>
            <pc:sldMk cId="0" sldId="326"/>
            <ac:grpSpMk id="21" creationId="{C1DCB449-77C5-0D1F-2FF8-875E652CBB2C}"/>
          </ac:grpSpMkLst>
        </pc:grpChg>
        <pc:grpChg chg="del mod">
          <ac:chgData name="Deimonmi Nongrum [Chillibreeze]" userId="e937f645-8c95-42a9-a298-dfd645e9a76a" providerId="ADAL" clId="{750E9A50-ACEA-48D3-B2C6-355D5EC56876}" dt="2024-06-13T10:08:10.761" v="1550" actId="165"/>
          <ac:grpSpMkLst>
            <pc:docMk/>
            <pc:sldMk cId="0" sldId="326"/>
            <ac:grpSpMk id="32" creationId="{9EBB5160-94C1-C874-A7E3-AED52275E34A}"/>
          </ac:grpSpMkLst>
        </pc:grpChg>
        <pc:picChg chg="ord">
          <ac:chgData name="Deimonmi Nongrum [Chillibreeze]" userId="e937f645-8c95-42a9-a298-dfd645e9a76a" providerId="ADAL" clId="{750E9A50-ACEA-48D3-B2C6-355D5EC56876}" dt="2024-06-13T11:25:02.515" v="3489"/>
          <ac:picMkLst>
            <pc:docMk/>
            <pc:sldMk cId="0" sldId="326"/>
            <ac:picMk id="7" creationId="{C5D7ED15-16DB-8C26-E441-6523040B6D2B}"/>
          </ac:picMkLst>
        </pc:picChg>
        <pc:picChg chg="ord">
          <ac:chgData name="Deimonmi Nongrum [Chillibreeze]" userId="e937f645-8c95-42a9-a298-dfd645e9a76a" providerId="ADAL" clId="{750E9A50-ACEA-48D3-B2C6-355D5EC56876}" dt="2024-06-13T11:25:03.776" v="3491"/>
          <ac:picMkLst>
            <pc:docMk/>
            <pc:sldMk cId="0" sldId="326"/>
            <ac:picMk id="9" creationId="{DD7E55F9-B179-6EBA-51AA-803848285831}"/>
          </ac:picMkLst>
        </pc:picChg>
        <pc:picChg chg="add del mod">
          <ac:chgData name="Deimonmi Nongrum [Chillibreeze]" userId="e937f645-8c95-42a9-a298-dfd645e9a76a" providerId="ADAL" clId="{750E9A50-ACEA-48D3-B2C6-355D5EC56876}" dt="2024-06-13T10:07:01.874" v="1510" actId="27803"/>
          <ac:picMkLst>
            <pc:docMk/>
            <pc:sldMk cId="0" sldId="326"/>
            <ac:picMk id="25" creationId="{12F39BAC-7369-2049-DFA3-769772128D95}"/>
          </ac:picMkLst>
        </pc:picChg>
        <pc:picChg chg="add del mod">
          <ac:chgData name="Deimonmi Nongrum [Chillibreeze]" userId="e937f645-8c95-42a9-a298-dfd645e9a76a" providerId="ADAL" clId="{750E9A50-ACEA-48D3-B2C6-355D5EC56876}" dt="2024-06-13T10:07:36.659" v="1518" actId="27803"/>
          <ac:picMkLst>
            <pc:docMk/>
            <pc:sldMk cId="0" sldId="326"/>
            <ac:picMk id="28" creationId="{C773F581-52D0-4FF2-41DC-EAF18CE015F8}"/>
          </ac:picMkLst>
        </pc:picChg>
        <pc:picChg chg="add del mod">
          <ac:chgData name="Deimonmi Nongrum [Chillibreeze]" userId="e937f645-8c95-42a9-a298-dfd645e9a76a" providerId="ADAL" clId="{750E9A50-ACEA-48D3-B2C6-355D5EC56876}" dt="2024-06-13T10:08:10.126" v="1549" actId="27803"/>
          <ac:picMkLst>
            <pc:docMk/>
            <pc:sldMk cId="0" sldId="326"/>
            <ac:picMk id="31" creationId="{EEECC61D-26D4-4D35-5992-BB89A7F0B4FA}"/>
          </ac:picMkLst>
        </pc:picChg>
        <pc:picChg chg="add mod ord">
          <ac:chgData name="Deimonmi Nongrum [Chillibreeze]" userId="e937f645-8c95-42a9-a298-dfd645e9a76a" providerId="ADAL" clId="{750E9A50-ACEA-48D3-B2C6-355D5EC56876}" dt="2024-06-13T11:24:55.842" v="3484" actId="167"/>
          <ac:picMkLst>
            <pc:docMk/>
            <pc:sldMk cId="0" sldId="326"/>
            <ac:picMk id="40" creationId="{242D18B3-B331-3708-F2A9-4D68B1D4D1CE}"/>
          </ac:picMkLst>
        </pc:picChg>
        <pc:cxnChg chg="mod ord">
          <ac:chgData name="Deimonmi Nongrum [Chillibreeze]" userId="e937f645-8c95-42a9-a298-dfd645e9a76a" providerId="ADAL" clId="{750E9A50-ACEA-48D3-B2C6-355D5EC56876}" dt="2024-06-13T11:24:55.842" v="3484" actId="167"/>
          <ac:cxnSpMkLst>
            <pc:docMk/>
            <pc:sldMk cId="0" sldId="326"/>
            <ac:cxnSpMk id="5" creationId="{C53886F9-ABF2-C687-3C8C-56E077D36E94}"/>
          </ac:cxnSpMkLst>
        </pc:cxnChg>
      </pc:sldChg>
      <pc:sldChg chg="addSp delSp modSp mod modClrScheme chgLayout">
        <pc:chgData name="Deimonmi Nongrum [Chillibreeze]" userId="e937f645-8c95-42a9-a298-dfd645e9a76a" providerId="ADAL" clId="{750E9A50-ACEA-48D3-B2C6-355D5EC56876}" dt="2024-06-13T14:29:48.568" v="7316" actId="207"/>
        <pc:sldMkLst>
          <pc:docMk/>
          <pc:sldMk cId="0" sldId="327"/>
        </pc:sldMkLst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27"/>
            <ac:spMk id="2" creationId="{23A34305-A7D7-9C53-B75D-97F868F2481B}"/>
          </ac:spMkLst>
        </pc:spChg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327"/>
            <ac:spMk id="2" creationId="{4F231240-BCAA-3196-4209-518770AAFD1A}"/>
          </ac:spMkLst>
        </pc:spChg>
        <pc:spChg chg="add mod ord topLvl">
          <ac:chgData name="Deimonmi Nongrum [Chillibreeze]" userId="e937f645-8c95-42a9-a298-dfd645e9a76a" providerId="ADAL" clId="{750E9A50-ACEA-48D3-B2C6-355D5EC56876}" dt="2024-06-13T11:25:55.290" v="3515" actId="167"/>
          <ac:spMkLst>
            <pc:docMk/>
            <pc:sldMk cId="0" sldId="327"/>
            <ac:spMk id="2" creationId="{C5B1C75B-38F8-061A-931F-741B5600D83B}"/>
          </ac:spMkLst>
        </pc:spChg>
        <pc:spChg chg="mod ord">
          <ac:chgData name="Deimonmi Nongrum [Chillibreeze]" userId="e937f645-8c95-42a9-a298-dfd645e9a76a" providerId="ADAL" clId="{750E9A50-ACEA-48D3-B2C6-355D5EC56876}" dt="2024-06-13T11:25:55.290" v="3515" actId="167"/>
          <ac:spMkLst>
            <pc:docMk/>
            <pc:sldMk cId="0" sldId="327"/>
            <ac:spMk id="3" creationId="{788D4724-4E83-B7A0-1C31-B8CCB528993B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27"/>
            <ac:spMk id="3" creationId="{EAD5D3C8-21F3-24D3-EE5E-F392F9D87D15}"/>
          </ac:spMkLst>
        </pc:spChg>
        <pc:spChg chg="mod ord">
          <ac:chgData name="Deimonmi Nongrum [Chillibreeze]" userId="e937f645-8c95-42a9-a298-dfd645e9a76a" providerId="ADAL" clId="{750E9A50-ACEA-48D3-B2C6-355D5EC56876}" dt="2024-06-13T11:25:55.290" v="3515" actId="167"/>
          <ac:spMkLst>
            <pc:docMk/>
            <pc:sldMk cId="0" sldId="327"/>
            <ac:spMk id="5" creationId="{7A6760C9-FBEE-33C2-B586-A9DC74EB1A15}"/>
          </ac:spMkLst>
        </pc:spChg>
        <pc:spChg chg="ord">
          <ac:chgData name="Deimonmi Nongrum [Chillibreeze]" userId="e937f645-8c95-42a9-a298-dfd645e9a76a" providerId="ADAL" clId="{750E9A50-ACEA-48D3-B2C6-355D5EC56876}" dt="2024-06-13T11:26:10.396" v="3525"/>
          <ac:spMkLst>
            <pc:docMk/>
            <pc:sldMk cId="0" sldId="327"/>
            <ac:spMk id="7" creationId="{91F4B325-A5D1-F9FC-63ED-BF49073B0426}"/>
          </ac:spMkLst>
        </pc:spChg>
        <pc:spChg chg="mod">
          <ac:chgData name="Deimonmi Nongrum [Chillibreeze]" userId="e937f645-8c95-42a9-a298-dfd645e9a76a" providerId="ADAL" clId="{750E9A50-ACEA-48D3-B2C6-355D5EC56876}" dt="2024-06-13T10:20:49.602" v="1846" actId="165"/>
          <ac:spMkLst>
            <pc:docMk/>
            <pc:sldMk cId="0" sldId="327"/>
            <ac:spMk id="10" creationId="{F1885503-E4D9-E3B6-3A38-02468B536304}"/>
          </ac:spMkLst>
        </pc:spChg>
        <pc:spChg chg="mod">
          <ac:chgData name="Deimonmi Nongrum [Chillibreeze]" userId="e937f645-8c95-42a9-a298-dfd645e9a76a" providerId="ADAL" clId="{750E9A50-ACEA-48D3-B2C6-355D5EC56876}" dt="2024-06-13T10:20:49.602" v="1846" actId="165"/>
          <ac:spMkLst>
            <pc:docMk/>
            <pc:sldMk cId="0" sldId="327"/>
            <ac:spMk id="11" creationId="{069C684F-8ADA-DDDC-4D63-69BF0318E542}"/>
          </ac:spMkLst>
        </pc:spChg>
        <pc:spChg chg="add mod ord topLvl">
          <ac:chgData name="Deimonmi Nongrum [Chillibreeze]" userId="e937f645-8c95-42a9-a298-dfd645e9a76a" providerId="ADAL" clId="{750E9A50-ACEA-48D3-B2C6-355D5EC56876}" dt="2024-06-13T11:26:12.010" v="3527"/>
          <ac:spMkLst>
            <pc:docMk/>
            <pc:sldMk cId="0" sldId="327"/>
            <ac:spMk id="12" creationId="{B2D27604-D77A-623C-F627-7BD047C9765C}"/>
          </ac:spMkLst>
        </pc:spChg>
        <pc:spChg chg="mod">
          <ac:chgData name="Deimonmi Nongrum [Chillibreeze]" userId="e937f645-8c95-42a9-a298-dfd645e9a76a" providerId="ADAL" clId="{750E9A50-ACEA-48D3-B2C6-355D5EC56876}" dt="2024-06-13T10:20:49.602" v="1846" actId="165"/>
          <ac:spMkLst>
            <pc:docMk/>
            <pc:sldMk cId="0" sldId="327"/>
            <ac:spMk id="14" creationId="{82714183-5BCB-052D-B792-67688017FD1B}"/>
          </ac:spMkLst>
        </pc:spChg>
        <pc:spChg chg="mod">
          <ac:chgData name="Deimonmi Nongrum [Chillibreeze]" userId="e937f645-8c95-42a9-a298-dfd645e9a76a" providerId="ADAL" clId="{750E9A50-ACEA-48D3-B2C6-355D5EC56876}" dt="2024-06-13T10:20:49.602" v="1846" actId="165"/>
          <ac:spMkLst>
            <pc:docMk/>
            <pc:sldMk cId="0" sldId="327"/>
            <ac:spMk id="15" creationId="{5F2A1CFE-59ED-5517-9590-3E8C889F3386}"/>
          </ac:spMkLst>
        </pc:spChg>
        <pc:spChg chg="mod ord topLvl">
          <ac:chgData name="Deimonmi Nongrum [Chillibreeze]" userId="e937f645-8c95-42a9-a298-dfd645e9a76a" providerId="ADAL" clId="{750E9A50-ACEA-48D3-B2C6-355D5EC56876}" dt="2024-06-13T11:25:55.290" v="3515" actId="167"/>
          <ac:spMkLst>
            <pc:docMk/>
            <pc:sldMk cId="0" sldId="327"/>
            <ac:spMk id="21" creationId="{C8631695-21AF-497C-A9D4-AB546628AC32}"/>
          </ac:spMkLst>
        </pc:spChg>
        <pc:spChg chg="mod ord topLvl">
          <ac:chgData name="Deimonmi Nongrum [Chillibreeze]" userId="e937f645-8c95-42a9-a298-dfd645e9a76a" providerId="ADAL" clId="{750E9A50-ACEA-48D3-B2C6-355D5EC56876}" dt="2024-06-13T11:26:12.945" v="3528"/>
          <ac:spMkLst>
            <pc:docMk/>
            <pc:sldMk cId="0" sldId="327"/>
            <ac:spMk id="23" creationId="{C73C536A-D194-32BD-8661-AB4416E32ED9}"/>
          </ac:spMkLst>
        </pc:spChg>
        <pc:spChg chg="mod ord">
          <ac:chgData name="Deimonmi Nongrum [Chillibreeze]" userId="e937f645-8c95-42a9-a298-dfd645e9a76a" providerId="ADAL" clId="{750E9A50-ACEA-48D3-B2C6-355D5EC56876}" dt="2024-06-13T14:29:48.568" v="7316" actId="207"/>
          <ac:spMkLst>
            <pc:docMk/>
            <pc:sldMk cId="0" sldId="327"/>
            <ac:spMk id="24" creationId="{E71D5F84-24B3-052B-6ABD-FE85BA4A80BD}"/>
          </ac:spMkLst>
        </pc:spChg>
        <pc:spChg chg="del mod">
          <ac:chgData name="Deimonmi Nongrum [Chillibreeze]" userId="e937f645-8c95-42a9-a298-dfd645e9a76a" providerId="ADAL" clId="{750E9A50-ACEA-48D3-B2C6-355D5EC56876}" dt="2024-06-13T10:20:09.878" v="1813" actId="478"/>
          <ac:spMkLst>
            <pc:docMk/>
            <pc:sldMk cId="0" sldId="327"/>
            <ac:spMk id="27" creationId="{2DF4D577-CE7A-0EC8-EEBF-4EF1F7666790}"/>
          </ac:spMkLst>
        </pc:spChg>
        <pc:spChg chg="mod">
          <ac:chgData name="Deimonmi Nongrum [Chillibreeze]" userId="e937f645-8c95-42a9-a298-dfd645e9a76a" providerId="ADAL" clId="{750E9A50-ACEA-48D3-B2C6-355D5EC56876}" dt="2024-06-13T10:20:49.602" v="1846" actId="165"/>
          <ac:spMkLst>
            <pc:docMk/>
            <pc:sldMk cId="0" sldId="327"/>
            <ac:spMk id="31" creationId="{694D1564-B546-A529-CD43-96D425487859}"/>
          </ac:spMkLst>
        </pc:spChg>
        <pc:spChg chg="del mod">
          <ac:chgData name="Deimonmi Nongrum [Chillibreeze]" userId="e937f645-8c95-42a9-a298-dfd645e9a76a" providerId="ADAL" clId="{750E9A50-ACEA-48D3-B2C6-355D5EC56876}" dt="2024-06-13T10:20:36.253" v="1829"/>
          <ac:spMkLst>
            <pc:docMk/>
            <pc:sldMk cId="0" sldId="327"/>
            <ac:spMk id="33" creationId="{A7855B06-E97F-9BBA-4BD6-21CAF73D43A7}"/>
          </ac:spMkLst>
        </pc:spChg>
        <pc:spChg chg="mod">
          <ac:chgData name="Deimonmi Nongrum [Chillibreeze]" userId="e937f645-8c95-42a9-a298-dfd645e9a76a" providerId="ADAL" clId="{750E9A50-ACEA-48D3-B2C6-355D5EC56876}" dt="2024-06-13T10:20:49.602" v="1846" actId="165"/>
          <ac:spMkLst>
            <pc:docMk/>
            <pc:sldMk cId="0" sldId="327"/>
            <ac:spMk id="36" creationId="{384B436F-EC62-6213-9B24-C4F3882FFE6C}"/>
          </ac:spMkLst>
        </pc:spChg>
        <pc:spChg chg="mod">
          <ac:chgData name="Deimonmi Nongrum [Chillibreeze]" userId="e937f645-8c95-42a9-a298-dfd645e9a76a" providerId="ADAL" clId="{750E9A50-ACEA-48D3-B2C6-355D5EC56876}" dt="2024-06-13T10:20:49.602" v="1846" actId="165"/>
          <ac:spMkLst>
            <pc:docMk/>
            <pc:sldMk cId="0" sldId="327"/>
            <ac:spMk id="37" creationId="{A6ADBEA4-F9E0-C49A-B7C2-779DEA35603D}"/>
          </ac:spMkLst>
        </pc:spChg>
        <pc:spChg chg="del mod">
          <ac:chgData name="Deimonmi Nongrum [Chillibreeze]" userId="e937f645-8c95-42a9-a298-dfd645e9a76a" providerId="ADAL" clId="{750E9A50-ACEA-48D3-B2C6-355D5EC56876}" dt="2024-06-13T10:20:36.254" v="1831"/>
          <ac:spMkLst>
            <pc:docMk/>
            <pc:sldMk cId="0" sldId="327"/>
            <ac:spMk id="39" creationId="{966E1B57-5213-5BD5-C9C3-4671115BAD50}"/>
          </ac:spMkLst>
        </pc:spChg>
        <pc:spChg chg="mod">
          <ac:chgData name="Deimonmi Nongrum [Chillibreeze]" userId="e937f645-8c95-42a9-a298-dfd645e9a76a" providerId="ADAL" clId="{750E9A50-ACEA-48D3-B2C6-355D5EC56876}" dt="2024-06-13T10:20:49.602" v="1846" actId="165"/>
          <ac:spMkLst>
            <pc:docMk/>
            <pc:sldMk cId="0" sldId="327"/>
            <ac:spMk id="42" creationId="{8A9BD842-BCBA-EC32-6F28-374C4A10CCF2}"/>
          </ac:spMkLst>
        </pc:spChg>
        <pc:spChg chg="del mod">
          <ac:chgData name="Deimonmi Nongrum [Chillibreeze]" userId="e937f645-8c95-42a9-a298-dfd645e9a76a" providerId="ADAL" clId="{750E9A50-ACEA-48D3-B2C6-355D5EC56876}" dt="2024-06-13T10:20:36.254" v="1835"/>
          <ac:spMkLst>
            <pc:docMk/>
            <pc:sldMk cId="0" sldId="327"/>
            <ac:spMk id="44" creationId="{B6C11665-8344-1F54-AF45-711128E18ED0}"/>
          </ac:spMkLst>
        </pc:spChg>
        <pc:spChg chg="del mod">
          <ac:chgData name="Deimonmi Nongrum [Chillibreeze]" userId="e937f645-8c95-42a9-a298-dfd645e9a76a" providerId="ADAL" clId="{750E9A50-ACEA-48D3-B2C6-355D5EC56876}" dt="2024-06-13T10:20:36.254" v="1833"/>
          <ac:spMkLst>
            <pc:docMk/>
            <pc:sldMk cId="0" sldId="327"/>
            <ac:spMk id="49" creationId="{75F83133-DB98-386C-2BFB-EB455004F44F}"/>
          </ac:spMkLst>
        </pc:spChg>
        <pc:spChg chg="mod ord topLvl">
          <ac:chgData name="Deimonmi Nongrum [Chillibreeze]" userId="e937f645-8c95-42a9-a298-dfd645e9a76a" providerId="ADAL" clId="{750E9A50-ACEA-48D3-B2C6-355D5EC56876}" dt="2024-06-13T11:25:55.290" v="3515" actId="167"/>
          <ac:spMkLst>
            <pc:docMk/>
            <pc:sldMk cId="0" sldId="327"/>
            <ac:spMk id="52" creationId="{FC4181D7-5802-8E2C-B6F4-0BA418FC26FC}"/>
          </ac:spMkLst>
        </pc:spChg>
        <pc:spChg chg="del mod">
          <ac:chgData name="Deimonmi Nongrum [Chillibreeze]" userId="e937f645-8c95-42a9-a298-dfd645e9a76a" providerId="ADAL" clId="{750E9A50-ACEA-48D3-B2C6-355D5EC56876}" dt="2024-06-13T10:20:36.255" v="1837"/>
          <ac:spMkLst>
            <pc:docMk/>
            <pc:sldMk cId="0" sldId="327"/>
            <ac:spMk id="54" creationId="{12FF6057-6138-E1EB-4709-7A0C3561E7BE}"/>
          </ac:spMkLst>
        </pc:spChg>
        <pc:spChg chg="del mod">
          <ac:chgData name="Deimonmi Nongrum [Chillibreeze]" userId="e937f645-8c95-42a9-a298-dfd645e9a76a" providerId="ADAL" clId="{750E9A50-ACEA-48D3-B2C6-355D5EC56876}" dt="2024-06-13T10:20:36.255" v="1839"/>
          <ac:spMkLst>
            <pc:docMk/>
            <pc:sldMk cId="0" sldId="327"/>
            <ac:spMk id="59" creationId="{EEADBE9C-85B2-E394-DAA3-37F39AD2911C}"/>
          </ac:spMkLst>
        </pc:spChg>
        <pc:spChg chg="mod ord topLvl">
          <ac:chgData name="Deimonmi Nongrum [Chillibreeze]" userId="e937f645-8c95-42a9-a298-dfd645e9a76a" providerId="ADAL" clId="{750E9A50-ACEA-48D3-B2C6-355D5EC56876}" dt="2024-06-13T11:26:13.597" v="3529"/>
          <ac:spMkLst>
            <pc:docMk/>
            <pc:sldMk cId="0" sldId="327"/>
            <ac:spMk id="62" creationId="{41F6FF22-B635-3EFA-EF0F-C7097902B1B5}"/>
          </ac:spMkLst>
        </pc:spChg>
        <pc:spChg chg="mod">
          <ac:chgData name="Deimonmi Nongrum [Chillibreeze]" userId="e937f645-8c95-42a9-a298-dfd645e9a76a" providerId="ADAL" clId="{750E9A50-ACEA-48D3-B2C6-355D5EC56876}" dt="2024-06-13T10:20:49.602" v="1846" actId="165"/>
          <ac:spMkLst>
            <pc:docMk/>
            <pc:sldMk cId="0" sldId="327"/>
            <ac:spMk id="5378" creationId="{11020099-C8F5-D45F-71E4-07EFA64C9F90}"/>
          </ac:spMkLst>
        </pc:spChg>
        <pc:spChg chg="mod">
          <ac:chgData name="Deimonmi Nongrum [Chillibreeze]" userId="e937f645-8c95-42a9-a298-dfd645e9a76a" providerId="ADAL" clId="{750E9A50-ACEA-48D3-B2C6-355D5EC56876}" dt="2024-06-13T10:20:49.602" v="1846" actId="165"/>
          <ac:spMkLst>
            <pc:docMk/>
            <pc:sldMk cId="0" sldId="327"/>
            <ac:spMk id="5379" creationId="{3AC5BF4C-1945-B0BF-3BA4-A289DEC1BA50}"/>
          </ac:spMkLst>
        </pc:spChg>
        <pc:spChg chg="mod">
          <ac:chgData name="Deimonmi Nongrum [Chillibreeze]" userId="e937f645-8c95-42a9-a298-dfd645e9a76a" providerId="ADAL" clId="{750E9A50-ACEA-48D3-B2C6-355D5EC56876}" dt="2024-06-13T10:20:49.602" v="1846" actId="165"/>
          <ac:spMkLst>
            <pc:docMk/>
            <pc:sldMk cId="0" sldId="327"/>
            <ac:spMk id="5380" creationId="{23CDC856-6C68-B151-53E0-FE7B0C2B0B1E}"/>
          </ac:spMkLst>
        </pc:spChg>
        <pc:spChg chg="mod">
          <ac:chgData name="Deimonmi Nongrum [Chillibreeze]" userId="e937f645-8c95-42a9-a298-dfd645e9a76a" providerId="ADAL" clId="{750E9A50-ACEA-48D3-B2C6-355D5EC56876}" dt="2024-06-13T10:20:49.602" v="1846" actId="165"/>
          <ac:spMkLst>
            <pc:docMk/>
            <pc:sldMk cId="0" sldId="327"/>
            <ac:spMk id="5381" creationId="{6F63E5F7-D55B-A2EA-36B4-B526CD5E8CCA}"/>
          </ac:spMkLst>
        </pc:spChg>
        <pc:spChg chg="mod ord topLvl">
          <ac:chgData name="Deimonmi Nongrum [Chillibreeze]" userId="e937f645-8c95-42a9-a298-dfd645e9a76a" providerId="ADAL" clId="{750E9A50-ACEA-48D3-B2C6-355D5EC56876}" dt="2024-06-13T11:25:55.290" v="3515" actId="167"/>
          <ac:spMkLst>
            <pc:docMk/>
            <pc:sldMk cId="0" sldId="327"/>
            <ac:spMk id="5383" creationId="{1F1258C7-359C-DF59-52AC-682AA6E3A02A}"/>
          </ac:spMkLst>
        </pc:spChg>
        <pc:spChg chg="mod ord topLvl">
          <ac:chgData name="Deimonmi Nongrum [Chillibreeze]" userId="e937f645-8c95-42a9-a298-dfd645e9a76a" providerId="ADAL" clId="{750E9A50-ACEA-48D3-B2C6-355D5EC56876}" dt="2024-06-13T11:26:14.219" v="3530"/>
          <ac:spMkLst>
            <pc:docMk/>
            <pc:sldMk cId="0" sldId="327"/>
            <ac:spMk id="5385" creationId="{AF64C7CC-52B1-9AF5-C399-0C8DDC2DA19B}"/>
          </ac:spMkLst>
        </pc:spChg>
        <pc:spChg chg="mod">
          <ac:chgData name="Deimonmi Nongrum [Chillibreeze]" userId="e937f645-8c95-42a9-a298-dfd645e9a76a" providerId="ADAL" clId="{750E9A50-ACEA-48D3-B2C6-355D5EC56876}" dt="2024-06-13T10:20:49.602" v="1846" actId="165"/>
          <ac:spMkLst>
            <pc:docMk/>
            <pc:sldMk cId="0" sldId="327"/>
            <ac:spMk id="5388" creationId="{B36E91CE-247E-20BC-3E8A-2ABB42FF5446}"/>
          </ac:spMkLst>
        </pc:spChg>
        <pc:spChg chg="mod">
          <ac:chgData name="Deimonmi Nongrum [Chillibreeze]" userId="e937f645-8c95-42a9-a298-dfd645e9a76a" providerId="ADAL" clId="{750E9A50-ACEA-48D3-B2C6-355D5EC56876}" dt="2024-06-13T10:20:49.602" v="1846" actId="165"/>
          <ac:spMkLst>
            <pc:docMk/>
            <pc:sldMk cId="0" sldId="327"/>
            <ac:spMk id="5389" creationId="{ADABA719-7CD1-EDAE-586A-3DAD58688FF6}"/>
          </ac:spMkLst>
        </pc:spChg>
        <pc:spChg chg="mod">
          <ac:chgData name="Deimonmi Nongrum [Chillibreeze]" userId="e937f645-8c95-42a9-a298-dfd645e9a76a" providerId="ADAL" clId="{750E9A50-ACEA-48D3-B2C6-355D5EC56876}" dt="2024-06-13T10:20:49.602" v="1846" actId="165"/>
          <ac:spMkLst>
            <pc:docMk/>
            <pc:sldMk cId="0" sldId="327"/>
            <ac:spMk id="5390" creationId="{B76481C5-060B-2D6A-237D-9CDC1A1F1100}"/>
          </ac:spMkLst>
        </pc:spChg>
        <pc:spChg chg="mod">
          <ac:chgData name="Deimonmi Nongrum [Chillibreeze]" userId="e937f645-8c95-42a9-a298-dfd645e9a76a" providerId="ADAL" clId="{750E9A50-ACEA-48D3-B2C6-355D5EC56876}" dt="2024-06-13T10:20:49.602" v="1846" actId="165"/>
          <ac:spMkLst>
            <pc:docMk/>
            <pc:sldMk cId="0" sldId="327"/>
            <ac:spMk id="5391" creationId="{9A211B65-E495-79B7-ECFC-9BC4DCC56306}"/>
          </ac:spMkLst>
        </pc:spChg>
        <pc:spChg chg="mod ord topLvl">
          <ac:chgData name="Deimonmi Nongrum [Chillibreeze]" userId="e937f645-8c95-42a9-a298-dfd645e9a76a" providerId="ADAL" clId="{750E9A50-ACEA-48D3-B2C6-355D5EC56876}" dt="2024-06-13T11:25:55.290" v="3515" actId="167"/>
          <ac:spMkLst>
            <pc:docMk/>
            <pc:sldMk cId="0" sldId="327"/>
            <ac:spMk id="5393" creationId="{F470505C-7B3C-E526-6E62-D2437D6263A4}"/>
          </ac:spMkLst>
        </pc:spChg>
        <pc:spChg chg="mod ord topLvl">
          <ac:chgData name="Deimonmi Nongrum [Chillibreeze]" userId="e937f645-8c95-42a9-a298-dfd645e9a76a" providerId="ADAL" clId="{750E9A50-ACEA-48D3-B2C6-355D5EC56876}" dt="2024-06-13T11:26:15.118" v="3531"/>
          <ac:spMkLst>
            <pc:docMk/>
            <pc:sldMk cId="0" sldId="327"/>
            <ac:spMk id="5395" creationId="{9378A2CE-9FA6-48F5-B237-E44D627C8FA6}"/>
          </ac:spMkLst>
        </pc:spChg>
        <pc:spChg chg="mod">
          <ac:chgData name="Deimonmi Nongrum [Chillibreeze]" userId="e937f645-8c95-42a9-a298-dfd645e9a76a" providerId="ADAL" clId="{750E9A50-ACEA-48D3-B2C6-355D5EC56876}" dt="2024-06-13T10:20:49.602" v="1846" actId="165"/>
          <ac:spMkLst>
            <pc:docMk/>
            <pc:sldMk cId="0" sldId="327"/>
            <ac:spMk id="5398" creationId="{E5217EDB-5F6B-C2DA-2165-3C1012314F2D}"/>
          </ac:spMkLst>
        </pc:spChg>
        <pc:spChg chg="mod">
          <ac:chgData name="Deimonmi Nongrum [Chillibreeze]" userId="e937f645-8c95-42a9-a298-dfd645e9a76a" providerId="ADAL" clId="{750E9A50-ACEA-48D3-B2C6-355D5EC56876}" dt="2024-06-13T10:20:49.602" v="1846" actId="165"/>
          <ac:spMkLst>
            <pc:docMk/>
            <pc:sldMk cId="0" sldId="327"/>
            <ac:spMk id="5399" creationId="{8143F375-4B25-4A64-BF57-51E7B83ED87F}"/>
          </ac:spMkLst>
        </pc:spChg>
        <pc:spChg chg="mod">
          <ac:chgData name="Deimonmi Nongrum [Chillibreeze]" userId="e937f645-8c95-42a9-a298-dfd645e9a76a" providerId="ADAL" clId="{750E9A50-ACEA-48D3-B2C6-355D5EC56876}" dt="2024-06-13T10:20:49.602" v="1846" actId="165"/>
          <ac:spMkLst>
            <pc:docMk/>
            <pc:sldMk cId="0" sldId="327"/>
            <ac:spMk id="5400" creationId="{6F918B40-F175-DFF2-04B4-E8EF375FB2F2}"/>
          </ac:spMkLst>
        </pc:spChg>
        <pc:spChg chg="mod">
          <ac:chgData name="Deimonmi Nongrum [Chillibreeze]" userId="e937f645-8c95-42a9-a298-dfd645e9a76a" providerId="ADAL" clId="{750E9A50-ACEA-48D3-B2C6-355D5EC56876}" dt="2024-06-13T10:20:49.602" v="1846" actId="165"/>
          <ac:spMkLst>
            <pc:docMk/>
            <pc:sldMk cId="0" sldId="327"/>
            <ac:spMk id="5401" creationId="{C25C0BB1-7864-BA85-D942-5692227CFF57}"/>
          </ac:spMkLst>
        </pc:spChg>
        <pc:spChg chg="mod ord topLvl">
          <ac:chgData name="Deimonmi Nongrum [Chillibreeze]" userId="e937f645-8c95-42a9-a298-dfd645e9a76a" providerId="ADAL" clId="{750E9A50-ACEA-48D3-B2C6-355D5EC56876}" dt="2024-06-13T11:25:55.290" v="3515" actId="167"/>
          <ac:spMkLst>
            <pc:docMk/>
            <pc:sldMk cId="0" sldId="327"/>
            <ac:spMk id="5403" creationId="{E9EA62F3-B2EB-1C80-7921-6238CAA30E72}"/>
          </ac:spMkLst>
        </pc:spChg>
        <pc:spChg chg="mod ord topLvl">
          <ac:chgData name="Deimonmi Nongrum [Chillibreeze]" userId="e937f645-8c95-42a9-a298-dfd645e9a76a" providerId="ADAL" clId="{750E9A50-ACEA-48D3-B2C6-355D5EC56876}" dt="2024-06-13T11:26:15.751" v="3532"/>
          <ac:spMkLst>
            <pc:docMk/>
            <pc:sldMk cId="0" sldId="327"/>
            <ac:spMk id="5405" creationId="{A2FB7A0A-54D5-E999-AE3C-553A84E9C72B}"/>
          </ac:spMkLst>
        </pc:spChg>
        <pc:spChg chg="mod">
          <ac:chgData name="Deimonmi Nongrum [Chillibreeze]" userId="e937f645-8c95-42a9-a298-dfd645e9a76a" providerId="ADAL" clId="{750E9A50-ACEA-48D3-B2C6-355D5EC56876}" dt="2024-06-13T10:20:49.602" v="1846" actId="165"/>
          <ac:spMkLst>
            <pc:docMk/>
            <pc:sldMk cId="0" sldId="327"/>
            <ac:spMk id="5408" creationId="{E5AB50A3-AC3A-F745-AE66-A92AD2383945}"/>
          </ac:spMkLst>
        </pc:spChg>
        <pc:spChg chg="mod">
          <ac:chgData name="Deimonmi Nongrum [Chillibreeze]" userId="e937f645-8c95-42a9-a298-dfd645e9a76a" providerId="ADAL" clId="{750E9A50-ACEA-48D3-B2C6-355D5EC56876}" dt="2024-06-13T10:20:49.602" v="1846" actId="165"/>
          <ac:spMkLst>
            <pc:docMk/>
            <pc:sldMk cId="0" sldId="327"/>
            <ac:spMk id="5409" creationId="{9ECA7D5F-7262-6CD4-A685-8C129AF91F67}"/>
          </ac:spMkLst>
        </pc:spChg>
        <pc:spChg chg="mod">
          <ac:chgData name="Deimonmi Nongrum [Chillibreeze]" userId="e937f645-8c95-42a9-a298-dfd645e9a76a" providerId="ADAL" clId="{750E9A50-ACEA-48D3-B2C6-355D5EC56876}" dt="2024-06-13T10:20:49.602" v="1846" actId="165"/>
          <ac:spMkLst>
            <pc:docMk/>
            <pc:sldMk cId="0" sldId="327"/>
            <ac:spMk id="5410" creationId="{F5BA573F-9981-ABAE-873F-7B9C96BA09CE}"/>
          </ac:spMkLst>
        </pc:spChg>
        <pc:spChg chg="mod">
          <ac:chgData name="Deimonmi Nongrum [Chillibreeze]" userId="e937f645-8c95-42a9-a298-dfd645e9a76a" providerId="ADAL" clId="{750E9A50-ACEA-48D3-B2C6-355D5EC56876}" dt="2024-06-13T10:20:49.602" v="1846" actId="165"/>
          <ac:spMkLst>
            <pc:docMk/>
            <pc:sldMk cId="0" sldId="327"/>
            <ac:spMk id="5411" creationId="{1F80C0B7-7245-9D6D-F702-07434309C5DF}"/>
          </ac:spMkLst>
        </pc:spChg>
        <pc:spChg chg="mod ord topLvl">
          <ac:chgData name="Deimonmi Nongrum [Chillibreeze]" userId="e937f645-8c95-42a9-a298-dfd645e9a76a" providerId="ADAL" clId="{750E9A50-ACEA-48D3-B2C6-355D5EC56876}" dt="2024-06-13T11:25:55.290" v="3515" actId="167"/>
          <ac:spMkLst>
            <pc:docMk/>
            <pc:sldMk cId="0" sldId="327"/>
            <ac:spMk id="5413" creationId="{C1D6F824-3936-558F-92FE-565EE3CC4444}"/>
          </ac:spMkLst>
        </pc:spChg>
        <pc:spChg chg="mod ord topLvl">
          <ac:chgData name="Deimonmi Nongrum [Chillibreeze]" userId="e937f645-8c95-42a9-a298-dfd645e9a76a" providerId="ADAL" clId="{750E9A50-ACEA-48D3-B2C6-355D5EC56876}" dt="2024-06-13T11:26:16.490" v="3533"/>
          <ac:spMkLst>
            <pc:docMk/>
            <pc:sldMk cId="0" sldId="327"/>
            <ac:spMk id="5415" creationId="{FE619453-0298-B346-171A-620F5B635A72}"/>
          </ac:spMkLst>
        </pc:spChg>
        <pc:spChg chg="del mod">
          <ac:chgData name="Deimonmi Nongrum [Chillibreeze]" userId="e937f645-8c95-42a9-a298-dfd645e9a76a" providerId="ADAL" clId="{750E9A50-ACEA-48D3-B2C6-355D5EC56876}" dt="2024-06-13T10:20:36.256" v="1841"/>
          <ac:spMkLst>
            <pc:docMk/>
            <pc:sldMk cId="0" sldId="327"/>
            <ac:spMk id="5416" creationId="{34D1DFFF-0CCF-08D5-373B-937B9324C959}"/>
          </ac:spMkLst>
        </pc:spChg>
        <pc:spChg chg="mod">
          <ac:chgData name="Deimonmi Nongrum [Chillibreeze]" userId="e937f645-8c95-42a9-a298-dfd645e9a76a" providerId="ADAL" clId="{750E9A50-ACEA-48D3-B2C6-355D5EC56876}" dt="2024-06-13T10:20:49.602" v="1846" actId="165"/>
          <ac:spMkLst>
            <pc:docMk/>
            <pc:sldMk cId="0" sldId="327"/>
            <ac:spMk id="5421" creationId="{0CE9AB27-8186-5A4C-7881-A4BF13AB226F}"/>
          </ac:spMkLst>
        </pc:spChg>
        <pc:spChg chg="mod">
          <ac:chgData name="Deimonmi Nongrum [Chillibreeze]" userId="e937f645-8c95-42a9-a298-dfd645e9a76a" providerId="ADAL" clId="{750E9A50-ACEA-48D3-B2C6-355D5EC56876}" dt="2024-06-13T10:20:49.602" v="1846" actId="165"/>
          <ac:spMkLst>
            <pc:docMk/>
            <pc:sldMk cId="0" sldId="327"/>
            <ac:spMk id="5422" creationId="{BD367521-78DA-E5AB-6AD8-1BB5BBB7BF2C}"/>
          </ac:spMkLst>
        </pc:spChg>
        <pc:spChg chg="mod">
          <ac:chgData name="Deimonmi Nongrum [Chillibreeze]" userId="e937f645-8c95-42a9-a298-dfd645e9a76a" providerId="ADAL" clId="{750E9A50-ACEA-48D3-B2C6-355D5EC56876}" dt="2024-06-13T10:20:49.602" v="1846" actId="165"/>
          <ac:spMkLst>
            <pc:docMk/>
            <pc:sldMk cId="0" sldId="327"/>
            <ac:spMk id="5423" creationId="{BF69D496-8540-2F74-838E-49CC91219011}"/>
          </ac:spMkLst>
        </pc:spChg>
        <pc:spChg chg="del">
          <ac:chgData name="Deimonmi Nongrum [Chillibreeze]" userId="e937f645-8c95-42a9-a298-dfd645e9a76a" providerId="ADAL" clId="{750E9A50-ACEA-48D3-B2C6-355D5EC56876}" dt="2024-06-13T10:17:07.244" v="1724" actId="478"/>
          <ac:spMkLst>
            <pc:docMk/>
            <pc:sldMk cId="0" sldId="327"/>
            <ac:spMk id="5424" creationId="{B8205AA4-1BDC-E745-5722-BE5BC5519E76}"/>
          </ac:spMkLst>
        </pc:spChg>
        <pc:spChg chg="del">
          <ac:chgData name="Deimonmi Nongrum [Chillibreeze]" userId="e937f645-8c95-42a9-a298-dfd645e9a76a" providerId="ADAL" clId="{750E9A50-ACEA-48D3-B2C6-355D5EC56876}" dt="2024-06-13T10:17:07.244" v="1724" actId="478"/>
          <ac:spMkLst>
            <pc:docMk/>
            <pc:sldMk cId="0" sldId="327"/>
            <ac:spMk id="5425" creationId="{CF24DD36-041D-941B-ADCA-E0C09EE9C39E}"/>
          </ac:spMkLst>
        </pc:spChg>
        <pc:spChg chg="del">
          <ac:chgData name="Deimonmi Nongrum [Chillibreeze]" userId="e937f645-8c95-42a9-a298-dfd645e9a76a" providerId="ADAL" clId="{750E9A50-ACEA-48D3-B2C6-355D5EC56876}" dt="2024-06-13T10:17:07.244" v="1724" actId="478"/>
          <ac:spMkLst>
            <pc:docMk/>
            <pc:sldMk cId="0" sldId="327"/>
            <ac:spMk id="5426" creationId="{6B470249-5DA1-6A27-13DB-E3CCC2540191}"/>
          </ac:spMkLst>
        </pc:spChg>
        <pc:spChg chg="del">
          <ac:chgData name="Deimonmi Nongrum [Chillibreeze]" userId="e937f645-8c95-42a9-a298-dfd645e9a76a" providerId="ADAL" clId="{750E9A50-ACEA-48D3-B2C6-355D5EC56876}" dt="2024-06-13T10:17:07.244" v="1724" actId="478"/>
          <ac:spMkLst>
            <pc:docMk/>
            <pc:sldMk cId="0" sldId="327"/>
            <ac:spMk id="5427" creationId="{816EBCE3-AB1A-D0C8-4716-FF456DA473F2}"/>
          </ac:spMkLst>
        </pc:spChg>
        <pc:spChg chg="mod">
          <ac:chgData name="Deimonmi Nongrum [Chillibreeze]" userId="e937f645-8c95-42a9-a298-dfd645e9a76a" providerId="ADAL" clId="{750E9A50-ACEA-48D3-B2C6-355D5EC56876}" dt="2024-06-13T10:20:49.602" v="1846" actId="165"/>
          <ac:spMkLst>
            <pc:docMk/>
            <pc:sldMk cId="0" sldId="327"/>
            <ac:spMk id="5428" creationId="{AD443445-B9ED-5AD2-F356-57EB2A240164}"/>
          </ac:spMkLst>
        </pc:spChg>
        <pc:spChg chg="mod ord topLvl">
          <ac:chgData name="Deimonmi Nongrum [Chillibreeze]" userId="e937f645-8c95-42a9-a298-dfd645e9a76a" providerId="ADAL" clId="{750E9A50-ACEA-48D3-B2C6-355D5EC56876}" dt="2024-06-13T11:25:55.290" v="3515" actId="167"/>
          <ac:spMkLst>
            <pc:docMk/>
            <pc:sldMk cId="0" sldId="327"/>
            <ac:spMk id="5430" creationId="{E56D7A03-DB01-0D06-B42A-98BB3424951C}"/>
          </ac:spMkLst>
        </pc:spChg>
        <pc:spChg chg="del">
          <ac:chgData name="Deimonmi Nongrum [Chillibreeze]" userId="e937f645-8c95-42a9-a298-dfd645e9a76a" providerId="ADAL" clId="{750E9A50-ACEA-48D3-B2C6-355D5EC56876}" dt="2024-06-13T10:17:07.244" v="1724" actId="478"/>
          <ac:spMkLst>
            <pc:docMk/>
            <pc:sldMk cId="0" sldId="327"/>
            <ac:spMk id="5431" creationId="{C1FF9973-D64B-2F17-F418-BB2B9182264F}"/>
          </ac:spMkLst>
        </pc:spChg>
        <pc:spChg chg="del">
          <ac:chgData name="Deimonmi Nongrum [Chillibreeze]" userId="e937f645-8c95-42a9-a298-dfd645e9a76a" providerId="ADAL" clId="{750E9A50-ACEA-48D3-B2C6-355D5EC56876}" dt="2024-06-13T10:17:07.244" v="1724" actId="478"/>
          <ac:spMkLst>
            <pc:docMk/>
            <pc:sldMk cId="0" sldId="327"/>
            <ac:spMk id="5432" creationId="{AEB9329E-28A9-E6C3-8B20-29B087FCAF81}"/>
          </ac:spMkLst>
        </pc:spChg>
        <pc:spChg chg="del">
          <ac:chgData name="Deimonmi Nongrum [Chillibreeze]" userId="e937f645-8c95-42a9-a298-dfd645e9a76a" providerId="ADAL" clId="{750E9A50-ACEA-48D3-B2C6-355D5EC56876}" dt="2024-06-13T10:17:07.244" v="1724" actId="478"/>
          <ac:spMkLst>
            <pc:docMk/>
            <pc:sldMk cId="0" sldId="327"/>
            <ac:spMk id="5433" creationId="{AC1FC78B-6CDF-7F11-36BA-31196D624200}"/>
          </ac:spMkLst>
        </pc:spChg>
        <pc:spChg chg="del">
          <ac:chgData name="Deimonmi Nongrum [Chillibreeze]" userId="e937f645-8c95-42a9-a298-dfd645e9a76a" providerId="ADAL" clId="{750E9A50-ACEA-48D3-B2C6-355D5EC56876}" dt="2024-06-13T10:17:07.244" v="1724" actId="478"/>
          <ac:spMkLst>
            <pc:docMk/>
            <pc:sldMk cId="0" sldId="327"/>
            <ac:spMk id="5434" creationId="{6A7F298E-9B62-869F-C789-FCFD85A48F67}"/>
          </ac:spMkLst>
        </pc:spChg>
        <pc:spChg chg="mod ord topLvl">
          <ac:chgData name="Deimonmi Nongrum [Chillibreeze]" userId="e937f645-8c95-42a9-a298-dfd645e9a76a" providerId="ADAL" clId="{750E9A50-ACEA-48D3-B2C6-355D5EC56876}" dt="2024-06-13T11:26:17.215" v="3534"/>
          <ac:spMkLst>
            <pc:docMk/>
            <pc:sldMk cId="0" sldId="327"/>
            <ac:spMk id="5436" creationId="{827F4D72-D59F-272F-313D-86E6ECBFF594}"/>
          </ac:spMkLst>
        </pc:spChg>
        <pc:spChg chg="mod">
          <ac:chgData name="Deimonmi Nongrum [Chillibreeze]" userId="e937f645-8c95-42a9-a298-dfd645e9a76a" providerId="ADAL" clId="{750E9A50-ACEA-48D3-B2C6-355D5EC56876}" dt="2024-06-13T10:20:49.602" v="1846" actId="165"/>
          <ac:spMkLst>
            <pc:docMk/>
            <pc:sldMk cId="0" sldId="327"/>
            <ac:spMk id="5439" creationId="{E416D86F-8DB8-9511-59C7-BAC5E361582B}"/>
          </ac:spMkLst>
        </pc:spChg>
        <pc:spChg chg="mod">
          <ac:chgData name="Deimonmi Nongrum [Chillibreeze]" userId="e937f645-8c95-42a9-a298-dfd645e9a76a" providerId="ADAL" clId="{750E9A50-ACEA-48D3-B2C6-355D5EC56876}" dt="2024-06-13T10:20:49.602" v="1846" actId="165"/>
          <ac:spMkLst>
            <pc:docMk/>
            <pc:sldMk cId="0" sldId="327"/>
            <ac:spMk id="5440" creationId="{0F7664F9-1FAA-1EB0-05EB-8223F70F690B}"/>
          </ac:spMkLst>
        </pc:spChg>
        <pc:spChg chg="mod">
          <ac:chgData name="Deimonmi Nongrum [Chillibreeze]" userId="e937f645-8c95-42a9-a298-dfd645e9a76a" providerId="ADAL" clId="{750E9A50-ACEA-48D3-B2C6-355D5EC56876}" dt="2024-06-13T10:20:49.602" v="1846" actId="165"/>
          <ac:spMkLst>
            <pc:docMk/>
            <pc:sldMk cId="0" sldId="327"/>
            <ac:spMk id="5441" creationId="{A0A2D1AF-D4EB-59DF-4C53-0465B5ACFDF0}"/>
          </ac:spMkLst>
        </pc:spChg>
        <pc:spChg chg="mod">
          <ac:chgData name="Deimonmi Nongrum [Chillibreeze]" userId="e937f645-8c95-42a9-a298-dfd645e9a76a" providerId="ADAL" clId="{750E9A50-ACEA-48D3-B2C6-355D5EC56876}" dt="2024-06-13T10:20:49.602" v="1846" actId="165"/>
          <ac:spMkLst>
            <pc:docMk/>
            <pc:sldMk cId="0" sldId="327"/>
            <ac:spMk id="5442" creationId="{BC89896F-BC89-4024-4719-9DBBED4B29D6}"/>
          </ac:spMkLst>
        </pc:spChg>
        <pc:spChg chg="add mod ord">
          <ac:chgData name="Deimonmi Nongrum [Chillibreeze]" userId="e937f645-8c95-42a9-a298-dfd645e9a76a" providerId="ADAL" clId="{750E9A50-ACEA-48D3-B2C6-355D5EC56876}" dt="2024-06-13T11:25:55.290" v="3515" actId="167"/>
          <ac:spMkLst>
            <pc:docMk/>
            <pc:sldMk cId="0" sldId="327"/>
            <ac:spMk id="5444" creationId="{86064050-B489-0FA1-30EB-007A80B9C63B}"/>
          </ac:spMkLst>
        </pc:spChg>
        <pc:spChg chg="add mod ord">
          <ac:chgData name="Deimonmi Nongrum [Chillibreeze]" userId="e937f645-8c95-42a9-a298-dfd645e9a76a" providerId="ADAL" clId="{750E9A50-ACEA-48D3-B2C6-355D5EC56876}" dt="2024-06-13T11:25:55.290" v="3515" actId="167"/>
          <ac:spMkLst>
            <pc:docMk/>
            <pc:sldMk cId="0" sldId="327"/>
            <ac:spMk id="5445" creationId="{E7AC3883-76EB-5E3E-5431-395F83C242B6}"/>
          </ac:spMkLst>
        </pc:spChg>
        <pc:grpChg chg="add mod">
          <ac:chgData name="Deimonmi Nongrum [Chillibreeze]" userId="e937f645-8c95-42a9-a298-dfd645e9a76a" providerId="ADAL" clId="{750E9A50-ACEA-48D3-B2C6-355D5EC56876}" dt="2024-06-13T10:20:49.602" v="1846" actId="165"/>
          <ac:grpSpMkLst>
            <pc:docMk/>
            <pc:sldMk cId="0" sldId="327"/>
            <ac:grpSpMk id="9" creationId="{6B7DD1A3-79F5-0CA2-4662-7BED041888A0}"/>
          </ac:grpSpMkLst>
        </pc:grpChg>
        <pc:grpChg chg="add mod ord">
          <ac:chgData name="Deimonmi Nongrum [Chillibreeze]" userId="e937f645-8c95-42a9-a298-dfd645e9a76a" providerId="ADAL" clId="{750E9A50-ACEA-48D3-B2C6-355D5EC56876}" dt="2024-06-13T10:20:49.602" v="1846" actId="165"/>
          <ac:grpSpMkLst>
            <pc:docMk/>
            <pc:sldMk cId="0" sldId="327"/>
            <ac:grpSpMk id="13" creationId="{20C8DD7B-4D14-80A7-8CA1-F072A34B965B}"/>
          </ac:grpSpMkLst>
        </pc:grpChg>
        <pc:grpChg chg="add mod ord topLvl">
          <ac:chgData name="Deimonmi Nongrum [Chillibreeze]" userId="e937f645-8c95-42a9-a298-dfd645e9a76a" providerId="ADAL" clId="{750E9A50-ACEA-48D3-B2C6-355D5EC56876}" dt="2024-06-13T11:25:55.290" v="3515" actId="167"/>
          <ac:grpSpMkLst>
            <pc:docMk/>
            <pc:sldMk cId="0" sldId="327"/>
            <ac:grpSpMk id="16" creationId="{8A6D9E57-A932-082F-1018-8DCC44FF9779}"/>
          </ac:grpSpMkLst>
        </pc:grpChg>
        <pc:grpChg chg="add del mod">
          <ac:chgData name="Deimonmi Nongrum [Chillibreeze]" userId="e937f645-8c95-42a9-a298-dfd645e9a76a" providerId="ADAL" clId="{750E9A50-ACEA-48D3-B2C6-355D5EC56876}" dt="2024-06-13T10:20:49.602" v="1846" actId="165"/>
          <ac:grpSpMkLst>
            <pc:docMk/>
            <pc:sldMk cId="0" sldId="327"/>
            <ac:grpSpMk id="17" creationId="{4749F4E4-D670-B303-2C74-741A38D8801C}"/>
          </ac:grpSpMkLst>
        </pc:grpChg>
        <pc:grpChg chg="add del mod">
          <ac:chgData name="Deimonmi Nongrum [Chillibreeze]" userId="e937f645-8c95-42a9-a298-dfd645e9a76a" providerId="ADAL" clId="{750E9A50-ACEA-48D3-B2C6-355D5EC56876}" dt="2024-06-13T10:20:49.602" v="1846" actId="165"/>
          <ac:grpSpMkLst>
            <pc:docMk/>
            <pc:sldMk cId="0" sldId="327"/>
            <ac:grpSpMk id="20" creationId="{49DE6933-B818-3D14-370B-B264691AF722}"/>
          </ac:grpSpMkLst>
        </pc:grpChg>
        <pc:grpChg chg="mod ord topLvl">
          <ac:chgData name="Deimonmi Nongrum [Chillibreeze]" userId="e937f645-8c95-42a9-a298-dfd645e9a76a" providerId="ADAL" clId="{750E9A50-ACEA-48D3-B2C6-355D5EC56876}" dt="2024-06-13T11:25:55.290" v="3515" actId="167"/>
          <ac:grpSpMkLst>
            <pc:docMk/>
            <pc:sldMk cId="0" sldId="327"/>
            <ac:grpSpMk id="22" creationId="{89C5FEA2-9E02-1131-C1DF-8D95FC2A7D05}"/>
          </ac:grpSpMkLst>
        </pc:grpChg>
        <pc:grpChg chg="mod">
          <ac:chgData name="Deimonmi Nongrum [Chillibreeze]" userId="e937f645-8c95-42a9-a298-dfd645e9a76a" providerId="ADAL" clId="{750E9A50-ACEA-48D3-B2C6-355D5EC56876}" dt="2024-06-13T10:20:49.602" v="1846" actId="165"/>
          <ac:grpSpMkLst>
            <pc:docMk/>
            <pc:sldMk cId="0" sldId="327"/>
            <ac:grpSpMk id="25" creationId="{054E4BA6-2FD0-2CFA-9332-6342950FCFA0}"/>
          </ac:grpSpMkLst>
        </pc:grpChg>
        <pc:grpChg chg="del">
          <ac:chgData name="Deimonmi Nongrum [Chillibreeze]" userId="e937f645-8c95-42a9-a298-dfd645e9a76a" providerId="ADAL" clId="{750E9A50-ACEA-48D3-B2C6-355D5EC56876}" dt="2024-06-13T10:17:07.244" v="1724" actId="478"/>
          <ac:grpSpMkLst>
            <pc:docMk/>
            <pc:sldMk cId="0" sldId="327"/>
            <ac:grpSpMk id="26" creationId="{A251D168-FDE7-5DD0-3C51-CF7D5F451BBB}"/>
          </ac:grpSpMkLst>
        </pc:grpChg>
        <pc:grpChg chg="mod">
          <ac:chgData name="Deimonmi Nongrum [Chillibreeze]" userId="e937f645-8c95-42a9-a298-dfd645e9a76a" providerId="ADAL" clId="{750E9A50-ACEA-48D3-B2C6-355D5EC56876}" dt="2024-06-13T10:20:49.602" v="1846" actId="165"/>
          <ac:grpSpMkLst>
            <pc:docMk/>
            <pc:sldMk cId="0" sldId="327"/>
            <ac:grpSpMk id="30" creationId="{8C1104CA-C929-7C09-C08E-58E5B1AA6246}"/>
          </ac:grpSpMkLst>
        </pc:grpChg>
        <pc:grpChg chg="del">
          <ac:chgData name="Deimonmi Nongrum [Chillibreeze]" userId="e937f645-8c95-42a9-a298-dfd645e9a76a" providerId="ADAL" clId="{750E9A50-ACEA-48D3-B2C6-355D5EC56876}" dt="2024-06-13T10:17:07.244" v="1724" actId="478"/>
          <ac:grpSpMkLst>
            <pc:docMk/>
            <pc:sldMk cId="0" sldId="327"/>
            <ac:grpSpMk id="32" creationId="{21A61157-14BB-2F8E-8C69-3EA4BA05075F}"/>
          </ac:grpSpMkLst>
        </pc:grpChg>
        <pc:grpChg chg="del">
          <ac:chgData name="Deimonmi Nongrum [Chillibreeze]" userId="e937f645-8c95-42a9-a298-dfd645e9a76a" providerId="ADAL" clId="{750E9A50-ACEA-48D3-B2C6-355D5EC56876}" dt="2024-06-13T10:17:07.244" v="1724" actId="478"/>
          <ac:grpSpMkLst>
            <pc:docMk/>
            <pc:sldMk cId="0" sldId="327"/>
            <ac:grpSpMk id="38" creationId="{0EC1E055-B739-294B-D73C-BFC4FAEFAEB7}"/>
          </ac:grpSpMkLst>
        </pc:grpChg>
        <pc:grpChg chg="del">
          <ac:chgData name="Deimonmi Nongrum [Chillibreeze]" userId="e937f645-8c95-42a9-a298-dfd645e9a76a" providerId="ADAL" clId="{750E9A50-ACEA-48D3-B2C6-355D5EC56876}" dt="2024-06-13T10:17:07.244" v="1724" actId="478"/>
          <ac:grpSpMkLst>
            <pc:docMk/>
            <pc:sldMk cId="0" sldId="327"/>
            <ac:grpSpMk id="43" creationId="{B8335510-0EF7-C7F1-5D22-827971A374F1}"/>
          </ac:grpSpMkLst>
        </pc:grpChg>
        <pc:grpChg chg="add del mod">
          <ac:chgData name="Deimonmi Nongrum [Chillibreeze]" userId="e937f645-8c95-42a9-a298-dfd645e9a76a" providerId="ADAL" clId="{750E9A50-ACEA-48D3-B2C6-355D5EC56876}" dt="2024-06-13T10:20:49.602" v="1846" actId="165"/>
          <ac:grpSpMkLst>
            <pc:docMk/>
            <pc:sldMk cId="0" sldId="327"/>
            <ac:grpSpMk id="47" creationId="{7A7C0B08-DC13-EDFF-F88B-62740D599845}"/>
          </ac:grpSpMkLst>
        </pc:grpChg>
        <pc:grpChg chg="del">
          <ac:chgData name="Deimonmi Nongrum [Chillibreeze]" userId="e937f645-8c95-42a9-a298-dfd645e9a76a" providerId="ADAL" clId="{750E9A50-ACEA-48D3-B2C6-355D5EC56876}" dt="2024-06-13T10:17:07.244" v="1724" actId="478"/>
          <ac:grpSpMkLst>
            <pc:docMk/>
            <pc:sldMk cId="0" sldId="327"/>
            <ac:grpSpMk id="48" creationId="{AA0818D4-D0CF-E437-60B7-B40CCE908244}"/>
          </ac:grpSpMkLst>
        </pc:grpChg>
        <pc:grpChg chg="del">
          <ac:chgData name="Deimonmi Nongrum [Chillibreeze]" userId="e937f645-8c95-42a9-a298-dfd645e9a76a" providerId="ADAL" clId="{750E9A50-ACEA-48D3-B2C6-355D5EC56876}" dt="2024-06-13T10:17:07.244" v="1724" actId="478"/>
          <ac:grpSpMkLst>
            <pc:docMk/>
            <pc:sldMk cId="0" sldId="327"/>
            <ac:grpSpMk id="53" creationId="{010C0444-DA2A-192B-50F6-496FB3B57687}"/>
          </ac:grpSpMkLst>
        </pc:grpChg>
        <pc:grpChg chg="mod ord topLvl">
          <ac:chgData name="Deimonmi Nongrum [Chillibreeze]" userId="e937f645-8c95-42a9-a298-dfd645e9a76a" providerId="ADAL" clId="{750E9A50-ACEA-48D3-B2C6-355D5EC56876}" dt="2024-06-13T11:25:55.290" v="3515" actId="167"/>
          <ac:grpSpMkLst>
            <pc:docMk/>
            <pc:sldMk cId="0" sldId="327"/>
            <ac:grpSpMk id="57" creationId="{778D9122-78AB-A33B-132A-EC0B375C74D0}"/>
          </ac:grpSpMkLst>
        </pc:grpChg>
        <pc:grpChg chg="del">
          <ac:chgData name="Deimonmi Nongrum [Chillibreeze]" userId="e937f645-8c95-42a9-a298-dfd645e9a76a" providerId="ADAL" clId="{750E9A50-ACEA-48D3-B2C6-355D5EC56876}" dt="2024-06-13T10:17:07.244" v="1724" actId="478"/>
          <ac:grpSpMkLst>
            <pc:docMk/>
            <pc:sldMk cId="0" sldId="327"/>
            <ac:grpSpMk id="58" creationId="{6B847F0F-72AA-C222-CF06-906763982A97}"/>
          </ac:grpSpMkLst>
        </pc:grpChg>
        <pc:grpChg chg="del">
          <ac:chgData name="Deimonmi Nongrum [Chillibreeze]" userId="e937f645-8c95-42a9-a298-dfd645e9a76a" providerId="ADAL" clId="{750E9A50-ACEA-48D3-B2C6-355D5EC56876}" dt="2024-06-13T10:17:07.244" v="1724" actId="478"/>
          <ac:grpSpMkLst>
            <pc:docMk/>
            <pc:sldMk cId="0" sldId="327"/>
            <ac:grpSpMk id="63" creationId="{CADACD67-1334-0CE0-FD32-FE3789E799C9}"/>
          </ac:grpSpMkLst>
        </pc:grpChg>
        <pc:grpChg chg="mod">
          <ac:chgData name="Deimonmi Nongrum [Chillibreeze]" userId="e937f645-8c95-42a9-a298-dfd645e9a76a" providerId="ADAL" clId="{750E9A50-ACEA-48D3-B2C6-355D5EC56876}" dt="2024-06-13T10:20:49.602" v="1846" actId="165"/>
          <ac:grpSpMkLst>
            <pc:docMk/>
            <pc:sldMk cId="0" sldId="327"/>
            <ac:grpSpMk id="5376" creationId="{46EDA26F-5854-5640-E315-BD5B3B66B4DC}"/>
          </ac:grpSpMkLst>
        </pc:grpChg>
        <pc:grpChg chg="mod">
          <ac:chgData name="Deimonmi Nongrum [Chillibreeze]" userId="e937f645-8c95-42a9-a298-dfd645e9a76a" providerId="ADAL" clId="{750E9A50-ACEA-48D3-B2C6-355D5EC56876}" dt="2024-06-13T10:20:49.602" v="1846" actId="165"/>
          <ac:grpSpMkLst>
            <pc:docMk/>
            <pc:sldMk cId="0" sldId="327"/>
            <ac:grpSpMk id="5377" creationId="{306E7BC3-4AF3-ABD1-C7EC-E5D61F145EA2}"/>
          </ac:grpSpMkLst>
        </pc:grpChg>
        <pc:grpChg chg="add del mod">
          <ac:chgData name="Deimonmi Nongrum [Chillibreeze]" userId="e937f645-8c95-42a9-a298-dfd645e9a76a" providerId="ADAL" clId="{750E9A50-ACEA-48D3-B2C6-355D5EC56876}" dt="2024-06-13T10:20:49.602" v="1846" actId="165"/>
          <ac:grpSpMkLst>
            <pc:docMk/>
            <pc:sldMk cId="0" sldId="327"/>
            <ac:grpSpMk id="5382" creationId="{82C7D0C5-E625-6A26-680A-89CA860345F6}"/>
          </ac:grpSpMkLst>
        </pc:grpChg>
        <pc:grpChg chg="mod ord topLvl">
          <ac:chgData name="Deimonmi Nongrum [Chillibreeze]" userId="e937f645-8c95-42a9-a298-dfd645e9a76a" providerId="ADAL" clId="{750E9A50-ACEA-48D3-B2C6-355D5EC56876}" dt="2024-06-13T11:25:55.290" v="3515" actId="167"/>
          <ac:grpSpMkLst>
            <pc:docMk/>
            <pc:sldMk cId="0" sldId="327"/>
            <ac:grpSpMk id="5384" creationId="{6C27F239-5D4D-2E00-DFD8-ADF013F89C30}"/>
          </ac:grpSpMkLst>
        </pc:grpChg>
        <pc:grpChg chg="mod">
          <ac:chgData name="Deimonmi Nongrum [Chillibreeze]" userId="e937f645-8c95-42a9-a298-dfd645e9a76a" providerId="ADAL" clId="{750E9A50-ACEA-48D3-B2C6-355D5EC56876}" dt="2024-06-13T10:20:49.602" v="1846" actId="165"/>
          <ac:grpSpMkLst>
            <pc:docMk/>
            <pc:sldMk cId="0" sldId="327"/>
            <ac:grpSpMk id="5386" creationId="{CEE797D2-C868-7239-7512-052C91B2D32D}"/>
          </ac:grpSpMkLst>
        </pc:grpChg>
        <pc:grpChg chg="mod">
          <ac:chgData name="Deimonmi Nongrum [Chillibreeze]" userId="e937f645-8c95-42a9-a298-dfd645e9a76a" providerId="ADAL" clId="{750E9A50-ACEA-48D3-B2C6-355D5EC56876}" dt="2024-06-13T10:20:49.602" v="1846" actId="165"/>
          <ac:grpSpMkLst>
            <pc:docMk/>
            <pc:sldMk cId="0" sldId="327"/>
            <ac:grpSpMk id="5387" creationId="{5C05C10C-B10D-0FB8-4E24-A9616FB0A6BD}"/>
          </ac:grpSpMkLst>
        </pc:grpChg>
        <pc:grpChg chg="add del mod">
          <ac:chgData name="Deimonmi Nongrum [Chillibreeze]" userId="e937f645-8c95-42a9-a298-dfd645e9a76a" providerId="ADAL" clId="{750E9A50-ACEA-48D3-B2C6-355D5EC56876}" dt="2024-06-13T10:20:49.602" v="1846" actId="165"/>
          <ac:grpSpMkLst>
            <pc:docMk/>
            <pc:sldMk cId="0" sldId="327"/>
            <ac:grpSpMk id="5392" creationId="{2C655D46-6BDC-C209-D5EC-E5C037EF1773}"/>
          </ac:grpSpMkLst>
        </pc:grpChg>
        <pc:grpChg chg="mod ord topLvl">
          <ac:chgData name="Deimonmi Nongrum [Chillibreeze]" userId="e937f645-8c95-42a9-a298-dfd645e9a76a" providerId="ADAL" clId="{750E9A50-ACEA-48D3-B2C6-355D5EC56876}" dt="2024-06-13T11:25:55.290" v="3515" actId="167"/>
          <ac:grpSpMkLst>
            <pc:docMk/>
            <pc:sldMk cId="0" sldId="327"/>
            <ac:grpSpMk id="5394" creationId="{B239DF2C-EBDD-D653-C99D-D156CEB44AC5}"/>
          </ac:grpSpMkLst>
        </pc:grpChg>
        <pc:grpChg chg="mod">
          <ac:chgData name="Deimonmi Nongrum [Chillibreeze]" userId="e937f645-8c95-42a9-a298-dfd645e9a76a" providerId="ADAL" clId="{750E9A50-ACEA-48D3-B2C6-355D5EC56876}" dt="2024-06-13T10:20:49.602" v="1846" actId="165"/>
          <ac:grpSpMkLst>
            <pc:docMk/>
            <pc:sldMk cId="0" sldId="327"/>
            <ac:grpSpMk id="5396" creationId="{84AEC333-DCE9-6FF3-AA2A-5EAE019CCC19}"/>
          </ac:grpSpMkLst>
        </pc:grpChg>
        <pc:grpChg chg="mod">
          <ac:chgData name="Deimonmi Nongrum [Chillibreeze]" userId="e937f645-8c95-42a9-a298-dfd645e9a76a" providerId="ADAL" clId="{750E9A50-ACEA-48D3-B2C6-355D5EC56876}" dt="2024-06-13T10:20:49.602" v="1846" actId="165"/>
          <ac:grpSpMkLst>
            <pc:docMk/>
            <pc:sldMk cId="0" sldId="327"/>
            <ac:grpSpMk id="5397" creationId="{A817075B-5673-199A-C242-11FCD6714C2F}"/>
          </ac:grpSpMkLst>
        </pc:grpChg>
        <pc:grpChg chg="add del mod">
          <ac:chgData name="Deimonmi Nongrum [Chillibreeze]" userId="e937f645-8c95-42a9-a298-dfd645e9a76a" providerId="ADAL" clId="{750E9A50-ACEA-48D3-B2C6-355D5EC56876}" dt="2024-06-13T10:20:49.602" v="1846" actId="165"/>
          <ac:grpSpMkLst>
            <pc:docMk/>
            <pc:sldMk cId="0" sldId="327"/>
            <ac:grpSpMk id="5402" creationId="{1910D893-956A-FC15-1CCD-DA378F93DBF4}"/>
          </ac:grpSpMkLst>
        </pc:grpChg>
        <pc:grpChg chg="mod ord topLvl">
          <ac:chgData name="Deimonmi Nongrum [Chillibreeze]" userId="e937f645-8c95-42a9-a298-dfd645e9a76a" providerId="ADAL" clId="{750E9A50-ACEA-48D3-B2C6-355D5EC56876}" dt="2024-06-13T11:25:55.290" v="3515" actId="167"/>
          <ac:grpSpMkLst>
            <pc:docMk/>
            <pc:sldMk cId="0" sldId="327"/>
            <ac:grpSpMk id="5404" creationId="{AAC98114-91F4-6FFB-E1DC-0AF428E8B911}"/>
          </ac:grpSpMkLst>
        </pc:grpChg>
        <pc:grpChg chg="mod">
          <ac:chgData name="Deimonmi Nongrum [Chillibreeze]" userId="e937f645-8c95-42a9-a298-dfd645e9a76a" providerId="ADAL" clId="{750E9A50-ACEA-48D3-B2C6-355D5EC56876}" dt="2024-06-13T10:20:49.602" v="1846" actId="165"/>
          <ac:grpSpMkLst>
            <pc:docMk/>
            <pc:sldMk cId="0" sldId="327"/>
            <ac:grpSpMk id="5406" creationId="{BDFF39E5-B312-DA13-A707-4C2689EDBC59}"/>
          </ac:grpSpMkLst>
        </pc:grpChg>
        <pc:grpChg chg="mod">
          <ac:chgData name="Deimonmi Nongrum [Chillibreeze]" userId="e937f645-8c95-42a9-a298-dfd645e9a76a" providerId="ADAL" clId="{750E9A50-ACEA-48D3-B2C6-355D5EC56876}" dt="2024-06-13T10:20:49.602" v="1846" actId="165"/>
          <ac:grpSpMkLst>
            <pc:docMk/>
            <pc:sldMk cId="0" sldId="327"/>
            <ac:grpSpMk id="5407" creationId="{A37A6361-B2B4-2539-24E5-021209B31E3B}"/>
          </ac:grpSpMkLst>
        </pc:grpChg>
        <pc:grpChg chg="add del mod">
          <ac:chgData name="Deimonmi Nongrum [Chillibreeze]" userId="e937f645-8c95-42a9-a298-dfd645e9a76a" providerId="ADAL" clId="{750E9A50-ACEA-48D3-B2C6-355D5EC56876}" dt="2024-06-13T10:20:49.602" v="1846" actId="165"/>
          <ac:grpSpMkLst>
            <pc:docMk/>
            <pc:sldMk cId="0" sldId="327"/>
            <ac:grpSpMk id="5412" creationId="{478B9EF1-51B6-1FB3-9C3C-6AB53A334A4B}"/>
          </ac:grpSpMkLst>
        </pc:grpChg>
        <pc:grpChg chg="mod ord topLvl">
          <ac:chgData name="Deimonmi Nongrum [Chillibreeze]" userId="e937f645-8c95-42a9-a298-dfd645e9a76a" providerId="ADAL" clId="{750E9A50-ACEA-48D3-B2C6-355D5EC56876}" dt="2024-06-13T11:25:55.290" v="3515" actId="167"/>
          <ac:grpSpMkLst>
            <pc:docMk/>
            <pc:sldMk cId="0" sldId="327"/>
            <ac:grpSpMk id="5414" creationId="{E73A60E5-1446-3C3E-87EC-2F790FABE8B1}"/>
          </ac:grpSpMkLst>
        </pc:grpChg>
        <pc:grpChg chg="mod">
          <ac:chgData name="Deimonmi Nongrum [Chillibreeze]" userId="e937f645-8c95-42a9-a298-dfd645e9a76a" providerId="ADAL" clId="{750E9A50-ACEA-48D3-B2C6-355D5EC56876}" dt="2024-06-13T10:20:49.602" v="1846" actId="165"/>
          <ac:grpSpMkLst>
            <pc:docMk/>
            <pc:sldMk cId="0" sldId="327"/>
            <ac:grpSpMk id="5419" creationId="{1B8FFB52-5B03-F011-C43E-0BFAB69A7B3A}"/>
          </ac:grpSpMkLst>
        </pc:grpChg>
        <pc:grpChg chg="mod">
          <ac:chgData name="Deimonmi Nongrum [Chillibreeze]" userId="e937f645-8c95-42a9-a298-dfd645e9a76a" providerId="ADAL" clId="{750E9A50-ACEA-48D3-B2C6-355D5EC56876}" dt="2024-06-13T10:20:49.602" v="1846" actId="165"/>
          <ac:grpSpMkLst>
            <pc:docMk/>
            <pc:sldMk cId="0" sldId="327"/>
            <ac:grpSpMk id="5420" creationId="{D0F1DD91-AD76-B29C-83CF-E1879E9CF37E}"/>
          </ac:grpSpMkLst>
        </pc:grpChg>
        <pc:grpChg chg="add del mod">
          <ac:chgData name="Deimonmi Nongrum [Chillibreeze]" userId="e937f645-8c95-42a9-a298-dfd645e9a76a" providerId="ADAL" clId="{750E9A50-ACEA-48D3-B2C6-355D5EC56876}" dt="2024-06-13T10:20:49.602" v="1846" actId="165"/>
          <ac:grpSpMkLst>
            <pc:docMk/>
            <pc:sldMk cId="0" sldId="327"/>
            <ac:grpSpMk id="5429" creationId="{F88664FA-0156-E5CA-F2F1-662DFECE159C}"/>
          </ac:grpSpMkLst>
        </pc:grpChg>
        <pc:grpChg chg="mod ord topLvl">
          <ac:chgData name="Deimonmi Nongrum [Chillibreeze]" userId="e937f645-8c95-42a9-a298-dfd645e9a76a" providerId="ADAL" clId="{750E9A50-ACEA-48D3-B2C6-355D5EC56876}" dt="2024-06-13T11:25:55.290" v="3515" actId="167"/>
          <ac:grpSpMkLst>
            <pc:docMk/>
            <pc:sldMk cId="0" sldId="327"/>
            <ac:grpSpMk id="5435" creationId="{914A43EB-7AFB-9FAA-D843-9DC1F2CAD1BD}"/>
          </ac:grpSpMkLst>
        </pc:grpChg>
        <pc:grpChg chg="mod">
          <ac:chgData name="Deimonmi Nongrum [Chillibreeze]" userId="e937f645-8c95-42a9-a298-dfd645e9a76a" providerId="ADAL" clId="{750E9A50-ACEA-48D3-B2C6-355D5EC56876}" dt="2024-06-13T10:20:49.602" v="1846" actId="165"/>
          <ac:grpSpMkLst>
            <pc:docMk/>
            <pc:sldMk cId="0" sldId="327"/>
            <ac:grpSpMk id="5437" creationId="{429DC6DB-CBA8-DEF6-131C-A00174AFF5B5}"/>
          </ac:grpSpMkLst>
        </pc:grpChg>
        <pc:grpChg chg="mod">
          <ac:chgData name="Deimonmi Nongrum [Chillibreeze]" userId="e937f645-8c95-42a9-a298-dfd645e9a76a" providerId="ADAL" clId="{750E9A50-ACEA-48D3-B2C6-355D5EC56876}" dt="2024-06-13T10:20:49.602" v="1846" actId="165"/>
          <ac:grpSpMkLst>
            <pc:docMk/>
            <pc:sldMk cId="0" sldId="327"/>
            <ac:grpSpMk id="5438" creationId="{A393E8E8-B232-055D-D567-BF7B69AB2E58}"/>
          </ac:grpSpMkLst>
        </pc:grpChg>
        <pc:picChg chg="ord">
          <ac:chgData name="Deimonmi Nongrum [Chillibreeze]" userId="e937f645-8c95-42a9-a298-dfd645e9a76a" providerId="ADAL" clId="{750E9A50-ACEA-48D3-B2C6-355D5EC56876}" dt="2024-06-13T11:26:09.442" v="3524"/>
          <ac:picMkLst>
            <pc:docMk/>
            <pc:sldMk cId="0" sldId="327"/>
            <ac:picMk id="6" creationId="{A3C9941F-5090-7AA1-1028-21A10EBE44EF}"/>
          </ac:picMkLst>
        </pc:picChg>
        <pc:picChg chg="ord">
          <ac:chgData name="Deimonmi Nongrum [Chillibreeze]" userId="e937f645-8c95-42a9-a298-dfd645e9a76a" providerId="ADAL" clId="{750E9A50-ACEA-48D3-B2C6-355D5EC56876}" dt="2024-06-13T11:26:11.054" v="3526"/>
          <ac:picMkLst>
            <pc:docMk/>
            <pc:sldMk cId="0" sldId="327"/>
            <ac:picMk id="8" creationId="{C2C66E90-4D45-2F76-41F5-EECEA2C75FD2}"/>
          </ac:picMkLst>
        </pc:picChg>
        <pc:picChg chg="add mod ord">
          <ac:chgData name="Deimonmi Nongrum [Chillibreeze]" userId="e937f645-8c95-42a9-a298-dfd645e9a76a" providerId="ADAL" clId="{750E9A50-ACEA-48D3-B2C6-355D5EC56876}" dt="2024-06-13T11:25:55.290" v="3515" actId="167"/>
          <ac:picMkLst>
            <pc:docMk/>
            <pc:sldMk cId="0" sldId="327"/>
            <ac:picMk id="5443" creationId="{3BA0AAA2-9EB4-C139-9E77-9C92D9D4A0D4}"/>
          </ac:picMkLst>
        </pc:picChg>
        <pc:cxnChg chg="mod ord">
          <ac:chgData name="Deimonmi Nongrum [Chillibreeze]" userId="e937f645-8c95-42a9-a298-dfd645e9a76a" providerId="ADAL" clId="{750E9A50-ACEA-48D3-B2C6-355D5EC56876}" dt="2024-06-13T11:25:55.290" v="3515" actId="167"/>
          <ac:cxnSpMkLst>
            <pc:docMk/>
            <pc:sldMk cId="0" sldId="327"/>
            <ac:cxnSpMk id="4" creationId="{B1E78BC7-C675-B24F-65BD-A1FF1BAD4EA9}"/>
          </ac:cxnSpMkLst>
        </pc:cxnChg>
        <pc:cxnChg chg="add del mod">
          <ac:chgData name="Deimonmi Nongrum [Chillibreeze]" userId="e937f645-8c95-42a9-a298-dfd645e9a76a" providerId="ADAL" clId="{750E9A50-ACEA-48D3-B2C6-355D5EC56876}" dt="2024-06-13T10:19:50.499" v="1801" actId="478"/>
          <ac:cxnSpMkLst>
            <pc:docMk/>
            <pc:sldMk cId="0" sldId="327"/>
            <ac:cxnSpMk id="19" creationId="{9383CEFC-D9BD-B663-C350-E079488AD1E2}"/>
          </ac:cxnSpMkLst>
        </pc:cxnChg>
      </pc:sldChg>
      <pc:sldChg chg="addSp delSp modSp mod modClrScheme chgLayout">
        <pc:chgData name="Deimonmi Nongrum [Chillibreeze]" userId="e937f645-8c95-42a9-a298-dfd645e9a76a" providerId="ADAL" clId="{750E9A50-ACEA-48D3-B2C6-355D5EC56876}" dt="2024-06-13T13:59:33.366" v="7244" actId="207"/>
        <pc:sldMkLst>
          <pc:docMk/>
          <pc:sldMk cId="0" sldId="328"/>
        </pc:sldMkLst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28"/>
            <ac:spMk id="2" creationId="{1B9430C5-7118-C599-49F2-72ADC02D22FB}"/>
          </ac:spMkLst>
        </pc:spChg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328"/>
            <ac:spMk id="2" creationId="{D1C0C9D5-399D-31A6-4012-85F4F98338F7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28"/>
            <ac:spMk id="3" creationId="{4ABBE2CB-522B-3297-140E-EC17DFB213CB}"/>
          </ac:spMkLst>
        </pc:spChg>
        <pc:spChg chg="add mod ord">
          <ac:chgData name="Deimonmi Nongrum [Chillibreeze]" userId="e937f645-8c95-42a9-a298-dfd645e9a76a" providerId="ADAL" clId="{750E9A50-ACEA-48D3-B2C6-355D5EC56876}" dt="2024-06-13T13:59:33.366" v="7244" actId="207"/>
          <ac:spMkLst>
            <pc:docMk/>
            <pc:sldMk cId="0" sldId="328"/>
            <ac:spMk id="5" creationId="{4ECD00E1-5E84-9B74-1199-C0E79FFF712C}"/>
          </ac:spMkLst>
        </pc:spChg>
        <pc:spChg chg="add del mod">
          <ac:chgData name="Deimonmi Nongrum [Chillibreeze]" userId="e937f645-8c95-42a9-a298-dfd645e9a76a" providerId="ADAL" clId="{750E9A50-ACEA-48D3-B2C6-355D5EC56876}" dt="2024-06-13T13:46:23.754" v="6446" actId="478"/>
          <ac:spMkLst>
            <pc:docMk/>
            <pc:sldMk cId="0" sldId="328"/>
            <ac:spMk id="6" creationId="{6272F4C1-70E5-A9BC-C14E-CDAA50526AC1}"/>
          </ac:spMkLst>
        </pc:spChg>
        <pc:spChg chg="add del mod">
          <ac:chgData name="Deimonmi Nongrum [Chillibreeze]" userId="e937f645-8c95-42a9-a298-dfd645e9a76a" providerId="ADAL" clId="{750E9A50-ACEA-48D3-B2C6-355D5EC56876}" dt="2024-06-13T13:46:23.754" v="6446" actId="478"/>
          <ac:spMkLst>
            <pc:docMk/>
            <pc:sldMk cId="0" sldId="328"/>
            <ac:spMk id="7" creationId="{331D8F32-F7DF-AF1D-C0AD-ADE6A049D4A8}"/>
          </ac:spMkLst>
        </pc:spChg>
        <pc:spChg chg="mod ord">
          <ac:chgData name="Deimonmi Nongrum [Chillibreeze]" userId="e937f645-8c95-42a9-a298-dfd645e9a76a" providerId="ADAL" clId="{750E9A50-ACEA-48D3-B2C6-355D5EC56876}" dt="2024-06-13T13:45:24.511" v="6438" actId="167"/>
          <ac:spMkLst>
            <pc:docMk/>
            <pc:sldMk cId="0" sldId="328"/>
            <ac:spMk id="8" creationId="{3DD18AEE-4AB4-B595-BCE6-05552D53FB0F}"/>
          </ac:spMkLst>
        </pc:spChg>
        <pc:spChg chg="mod ord">
          <ac:chgData name="Deimonmi Nongrum [Chillibreeze]" userId="e937f645-8c95-42a9-a298-dfd645e9a76a" providerId="ADAL" clId="{750E9A50-ACEA-48D3-B2C6-355D5EC56876}" dt="2024-06-13T13:45:24.511" v="6438" actId="167"/>
          <ac:spMkLst>
            <pc:docMk/>
            <pc:sldMk cId="0" sldId="328"/>
            <ac:spMk id="9" creationId="{A73AC6CB-3498-E8CA-C018-FFFF4D40FCE7}"/>
          </ac:spMkLst>
        </pc:spChg>
        <pc:spChg chg="mod ord">
          <ac:chgData name="Deimonmi Nongrum [Chillibreeze]" userId="e937f645-8c95-42a9-a298-dfd645e9a76a" providerId="ADAL" clId="{750E9A50-ACEA-48D3-B2C6-355D5EC56876}" dt="2024-06-13T13:45:24.511" v="6438" actId="167"/>
          <ac:spMkLst>
            <pc:docMk/>
            <pc:sldMk cId="0" sldId="328"/>
            <ac:spMk id="10" creationId="{1FE88C16-0BB7-C9DF-DBB1-73A8E07A2F75}"/>
          </ac:spMkLst>
        </pc:spChg>
        <pc:spChg chg="mod ord">
          <ac:chgData name="Deimonmi Nongrum [Chillibreeze]" userId="e937f645-8c95-42a9-a298-dfd645e9a76a" providerId="ADAL" clId="{750E9A50-ACEA-48D3-B2C6-355D5EC56876}" dt="2024-06-13T13:45:24.511" v="6438" actId="167"/>
          <ac:spMkLst>
            <pc:docMk/>
            <pc:sldMk cId="0" sldId="328"/>
            <ac:spMk id="11" creationId="{0A00CD80-87AB-8EAD-B000-B276EE692616}"/>
          </ac:spMkLst>
        </pc:spChg>
        <pc:spChg chg="mod ord">
          <ac:chgData name="Deimonmi Nongrum [Chillibreeze]" userId="e937f645-8c95-42a9-a298-dfd645e9a76a" providerId="ADAL" clId="{750E9A50-ACEA-48D3-B2C6-355D5EC56876}" dt="2024-06-13T13:45:24.511" v="6438" actId="167"/>
          <ac:spMkLst>
            <pc:docMk/>
            <pc:sldMk cId="0" sldId="328"/>
            <ac:spMk id="12" creationId="{52905B7C-32C0-FF34-BB1E-438764682840}"/>
          </ac:spMkLst>
        </pc:spChg>
        <pc:spChg chg="add del mod">
          <ac:chgData name="Deimonmi Nongrum [Chillibreeze]" userId="e937f645-8c95-42a9-a298-dfd645e9a76a" providerId="ADAL" clId="{750E9A50-ACEA-48D3-B2C6-355D5EC56876}" dt="2024-06-13T13:46:23.754" v="6446" actId="478"/>
          <ac:spMkLst>
            <pc:docMk/>
            <pc:sldMk cId="0" sldId="328"/>
            <ac:spMk id="13" creationId="{09A2B37C-7917-0BA9-F148-725EE98B61A3}"/>
          </ac:spMkLst>
        </pc:spChg>
        <pc:spChg chg="add del mod">
          <ac:chgData name="Deimonmi Nongrum [Chillibreeze]" userId="e937f645-8c95-42a9-a298-dfd645e9a76a" providerId="ADAL" clId="{750E9A50-ACEA-48D3-B2C6-355D5EC56876}" dt="2024-06-13T13:46:23.754" v="6446" actId="478"/>
          <ac:spMkLst>
            <pc:docMk/>
            <pc:sldMk cId="0" sldId="328"/>
            <ac:spMk id="14" creationId="{EC3287FB-32C7-DA88-1F1B-7B9CF8B53B66}"/>
          </ac:spMkLst>
        </pc:spChg>
        <pc:spChg chg="mod ord">
          <ac:chgData name="Deimonmi Nongrum [Chillibreeze]" userId="e937f645-8c95-42a9-a298-dfd645e9a76a" providerId="ADAL" clId="{750E9A50-ACEA-48D3-B2C6-355D5EC56876}" dt="2024-06-13T12:06:22.347" v="4090" actId="167"/>
          <ac:spMkLst>
            <pc:docMk/>
            <pc:sldMk cId="0" sldId="328"/>
            <ac:spMk id="17" creationId="{5D348981-05C8-B458-B49C-88CFF0332D87}"/>
          </ac:spMkLst>
        </pc:spChg>
        <pc:spChg chg="mod ord">
          <ac:chgData name="Deimonmi Nongrum [Chillibreeze]" userId="e937f645-8c95-42a9-a298-dfd645e9a76a" providerId="ADAL" clId="{750E9A50-ACEA-48D3-B2C6-355D5EC56876}" dt="2024-06-13T13:45:56.986" v="6442" actId="207"/>
          <ac:spMkLst>
            <pc:docMk/>
            <pc:sldMk cId="0" sldId="328"/>
            <ac:spMk id="19" creationId="{991B3527-CB44-805D-EFCB-49D7C59BB3B1}"/>
          </ac:spMkLst>
        </pc:spChg>
        <pc:spChg chg="mod ord">
          <ac:chgData name="Deimonmi Nongrum [Chillibreeze]" userId="e937f645-8c95-42a9-a298-dfd645e9a76a" providerId="ADAL" clId="{750E9A50-ACEA-48D3-B2C6-355D5EC56876}" dt="2024-06-13T13:45:53.782" v="6441" actId="207"/>
          <ac:spMkLst>
            <pc:docMk/>
            <pc:sldMk cId="0" sldId="328"/>
            <ac:spMk id="20" creationId="{EF31A616-E94F-1A41-E0F1-09363A3F3C1E}"/>
          </ac:spMkLst>
        </pc:spChg>
        <pc:spChg chg="mod ord">
          <ac:chgData name="Deimonmi Nongrum [Chillibreeze]" userId="e937f645-8c95-42a9-a298-dfd645e9a76a" providerId="ADAL" clId="{750E9A50-ACEA-48D3-B2C6-355D5EC56876}" dt="2024-06-13T13:46:07.288" v="6443" actId="207"/>
          <ac:spMkLst>
            <pc:docMk/>
            <pc:sldMk cId="0" sldId="328"/>
            <ac:spMk id="21" creationId="{A0BC6867-AE7F-7966-D994-3E1532765073}"/>
          </ac:spMkLst>
        </pc:spChg>
        <pc:spChg chg="mod ord">
          <ac:chgData name="Deimonmi Nongrum [Chillibreeze]" userId="e937f645-8c95-42a9-a298-dfd645e9a76a" providerId="ADAL" clId="{750E9A50-ACEA-48D3-B2C6-355D5EC56876}" dt="2024-06-13T13:46:14.120" v="6444" actId="207"/>
          <ac:spMkLst>
            <pc:docMk/>
            <pc:sldMk cId="0" sldId="328"/>
            <ac:spMk id="22" creationId="{98406026-DB4E-AF91-2CD4-EE84C9F908C2}"/>
          </ac:spMkLst>
        </pc:spChg>
        <pc:spChg chg="mod ord">
          <ac:chgData name="Deimonmi Nongrum [Chillibreeze]" userId="e937f645-8c95-42a9-a298-dfd645e9a76a" providerId="ADAL" clId="{750E9A50-ACEA-48D3-B2C6-355D5EC56876}" dt="2024-06-13T13:46:20.849" v="6445" actId="207"/>
          <ac:spMkLst>
            <pc:docMk/>
            <pc:sldMk cId="0" sldId="328"/>
            <ac:spMk id="23" creationId="{BCBDE336-28E5-7F12-256A-A5AC158CEAE4}"/>
          </ac:spMkLst>
        </pc:spChg>
        <pc:spChg chg="mod">
          <ac:chgData name="Deimonmi Nongrum [Chillibreeze]" userId="e937f645-8c95-42a9-a298-dfd645e9a76a" providerId="ADAL" clId="{750E9A50-ACEA-48D3-B2C6-355D5EC56876}" dt="2024-06-13T13:46:26.761" v="6447" actId="571"/>
          <ac:spMkLst>
            <pc:docMk/>
            <pc:sldMk cId="0" sldId="328"/>
            <ac:spMk id="24" creationId="{CAB85117-5E48-ACEF-8024-8036D52FD78D}"/>
          </ac:spMkLst>
        </pc:spChg>
        <pc:spChg chg="mod">
          <ac:chgData name="Deimonmi Nongrum [Chillibreeze]" userId="e937f645-8c95-42a9-a298-dfd645e9a76a" providerId="ADAL" clId="{750E9A50-ACEA-48D3-B2C6-355D5EC56876}" dt="2024-06-13T13:46:26.761" v="6447" actId="571"/>
          <ac:spMkLst>
            <pc:docMk/>
            <pc:sldMk cId="0" sldId="328"/>
            <ac:spMk id="25" creationId="{5EAED4FD-755C-1CDE-4D7D-BD8CEB0E73E4}"/>
          </ac:spMkLst>
        </pc:spChg>
        <pc:spChg chg="mod">
          <ac:chgData name="Deimonmi Nongrum [Chillibreeze]" userId="e937f645-8c95-42a9-a298-dfd645e9a76a" providerId="ADAL" clId="{750E9A50-ACEA-48D3-B2C6-355D5EC56876}" dt="2024-06-13T13:46:26.761" v="6447" actId="571"/>
          <ac:spMkLst>
            <pc:docMk/>
            <pc:sldMk cId="0" sldId="328"/>
            <ac:spMk id="26" creationId="{30E13D1A-9D29-D6E1-72AB-B63832EC651E}"/>
          </ac:spMkLst>
        </pc:spChg>
        <pc:spChg chg="mod">
          <ac:chgData name="Deimonmi Nongrum [Chillibreeze]" userId="e937f645-8c95-42a9-a298-dfd645e9a76a" providerId="ADAL" clId="{750E9A50-ACEA-48D3-B2C6-355D5EC56876}" dt="2024-06-13T13:46:26.761" v="6447" actId="571"/>
          <ac:spMkLst>
            <pc:docMk/>
            <pc:sldMk cId="0" sldId="328"/>
            <ac:spMk id="27" creationId="{DE65A112-BFE7-B13D-1F48-2823C8D82765}"/>
          </ac:spMkLst>
        </pc:spChg>
        <pc:spChg chg="mod">
          <ac:chgData name="Deimonmi Nongrum [Chillibreeze]" userId="e937f645-8c95-42a9-a298-dfd645e9a76a" providerId="ADAL" clId="{750E9A50-ACEA-48D3-B2C6-355D5EC56876}" dt="2024-06-13T13:46:26.761" v="6447" actId="571"/>
          <ac:spMkLst>
            <pc:docMk/>
            <pc:sldMk cId="0" sldId="328"/>
            <ac:spMk id="28" creationId="{7EBAF778-A31C-D5AF-ECB7-21325A400F55}"/>
          </ac:spMkLst>
        </pc:spChg>
        <pc:spChg chg="mod">
          <ac:chgData name="Deimonmi Nongrum [Chillibreeze]" userId="e937f645-8c95-42a9-a298-dfd645e9a76a" providerId="ADAL" clId="{750E9A50-ACEA-48D3-B2C6-355D5EC56876}" dt="2024-06-13T13:42:36.261" v="6221"/>
          <ac:spMkLst>
            <pc:docMk/>
            <pc:sldMk cId="0" sldId="328"/>
            <ac:spMk id="35" creationId="{4F02E147-F603-AF3F-A22A-96D270E1E935}"/>
          </ac:spMkLst>
        </pc:spChg>
        <pc:spChg chg="mod">
          <ac:chgData name="Deimonmi Nongrum [Chillibreeze]" userId="e937f645-8c95-42a9-a298-dfd645e9a76a" providerId="ADAL" clId="{750E9A50-ACEA-48D3-B2C6-355D5EC56876}" dt="2024-06-13T13:42:38.800" v="6223"/>
          <ac:spMkLst>
            <pc:docMk/>
            <pc:sldMk cId="0" sldId="328"/>
            <ac:spMk id="36" creationId="{A0AACA55-E2D8-E0DB-C394-60F7BB4A27FD}"/>
          </ac:spMkLst>
        </pc:spChg>
        <pc:spChg chg="mod">
          <ac:chgData name="Deimonmi Nongrum [Chillibreeze]" userId="e937f645-8c95-42a9-a298-dfd645e9a76a" providerId="ADAL" clId="{750E9A50-ACEA-48D3-B2C6-355D5EC56876}" dt="2024-06-13T13:42:43.068" v="6225"/>
          <ac:spMkLst>
            <pc:docMk/>
            <pc:sldMk cId="0" sldId="328"/>
            <ac:spMk id="37" creationId="{2133A1E4-B693-14D5-1A38-A27A8109C66C}"/>
          </ac:spMkLst>
        </pc:spChg>
        <pc:spChg chg="mod">
          <ac:chgData name="Deimonmi Nongrum [Chillibreeze]" userId="e937f645-8c95-42a9-a298-dfd645e9a76a" providerId="ADAL" clId="{750E9A50-ACEA-48D3-B2C6-355D5EC56876}" dt="2024-06-13T13:43:49.270" v="6260" actId="207"/>
          <ac:spMkLst>
            <pc:docMk/>
            <pc:sldMk cId="0" sldId="328"/>
            <ac:spMk id="38" creationId="{4D9FDD71-979C-D1F3-B3AC-26EE05FABBBD}"/>
          </ac:spMkLst>
        </pc:spChg>
        <pc:spChg chg="mod">
          <ac:chgData name="Deimonmi Nongrum [Chillibreeze]" userId="e937f645-8c95-42a9-a298-dfd645e9a76a" providerId="ADAL" clId="{750E9A50-ACEA-48D3-B2C6-355D5EC56876}" dt="2024-06-13T13:42:32.751" v="6219"/>
          <ac:spMkLst>
            <pc:docMk/>
            <pc:sldMk cId="0" sldId="328"/>
            <ac:spMk id="39" creationId="{162109E4-6BC0-7AAA-3C7E-2D90B6F1AFEA}"/>
          </ac:spMkLst>
        </pc:spChg>
        <pc:spChg chg="mod ord">
          <ac:chgData name="Deimonmi Nongrum [Chillibreeze]" userId="e937f645-8c95-42a9-a298-dfd645e9a76a" providerId="ADAL" clId="{750E9A50-ACEA-48D3-B2C6-355D5EC56876}" dt="2024-06-13T12:06:22.347" v="4090" actId="167"/>
          <ac:spMkLst>
            <pc:docMk/>
            <pc:sldMk cId="0" sldId="328"/>
            <ac:spMk id="5715" creationId="{81262D30-8297-61C7-A548-23B62382B89C}"/>
          </ac:spMkLst>
        </pc:spChg>
        <pc:spChg chg="mod ord">
          <ac:chgData name="Deimonmi Nongrum [Chillibreeze]" userId="e937f645-8c95-42a9-a298-dfd645e9a76a" providerId="ADAL" clId="{750E9A50-ACEA-48D3-B2C6-355D5EC56876}" dt="2024-06-13T11:27:40.737" v="3578"/>
          <ac:spMkLst>
            <pc:docMk/>
            <pc:sldMk cId="0" sldId="328"/>
            <ac:spMk id="5735" creationId="{CD52F6BC-858A-E69B-52E4-F5DC40B0CE05}"/>
          </ac:spMkLst>
        </pc:spChg>
        <pc:spChg chg="mod">
          <ac:chgData name="Deimonmi Nongrum [Chillibreeze]" userId="e937f645-8c95-42a9-a298-dfd645e9a76a" providerId="ADAL" clId="{750E9A50-ACEA-48D3-B2C6-355D5EC56876}" dt="2024-06-13T11:27:01.763" v="3547"/>
          <ac:spMkLst>
            <pc:docMk/>
            <pc:sldMk cId="0" sldId="328"/>
            <ac:spMk id="5737" creationId="{4BF0AEC2-8E22-E6BA-60DE-43F4274B5178}"/>
          </ac:spMkLst>
        </pc:spChg>
        <pc:spChg chg="mod">
          <ac:chgData name="Deimonmi Nongrum [Chillibreeze]" userId="e937f645-8c95-42a9-a298-dfd645e9a76a" providerId="ADAL" clId="{750E9A50-ACEA-48D3-B2C6-355D5EC56876}" dt="2024-06-13T11:27:01.763" v="3547"/>
          <ac:spMkLst>
            <pc:docMk/>
            <pc:sldMk cId="0" sldId="328"/>
            <ac:spMk id="5738" creationId="{0B3ACF19-D62A-6928-4354-2C633AFE7DA2}"/>
          </ac:spMkLst>
        </pc:spChg>
        <pc:spChg chg="mod">
          <ac:chgData name="Deimonmi Nongrum [Chillibreeze]" userId="e937f645-8c95-42a9-a298-dfd645e9a76a" providerId="ADAL" clId="{750E9A50-ACEA-48D3-B2C6-355D5EC56876}" dt="2024-06-13T11:27:01.766" v="3559"/>
          <ac:spMkLst>
            <pc:docMk/>
            <pc:sldMk cId="0" sldId="328"/>
            <ac:spMk id="5740" creationId="{E625AC84-087F-CBBA-2B5F-E29891672F55}"/>
          </ac:spMkLst>
        </pc:spChg>
        <pc:spChg chg="mod">
          <ac:chgData name="Deimonmi Nongrum [Chillibreeze]" userId="e937f645-8c95-42a9-a298-dfd645e9a76a" providerId="ADAL" clId="{750E9A50-ACEA-48D3-B2C6-355D5EC56876}" dt="2024-06-13T11:27:01.766" v="3559"/>
          <ac:spMkLst>
            <pc:docMk/>
            <pc:sldMk cId="0" sldId="328"/>
            <ac:spMk id="5741" creationId="{236B20AA-BDBE-3836-3370-4CB1246EBEF9}"/>
          </ac:spMkLst>
        </pc:spChg>
        <pc:spChg chg="mod">
          <ac:chgData name="Deimonmi Nongrum [Chillibreeze]" userId="e937f645-8c95-42a9-a298-dfd645e9a76a" providerId="ADAL" clId="{750E9A50-ACEA-48D3-B2C6-355D5EC56876}" dt="2024-06-13T11:27:01.766" v="3559"/>
          <ac:spMkLst>
            <pc:docMk/>
            <pc:sldMk cId="0" sldId="328"/>
            <ac:spMk id="5742" creationId="{FECFCDD6-23D5-29C8-70ED-55A699BFF267}"/>
          </ac:spMkLst>
        </pc:spChg>
        <pc:spChg chg="mod">
          <ac:chgData name="Deimonmi Nongrum [Chillibreeze]" userId="e937f645-8c95-42a9-a298-dfd645e9a76a" providerId="ADAL" clId="{750E9A50-ACEA-48D3-B2C6-355D5EC56876}" dt="2024-06-13T11:27:01.766" v="3559"/>
          <ac:spMkLst>
            <pc:docMk/>
            <pc:sldMk cId="0" sldId="328"/>
            <ac:spMk id="5743" creationId="{B328A95A-102B-2BBA-6707-13B64559C7DA}"/>
          </ac:spMkLst>
        </pc:spChg>
        <pc:spChg chg="mod">
          <ac:chgData name="Deimonmi Nongrum [Chillibreeze]" userId="e937f645-8c95-42a9-a298-dfd645e9a76a" providerId="ADAL" clId="{750E9A50-ACEA-48D3-B2C6-355D5EC56876}" dt="2024-06-13T11:27:01.766" v="3559"/>
          <ac:spMkLst>
            <pc:docMk/>
            <pc:sldMk cId="0" sldId="328"/>
            <ac:spMk id="5744" creationId="{B720FA53-0BBB-D8CB-A8C8-9C96A7323DFC}"/>
          </ac:spMkLst>
        </pc:spChg>
        <pc:spChg chg="mod">
          <ac:chgData name="Deimonmi Nongrum [Chillibreeze]" userId="e937f645-8c95-42a9-a298-dfd645e9a76a" providerId="ADAL" clId="{750E9A50-ACEA-48D3-B2C6-355D5EC56876}" dt="2024-06-13T11:27:01.766" v="3559"/>
          <ac:spMkLst>
            <pc:docMk/>
            <pc:sldMk cId="0" sldId="328"/>
            <ac:spMk id="5745" creationId="{E8723F32-ACF6-EDCD-71B4-00D2341B1534}"/>
          </ac:spMkLst>
        </pc:spChg>
        <pc:spChg chg="mod">
          <ac:chgData name="Deimonmi Nongrum [Chillibreeze]" userId="e937f645-8c95-42a9-a298-dfd645e9a76a" providerId="ADAL" clId="{750E9A50-ACEA-48D3-B2C6-355D5EC56876}" dt="2024-06-13T11:27:01.766" v="3559"/>
          <ac:spMkLst>
            <pc:docMk/>
            <pc:sldMk cId="0" sldId="328"/>
            <ac:spMk id="5746" creationId="{E5A573CB-00E0-C375-A0C4-F46CC83462A6}"/>
          </ac:spMkLst>
        </pc:spChg>
        <pc:spChg chg="mod">
          <ac:chgData name="Deimonmi Nongrum [Chillibreeze]" userId="e937f645-8c95-42a9-a298-dfd645e9a76a" providerId="ADAL" clId="{750E9A50-ACEA-48D3-B2C6-355D5EC56876}" dt="2024-06-13T11:27:01.766" v="3559"/>
          <ac:spMkLst>
            <pc:docMk/>
            <pc:sldMk cId="0" sldId="328"/>
            <ac:spMk id="5747" creationId="{27FEA527-F0D7-A173-F35E-9A840DAF1C7F}"/>
          </ac:spMkLst>
        </pc:spChg>
        <pc:spChg chg="mod">
          <ac:chgData name="Deimonmi Nongrum [Chillibreeze]" userId="e937f645-8c95-42a9-a298-dfd645e9a76a" providerId="ADAL" clId="{750E9A50-ACEA-48D3-B2C6-355D5EC56876}" dt="2024-06-13T11:27:01.766" v="3559"/>
          <ac:spMkLst>
            <pc:docMk/>
            <pc:sldMk cId="0" sldId="328"/>
            <ac:spMk id="5748" creationId="{391990FA-3328-7D15-20FD-84EC136417C9}"/>
          </ac:spMkLst>
        </pc:spChg>
        <pc:spChg chg="mod">
          <ac:chgData name="Deimonmi Nongrum [Chillibreeze]" userId="e937f645-8c95-42a9-a298-dfd645e9a76a" providerId="ADAL" clId="{750E9A50-ACEA-48D3-B2C6-355D5EC56876}" dt="2024-06-13T11:27:01.766" v="3559"/>
          <ac:spMkLst>
            <pc:docMk/>
            <pc:sldMk cId="0" sldId="328"/>
            <ac:spMk id="5749" creationId="{0C51BD02-F434-A4F1-0AFC-85869CEA401A}"/>
          </ac:spMkLst>
        </pc:spChg>
        <pc:spChg chg="mod">
          <ac:chgData name="Deimonmi Nongrum [Chillibreeze]" userId="e937f645-8c95-42a9-a298-dfd645e9a76a" providerId="ADAL" clId="{750E9A50-ACEA-48D3-B2C6-355D5EC56876}" dt="2024-06-13T11:27:01.766" v="3559"/>
          <ac:spMkLst>
            <pc:docMk/>
            <pc:sldMk cId="0" sldId="328"/>
            <ac:spMk id="5750" creationId="{03D2172B-CC74-F90F-8EF1-6F8F63BA6F40}"/>
          </ac:spMkLst>
        </pc:spChg>
        <pc:spChg chg="mod">
          <ac:chgData name="Deimonmi Nongrum [Chillibreeze]" userId="e937f645-8c95-42a9-a298-dfd645e9a76a" providerId="ADAL" clId="{750E9A50-ACEA-48D3-B2C6-355D5EC56876}" dt="2024-06-13T11:27:01.766" v="3559"/>
          <ac:spMkLst>
            <pc:docMk/>
            <pc:sldMk cId="0" sldId="328"/>
            <ac:spMk id="5751" creationId="{8D867584-58F9-DCC2-BBEE-52AF72AC8F75}"/>
          </ac:spMkLst>
        </pc:spChg>
        <pc:spChg chg="mod">
          <ac:chgData name="Deimonmi Nongrum [Chillibreeze]" userId="e937f645-8c95-42a9-a298-dfd645e9a76a" providerId="ADAL" clId="{750E9A50-ACEA-48D3-B2C6-355D5EC56876}" dt="2024-06-13T11:27:01.766" v="3559"/>
          <ac:spMkLst>
            <pc:docMk/>
            <pc:sldMk cId="0" sldId="328"/>
            <ac:spMk id="5752" creationId="{B8681601-EB87-DB28-AD6F-EE0C60028B8D}"/>
          </ac:spMkLst>
        </pc:spChg>
        <pc:spChg chg="mod">
          <ac:chgData name="Deimonmi Nongrum [Chillibreeze]" userId="e937f645-8c95-42a9-a298-dfd645e9a76a" providerId="ADAL" clId="{750E9A50-ACEA-48D3-B2C6-355D5EC56876}" dt="2024-06-13T11:27:01.766" v="3559"/>
          <ac:spMkLst>
            <pc:docMk/>
            <pc:sldMk cId="0" sldId="328"/>
            <ac:spMk id="5753" creationId="{E8F61103-8354-E398-8D6F-6B769FAF74F3}"/>
          </ac:spMkLst>
        </pc:spChg>
        <pc:spChg chg="mod">
          <ac:chgData name="Deimonmi Nongrum [Chillibreeze]" userId="e937f645-8c95-42a9-a298-dfd645e9a76a" providerId="ADAL" clId="{750E9A50-ACEA-48D3-B2C6-355D5EC56876}" dt="2024-06-13T11:27:01.766" v="3559"/>
          <ac:spMkLst>
            <pc:docMk/>
            <pc:sldMk cId="0" sldId="328"/>
            <ac:spMk id="5754" creationId="{08BDAE94-9936-3CB4-CDE1-750BE3162110}"/>
          </ac:spMkLst>
        </pc:spChg>
        <pc:spChg chg="mod">
          <ac:chgData name="Deimonmi Nongrum [Chillibreeze]" userId="e937f645-8c95-42a9-a298-dfd645e9a76a" providerId="ADAL" clId="{750E9A50-ACEA-48D3-B2C6-355D5EC56876}" dt="2024-06-13T11:27:01.766" v="3559"/>
          <ac:spMkLst>
            <pc:docMk/>
            <pc:sldMk cId="0" sldId="328"/>
            <ac:spMk id="5755" creationId="{C2DCA5E0-CA77-A441-0F8B-1188D4DB5F89}"/>
          </ac:spMkLst>
        </pc:spChg>
        <pc:spChg chg="mod">
          <ac:chgData name="Deimonmi Nongrum [Chillibreeze]" userId="e937f645-8c95-42a9-a298-dfd645e9a76a" providerId="ADAL" clId="{750E9A50-ACEA-48D3-B2C6-355D5EC56876}" dt="2024-06-13T11:27:01.766" v="3559"/>
          <ac:spMkLst>
            <pc:docMk/>
            <pc:sldMk cId="0" sldId="328"/>
            <ac:spMk id="5756" creationId="{715CB73A-014C-1CCC-3389-8185A9B06B89}"/>
          </ac:spMkLst>
        </pc:spChg>
        <pc:spChg chg="mod">
          <ac:chgData name="Deimonmi Nongrum [Chillibreeze]" userId="e937f645-8c95-42a9-a298-dfd645e9a76a" providerId="ADAL" clId="{750E9A50-ACEA-48D3-B2C6-355D5EC56876}" dt="2024-06-13T11:27:01.766" v="3559"/>
          <ac:spMkLst>
            <pc:docMk/>
            <pc:sldMk cId="0" sldId="328"/>
            <ac:spMk id="5757" creationId="{448F1EBF-C3C6-61DE-B0AF-C1DC5284954E}"/>
          </ac:spMkLst>
        </pc:spChg>
        <pc:spChg chg="mod ord topLvl">
          <ac:chgData name="Deimonmi Nongrum [Chillibreeze]" userId="e937f645-8c95-42a9-a298-dfd645e9a76a" providerId="ADAL" clId="{750E9A50-ACEA-48D3-B2C6-355D5EC56876}" dt="2024-06-13T12:06:30.856" v="4095"/>
          <ac:spMkLst>
            <pc:docMk/>
            <pc:sldMk cId="0" sldId="328"/>
            <ac:spMk id="5758" creationId="{DD58AB7B-2181-CCD4-A47B-25A3C6337453}"/>
          </ac:spMkLst>
        </pc:spChg>
        <pc:grpChg chg="add del mod">
          <ac:chgData name="Deimonmi Nongrum [Chillibreeze]" userId="e937f645-8c95-42a9-a298-dfd645e9a76a" providerId="ADAL" clId="{750E9A50-ACEA-48D3-B2C6-355D5EC56876}" dt="2024-06-13T11:26:48.825" v="3536" actId="165"/>
          <ac:grpSpMkLst>
            <pc:docMk/>
            <pc:sldMk cId="0" sldId="328"/>
            <ac:grpSpMk id="2" creationId="{893847A4-AFA6-29D0-8EAC-23F70FADFFE0}"/>
          </ac:grpSpMkLst>
        </pc:grpChg>
        <pc:grpChg chg="add del mod">
          <ac:chgData name="Deimonmi Nongrum [Chillibreeze]" userId="e937f645-8c95-42a9-a298-dfd645e9a76a" providerId="ADAL" clId="{750E9A50-ACEA-48D3-B2C6-355D5EC56876}" dt="2024-06-13T13:46:28.323" v="6448" actId="21"/>
          <ac:grpSpMkLst>
            <pc:docMk/>
            <pc:sldMk cId="0" sldId="328"/>
            <ac:grpSpMk id="18" creationId="{BDB72A7E-2F3E-854C-D803-B1BBE9876C0F}"/>
          </ac:grpSpMkLst>
        </pc:grpChg>
        <pc:grpChg chg="mod ord">
          <ac:chgData name="Deimonmi Nongrum [Chillibreeze]" userId="e937f645-8c95-42a9-a298-dfd645e9a76a" providerId="ADAL" clId="{750E9A50-ACEA-48D3-B2C6-355D5EC56876}" dt="2024-06-13T12:06:22.347" v="4090" actId="167"/>
          <ac:grpSpMkLst>
            <pc:docMk/>
            <pc:sldMk cId="0" sldId="328"/>
            <ac:grpSpMk id="43" creationId="{DEDC9584-93AE-7305-F60E-0B9BAB4AE030}"/>
          </ac:grpSpMkLst>
        </pc:grpChg>
        <pc:grpChg chg="mod ord topLvl">
          <ac:chgData name="Deimonmi Nongrum [Chillibreeze]" userId="e937f645-8c95-42a9-a298-dfd645e9a76a" providerId="ADAL" clId="{750E9A50-ACEA-48D3-B2C6-355D5EC56876}" dt="2024-06-13T12:06:22.347" v="4090" actId="167"/>
          <ac:grpSpMkLst>
            <pc:docMk/>
            <pc:sldMk cId="0" sldId="328"/>
            <ac:grpSpMk id="5734" creationId="{9D38A1F2-F431-270B-8E60-733EA89EBCE2}"/>
          </ac:grpSpMkLst>
        </pc:grpChg>
        <pc:grpChg chg="mod">
          <ac:chgData name="Deimonmi Nongrum [Chillibreeze]" userId="e937f645-8c95-42a9-a298-dfd645e9a76a" providerId="ADAL" clId="{750E9A50-ACEA-48D3-B2C6-355D5EC56876}" dt="2024-06-13T11:27:01.763" v="3547"/>
          <ac:grpSpMkLst>
            <pc:docMk/>
            <pc:sldMk cId="0" sldId="328"/>
            <ac:grpSpMk id="5736" creationId="{37B53A90-5A09-FC4C-6AEF-30F7A7B36215}"/>
          </ac:grpSpMkLst>
        </pc:grpChg>
        <pc:grpChg chg="mod ord topLvl">
          <ac:chgData name="Deimonmi Nongrum [Chillibreeze]" userId="e937f645-8c95-42a9-a298-dfd645e9a76a" providerId="ADAL" clId="{750E9A50-ACEA-48D3-B2C6-355D5EC56876}" dt="2024-06-13T12:06:22.347" v="4090" actId="167"/>
          <ac:grpSpMkLst>
            <pc:docMk/>
            <pc:sldMk cId="0" sldId="328"/>
            <ac:grpSpMk id="5739" creationId="{FF7A506F-0D58-1BC3-85F7-3D0EE160F9BF}"/>
          </ac:grpSpMkLst>
        </pc:grpChg>
        <pc:graphicFrameChg chg="del mod">
          <ac:chgData name="Deimonmi Nongrum [Chillibreeze]" userId="e937f645-8c95-42a9-a298-dfd645e9a76a" providerId="ADAL" clId="{750E9A50-ACEA-48D3-B2C6-355D5EC56876}" dt="2024-06-13T12:06:39.393" v="4098" actId="478"/>
          <ac:graphicFrameMkLst>
            <pc:docMk/>
            <pc:sldMk cId="0" sldId="328"/>
            <ac:graphicFrameMk id="3" creationId="{EFBF82EB-EB56-065A-A354-8C4262B768E4}"/>
          </ac:graphicFrameMkLst>
        </pc:graphicFrameChg>
        <pc:picChg chg="mod ord">
          <ac:chgData name="Deimonmi Nongrum [Chillibreeze]" userId="e937f645-8c95-42a9-a298-dfd645e9a76a" providerId="ADAL" clId="{750E9A50-ACEA-48D3-B2C6-355D5EC56876}" dt="2024-06-13T12:06:22.347" v="4090" actId="167"/>
          <ac:picMkLst>
            <pc:docMk/>
            <pc:sldMk cId="0" sldId="328"/>
            <ac:picMk id="15" creationId="{D9B6A7D2-5BD5-FFD8-9FF0-C8599F8D1AE5}"/>
          </ac:picMkLst>
        </pc:picChg>
        <pc:picChg chg="mod ord">
          <ac:chgData name="Deimonmi Nongrum [Chillibreeze]" userId="e937f645-8c95-42a9-a298-dfd645e9a76a" providerId="ADAL" clId="{750E9A50-ACEA-48D3-B2C6-355D5EC56876}" dt="2024-06-13T12:06:22.347" v="4090" actId="167"/>
          <ac:picMkLst>
            <pc:docMk/>
            <pc:sldMk cId="0" sldId="328"/>
            <ac:picMk id="16" creationId="{57013595-41F0-A102-E063-C2FBE19CFFFC}"/>
          </ac:picMkLst>
        </pc:picChg>
        <pc:picChg chg="mod ord topLvl">
          <ac:chgData name="Deimonmi Nongrum [Chillibreeze]" userId="e937f645-8c95-42a9-a298-dfd645e9a76a" providerId="ADAL" clId="{750E9A50-ACEA-48D3-B2C6-355D5EC56876}" dt="2024-06-13T12:06:22.347" v="4090" actId="167"/>
          <ac:picMkLst>
            <pc:docMk/>
            <pc:sldMk cId="0" sldId="328"/>
            <ac:picMk id="42" creationId="{5E1D4B63-725F-6309-123B-88A303CE0DBB}"/>
          </ac:picMkLst>
        </pc:picChg>
        <pc:cxnChg chg="mod ord">
          <ac:chgData name="Deimonmi Nongrum [Chillibreeze]" userId="e937f645-8c95-42a9-a298-dfd645e9a76a" providerId="ADAL" clId="{750E9A50-ACEA-48D3-B2C6-355D5EC56876}" dt="2024-06-13T13:45:42.326" v="6440" actId="166"/>
          <ac:cxnSpMkLst>
            <pc:docMk/>
            <pc:sldMk cId="0" sldId="328"/>
            <ac:cxnSpMk id="45" creationId="{7C9F3AE4-33F0-489E-57DE-1FD55504D3B7}"/>
          </ac:cxnSpMkLst>
        </pc:cxnChg>
        <pc:cxnChg chg="mod ord">
          <ac:chgData name="Deimonmi Nongrum [Chillibreeze]" userId="e937f645-8c95-42a9-a298-dfd645e9a76a" providerId="ADAL" clId="{750E9A50-ACEA-48D3-B2C6-355D5EC56876}" dt="2024-06-13T13:45:42.326" v="6440" actId="166"/>
          <ac:cxnSpMkLst>
            <pc:docMk/>
            <pc:sldMk cId="0" sldId="328"/>
            <ac:cxnSpMk id="50" creationId="{8DD758A4-CF52-5069-5339-453468126735}"/>
          </ac:cxnSpMkLst>
        </pc:cxnChg>
        <pc:cxnChg chg="mod ord">
          <ac:chgData name="Deimonmi Nongrum [Chillibreeze]" userId="e937f645-8c95-42a9-a298-dfd645e9a76a" providerId="ADAL" clId="{750E9A50-ACEA-48D3-B2C6-355D5EC56876}" dt="2024-06-13T13:45:42.326" v="6440" actId="166"/>
          <ac:cxnSpMkLst>
            <pc:docMk/>
            <pc:sldMk cId="0" sldId="328"/>
            <ac:cxnSpMk id="53" creationId="{DCCFA5D0-74F5-337F-2DF1-609CFCBD7FD2}"/>
          </ac:cxnSpMkLst>
        </pc:cxnChg>
        <pc:cxnChg chg="mod ord">
          <ac:chgData name="Deimonmi Nongrum [Chillibreeze]" userId="e937f645-8c95-42a9-a298-dfd645e9a76a" providerId="ADAL" clId="{750E9A50-ACEA-48D3-B2C6-355D5EC56876}" dt="2024-06-13T13:45:42.326" v="6440" actId="166"/>
          <ac:cxnSpMkLst>
            <pc:docMk/>
            <pc:sldMk cId="0" sldId="328"/>
            <ac:cxnSpMk id="57" creationId="{5F92F39F-9325-9224-6F34-EFA8DD4EE810}"/>
          </ac:cxnSpMkLst>
        </pc:cxnChg>
        <pc:cxnChg chg="mod ord">
          <ac:chgData name="Deimonmi Nongrum [Chillibreeze]" userId="e937f645-8c95-42a9-a298-dfd645e9a76a" providerId="ADAL" clId="{750E9A50-ACEA-48D3-B2C6-355D5EC56876}" dt="2024-06-13T13:45:42.326" v="6440" actId="166"/>
          <ac:cxnSpMkLst>
            <pc:docMk/>
            <pc:sldMk cId="0" sldId="328"/>
            <ac:cxnSpMk id="60" creationId="{90B641A1-0D5D-BBF0-4BE2-7A24784618BB}"/>
          </ac:cxnSpMkLst>
        </pc:cxnChg>
      </pc:sldChg>
      <pc:sldChg chg="addSp delSp modSp mod setBg modClrScheme chgLayout">
        <pc:chgData name="Deimonmi Nongrum [Chillibreeze]" userId="e937f645-8c95-42a9-a298-dfd645e9a76a" providerId="ADAL" clId="{750E9A50-ACEA-48D3-B2C6-355D5EC56876}" dt="2024-06-13T13:55:49.413" v="7235" actId="207"/>
        <pc:sldMkLst>
          <pc:docMk/>
          <pc:sldMk cId="0" sldId="329"/>
        </pc:sldMkLst>
        <pc:spChg chg="mod">
          <ac:chgData name="Deimonmi Nongrum [Chillibreeze]" userId="e937f645-8c95-42a9-a298-dfd645e9a76a" providerId="ADAL" clId="{750E9A50-ACEA-48D3-B2C6-355D5EC56876}" dt="2024-06-13T13:47:44.384" v="6595"/>
          <ac:spMkLst>
            <pc:docMk/>
            <pc:sldMk cId="0" sldId="329"/>
            <ac:spMk id="3" creationId="{EFF68F67-87FC-CB33-5C0F-C9464FD72C75}"/>
          </ac:spMkLst>
        </pc:spChg>
        <pc:spChg chg="mod">
          <ac:chgData name="Deimonmi Nongrum [Chillibreeze]" userId="e937f645-8c95-42a9-a298-dfd645e9a76a" providerId="ADAL" clId="{750E9A50-ACEA-48D3-B2C6-355D5EC56876}" dt="2024-06-13T13:47:44.384" v="6595"/>
          <ac:spMkLst>
            <pc:docMk/>
            <pc:sldMk cId="0" sldId="329"/>
            <ac:spMk id="4" creationId="{9889EE10-BD4B-50FA-5A1E-D787C03A08CC}"/>
          </ac:spMkLst>
        </pc:spChg>
        <pc:spChg chg="mod">
          <ac:chgData name="Deimonmi Nongrum [Chillibreeze]" userId="e937f645-8c95-42a9-a298-dfd645e9a76a" providerId="ADAL" clId="{750E9A50-ACEA-48D3-B2C6-355D5EC56876}" dt="2024-06-13T13:47:44.384" v="6595"/>
          <ac:spMkLst>
            <pc:docMk/>
            <pc:sldMk cId="0" sldId="329"/>
            <ac:spMk id="5" creationId="{CF9A8536-FBB4-28F4-7C76-2FC51DBEEDB6}"/>
          </ac:spMkLst>
        </pc:spChg>
        <pc:spChg chg="mod">
          <ac:chgData name="Deimonmi Nongrum [Chillibreeze]" userId="e937f645-8c95-42a9-a298-dfd645e9a76a" providerId="ADAL" clId="{750E9A50-ACEA-48D3-B2C6-355D5EC56876}" dt="2024-06-13T13:47:44.384" v="6595"/>
          <ac:spMkLst>
            <pc:docMk/>
            <pc:sldMk cId="0" sldId="329"/>
            <ac:spMk id="7" creationId="{D0812681-6420-C5F0-F363-EDD0BFB28ECF}"/>
          </ac:spMkLst>
        </pc:spChg>
        <pc:spChg chg="mod">
          <ac:chgData name="Deimonmi Nongrum [Chillibreeze]" userId="e937f645-8c95-42a9-a298-dfd645e9a76a" providerId="ADAL" clId="{750E9A50-ACEA-48D3-B2C6-355D5EC56876}" dt="2024-06-13T13:47:44.384" v="6595"/>
          <ac:spMkLst>
            <pc:docMk/>
            <pc:sldMk cId="0" sldId="329"/>
            <ac:spMk id="8" creationId="{3BC302B9-5868-06B4-A83D-CE15DCE238C4}"/>
          </ac:spMkLst>
        </pc:spChg>
        <pc:spChg chg="mod">
          <ac:chgData name="Deimonmi Nongrum [Chillibreeze]" userId="e937f645-8c95-42a9-a298-dfd645e9a76a" providerId="ADAL" clId="{750E9A50-ACEA-48D3-B2C6-355D5EC56876}" dt="2024-06-13T13:49:17.777" v="7054"/>
          <ac:spMkLst>
            <pc:docMk/>
            <pc:sldMk cId="0" sldId="329"/>
            <ac:spMk id="10" creationId="{226D0649-5043-8BAB-2672-239387F5D31B}"/>
          </ac:spMkLst>
        </pc:spChg>
        <pc:spChg chg="mod">
          <ac:chgData name="Deimonmi Nongrum [Chillibreeze]" userId="e937f645-8c95-42a9-a298-dfd645e9a76a" providerId="ADAL" clId="{750E9A50-ACEA-48D3-B2C6-355D5EC56876}" dt="2024-06-13T13:49:17.777" v="7054"/>
          <ac:spMkLst>
            <pc:docMk/>
            <pc:sldMk cId="0" sldId="329"/>
            <ac:spMk id="11" creationId="{45731416-381B-22DF-3E5C-7B81BB216133}"/>
          </ac:spMkLst>
        </pc:spChg>
        <pc:spChg chg="mod">
          <ac:chgData name="Deimonmi Nongrum [Chillibreeze]" userId="e937f645-8c95-42a9-a298-dfd645e9a76a" providerId="ADAL" clId="{750E9A50-ACEA-48D3-B2C6-355D5EC56876}" dt="2024-06-13T13:49:17.777" v="7054"/>
          <ac:spMkLst>
            <pc:docMk/>
            <pc:sldMk cId="0" sldId="329"/>
            <ac:spMk id="12" creationId="{9891E934-8EB3-A428-0D0F-06935EB31938}"/>
          </ac:spMkLst>
        </pc:spChg>
        <pc:spChg chg="mod">
          <ac:chgData name="Deimonmi Nongrum [Chillibreeze]" userId="e937f645-8c95-42a9-a298-dfd645e9a76a" providerId="ADAL" clId="{750E9A50-ACEA-48D3-B2C6-355D5EC56876}" dt="2024-06-13T13:49:17.777" v="7054"/>
          <ac:spMkLst>
            <pc:docMk/>
            <pc:sldMk cId="0" sldId="329"/>
            <ac:spMk id="13" creationId="{AD32B029-34EA-61D2-36E2-CF03B7DB2664}"/>
          </ac:spMkLst>
        </pc:spChg>
        <pc:spChg chg="mod">
          <ac:chgData name="Deimonmi Nongrum [Chillibreeze]" userId="e937f645-8c95-42a9-a298-dfd645e9a76a" providerId="ADAL" clId="{750E9A50-ACEA-48D3-B2C6-355D5EC56876}" dt="2024-06-13T13:49:17.777" v="7054"/>
          <ac:spMkLst>
            <pc:docMk/>
            <pc:sldMk cId="0" sldId="329"/>
            <ac:spMk id="14" creationId="{9A8219F3-7177-50E0-E29A-A62A6F44D952}"/>
          </ac:spMkLst>
        </pc:spChg>
        <pc:spChg chg="mod">
          <ac:chgData name="Deimonmi Nongrum [Chillibreeze]" userId="e937f645-8c95-42a9-a298-dfd645e9a76a" providerId="ADAL" clId="{750E9A50-ACEA-48D3-B2C6-355D5EC56876}" dt="2024-06-13T13:49:21.514" v="7134"/>
          <ac:spMkLst>
            <pc:docMk/>
            <pc:sldMk cId="0" sldId="329"/>
            <ac:spMk id="16" creationId="{0413579D-28EE-DCC7-429A-06EB20E8D7AC}"/>
          </ac:spMkLst>
        </pc:spChg>
        <pc:spChg chg="mod">
          <ac:chgData name="Deimonmi Nongrum [Chillibreeze]" userId="e937f645-8c95-42a9-a298-dfd645e9a76a" providerId="ADAL" clId="{750E9A50-ACEA-48D3-B2C6-355D5EC56876}" dt="2024-06-13T13:49:21.514" v="7134"/>
          <ac:spMkLst>
            <pc:docMk/>
            <pc:sldMk cId="0" sldId="329"/>
            <ac:spMk id="17" creationId="{FAF05A57-4FE0-DCBF-D6CE-965A71F1083F}"/>
          </ac:spMkLst>
        </pc:spChg>
        <pc:spChg chg="mod">
          <ac:chgData name="Deimonmi Nongrum [Chillibreeze]" userId="e937f645-8c95-42a9-a298-dfd645e9a76a" providerId="ADAL" clId="{750E9A50-ACEA-48D3-B2C6-355D5EC56876}" dt="2024-06-13T13:49:21.514" v="7134"/>
          <ac:spMkLst>
            <pc:docMk/>
            <pc:sldMk cId="0" sldId="329"/>
            <ac:spMk id="18" creationId="{20FD1052-D446-60B9-D757-A65F39B7850D}"/>
          </ac:spMkLst>
        </pc:spChg>
        <pc:spChg chg="mod">
          <ac:chgData name="Deimonmi Nongrum [Chillibreeze]" userId="e937f645-8c95-42a9-a298-dfd645e9a76a" providerId="ADAL" clId="{750E9A50-ACEA-48D3-B2C6-355D5EC56876}" dt="2024-06-13T13:49:21.514" v="7134"/>
          <ac:spMkLst>
            <pc:docMk/>
            <pc:sldMk cId="0" sldId="329"/>
            <ac:spMk id="19" creationId="{19FA5FC7-01B4-11D6-6FE4-7DD2E9D70E5A}"/>
          </ac:spMkLst>
        </pc:spChg>
        <pc:spChg chg="mod">
          <ac:chgData name="Deimonmi Nongrum [Chillibreeze]" userId="e937f645-8c95-42a9-a298-dfd645e9a76a" providerId="ADAL" clId="{750E9A50-ACEA-48D3-B2C6-355D5EC56876}" dt="2024-06-13T13:49:21.514" v="7134"/>
          <ac:spMkLst>
            <pc:docMk/>
            <pc:sldMk cId="0" sldId="329"/>
            <ac:spMk id="20" creationId="{4324D247-FE8D-C2C5-D8DC-32507C2708F6}"/>
          </ac:spMkLst>
        </pc:spChg>
        <pc:spChg chg="mod">
          <ac:chgData name="Deimonmi Nongrum [Chillibreeze]" userId="e937f645-8c95-42a9-a298-dfd645e9a76a" providerId="ADAL" clId="{750E9A50-ACEA-48D3-B2C6-355D5EC56876}" dt="2024-06-13T13:49:25.347" v="7194"/>
          <ac:spMkLst>
            <pc:docMk/>
            <pc:sldMk cId="0" sldId="329"/>
            <ac:spMk id="23" creationId="{2F5712C3-1F95-A585-89B9-A389A764C8AF}"/>
          </ac:spMkLst>
        </pc:spChg>
        <pc:spChg chg="mod">
          <ac:chgData name="Deimonmi Nongrum [Chillibreeze]" userId="e937f645-8c95-42a9-a298-dfd645e9a76a" providerId="ADAL" clId="{750E9A50-ACEA-48D3-B2C6-355D5EC56876}" dt="2024-06-13T13:49:25.347" v="7194"/>
          <ac:spMkLst>
            <pc:docMk/>
            <pc:sldMk cId="0" sldId="329"/>
            <ac:spMk id="24" creationId="{4DB35EFF-A14A-C9A8-2229-96C520869299}"/>
          </ac:spMkLst>
        </pc:spChg>
        <pc:spChg chg="mod">
          <ac:chgData name="Deimonmi Nongrum [Chillibreeze]" userId="e937f645-8c95-42a9-a298-dfd645e9a76a" providerId="ADAL" clId="{750E9A50-ACEA-48D3-B2C6-355D5EC56876}" dt="2024-06-13T13:49:25.347" v="7194"/>
          <ac:spMkLst>
            <pc:docMk/>
            <pc:sldMk cId="0" sldId="329"/>
            <ac:spMk id="25" creationId="{7E8413C8-E2CE-F578-052C-F39991EB58A1}"/>
          </ac:spMkLst>
        </pc:spChg>
        <pc:spChg chg="mod">
          <ac:chgData name="Deimonmi Nongrum [Chillibreeze]" userId="e937f645-8c95-42a9-a298-dfd645e9a76a" providerId="ADAL" clId="{750E9A50-ACEA-48D3-B2C6-355D5EC56876}" dt="2024-06-13T13:49:25.347" v="7194"/>
          <ac:spMkLst>
            <pc:docMk/>
            <pc:sldMk cId="0" sldId="329"/>
            <ac:spMk id="26" creationId="{98391E74-B256-7F2B-184C-2A77F708E413}"/>
          </ac:spMkLst>
        </pc:spChg>
        <pc:spChg chg="mod">
          <ac:chgData name="Deimonmi Nongrum [Chillibreeze]" userId="e937f645-8c95-42a9-a298-dfd645e9a76a" providerId="ADAL" clId="{750E9A50-ACEA-48D3-B2C6-355D5EC56876}" dt="2024-06-13T13:49:25.347" v="7194"/>
          <ac:spMkLst>
            <pc:docMk/>
            <pc:sldMk cId="0" sldId="329"/>
            <ac:spMk id="28" creationId="{A0450654-A34B-55F4-FF5E-9885550C7FA3}"/>
          </ac:spMkLst>
        </pc:spChg>
        <pc:spChg chg="mod">
          <ac:chgData name="Deimonmi Nongrum [Chillibreeze]" userId="e937f645-8c95-42a9-a298-dfd645e9a76a" providerId="ADAL" clId="{750E9A50-ACEA-48D3-B2C6-355D5EC56876}" dt="2024-06-13T13:49:05.523" v="7007"/>
          <ac:spMkLst>
            <pc:docMk/>
            <pc:sldMk cId="0" sldId="329"/>
            <ac:spMk id="30" creationId="{F7CE10A5-C3C8-565B-9398-1F5A4B007E73}"/>
          </ac:spMkLst>
        </pc:spChg>
        <pc:spChg chg="mod">
          <ac:chgData name="Deimonmi Nongrum [Chillibreeze]" userId="e937f645-8c95-42a9-a298-dfd645e9a76a" providerId="ADAL" clId="{750E9A50-ACEA-48D3-B2C6-355D5EC56876}" dt="2024-06-13T13:49:05.523" v="7007"/>
          <ac:spMkLst>
            <pc:docMk/>
            <pc:sldMk cId="0" sldId="329"/>
            <ac:spMk id="31" creationId="{054459EF-B5A6-AADA-2E77-320286F93475}"/>
          </ac:spMkLst>
        </pc:spChg>
        <pc:spChg chg="mod">
          <ac:chgData name="Deimonmi Nongrum [Chillibreeze]" userId="e937f645-8c95-42a9-a298-dfd645e9a76a" providerId="ADAL" clId="{750E9A50-ACEA-48D3-B2C6-355D5EC56876}" dt="2024-06-13T13:47:58.374" v="6772"/>
          <ac:spMkLst>
            <pc:docMk/>
            <pc:sldMk cId="0" sldId="329"/>
            <ac:spMk id="32" creationId="{5A9730C1-D6C5-8C8A-84FC-71C6EA60AFA0}"/>
          </ac:spMkLst>
        </pc:spChg>
        <pc:spChg chg="mod">
          <ac:chgData name="Deimonmi Nongrum [Chillibreeze]" userId="e937f645-8c95-42a9-a298-dfd645e9a76a" providerId="ADAL" clId="{750E9A50-ACEA-48D3-B2C6-355D5EC56876}" dt="2024-06-13T13:47:58.374" v="6772"/>
          <ac:spMkLst>
            <pc:docMk/>
            <pc:sldMk cId="0" sldId="329"/>
            <ac:spMk id="33" creationId="{621D5397-ADC4-2838-2B4E-503D8C989DEB}"/>
          </ac:spMkLst>
        </pc:spChg>
        <pc:spChg chg="mod">
          <ac:chgData name="Deimonmi Nongrum [Chillibreeze]" userId="e937f645-8c95-42a9-a298-dfd645e9a76a" providerId="ADAL" clId="{750E9A50-ACEA-48D3-B2C6-355D5EC56876}" dt="2024-06-13T13:47:58.374" v="6772"/>
          <ac:spMkLst>
            <pc:docMk/>
            <pc:sldMk cId="0" sldId="329"/>
            <ac:spMk id="34" creationId="{6734C925-F0B2-1281-9F18-DD203E41CE00}"/>
          </ac:spMkLst>
        </pc:spChg>
        <pc:spChg chg="mod">
          <ac:chgData name="Deimonmi Nongrum [Chillibreeze]" userId="e937f645-8c95-42a9-a298-dfd645e9a76a" providerId="ADAL" clId="{750E9A50-ACEA-48D3-B2C6-355D5EC56876}" dt="2024-06-13T13:49:05.523" v="7007"/>
          <ac:spMkLst>
            <pc:docMk/>
            <pc:sldMk cId="0" sldId="329"/>
            <ac:spMk id="35" creationId="{963085D2-DA8B-7A67-BF80-B92F7D8379A7}"/>
          </ac:spMkLst>
        </pc:spChg>
        <pc:spChg chg="mod">
          <ac:chgData name="Deimonmi Nongrum [Chillibreeze]" userId="e937f645-8c95-42a9-a298-dfd645e9a76a" providerId="ADAL" clId="{750E9A50-ACEA-48D3-B2C6-355D5EC56876}" dt="2024-06-13T13:49:05.523" v="7007"/>
          <ac:spMkLst>
            <pc:docMk/>
            <pc:sldMk cId="0" sldId="329"/>
            <ac:spMk id="36" creationId="{3BD2CD29-88C5-4896-E5E5-9379FD07E4F4}"/>
          </ac:spMkLst>
        </pc:spChg>
        <pc:spChg chg="mod">
          <ac:chgData name="Deimonmi Nongrum [Chillibreeze]" userId="e937f645-8c95-42a9-a298-dfd645e9a76a" providerId="ADAL" clId="{750E9A50-ACEA-48D3-B2C6-355D5EC56876}" dt="2024-06-13T13:49:05.523" v="7007"/>
          <ac:spMkLst>
            <pc:docMk/>
            <pc:sldMk cId="0" sldId="329"/>
            <ac:spMk id="37" creationId="{CA6E8F89-B037-D6E1-C5E0-542EB4F1766C}"/>
          </ac:spMkLst>
        </pc:spChg>
        <pc:spChg chg="mod">
          <ac:chgData name="Deimonmi Nongrum [Chillibreeze]" userId="e937f645-8c95-42a9-a298-dfd645e9a76a" providerId="ADAL" clId="{750E9A50-ACEA-48D3-B2C6-355D5EC56876}" dt="2024-06-13T13:49:05.523" v="7007"/>
          <ac:spMkLst>
            <pc:docMk/>
            <pc:sldMk cId="0" sldId="329"/>
            <ac:spMk id="39" creationId="{DCE402D3-100E-E828-DE5C-C8B1469D255F}"/>
          </ac:spMkLst>
        </pc:spChg>
        <pc:spChg chg="mod">
          <ac:chgData name="Deimonmi Nongrum [Chillibreeze]" userId="e937f645-8c95-42a9-a298-dfd645e9a76a" providerId="ADAL" clId="{750E9A50-ACEA-48D3-B2C6-355D5EC56876}" dt="2024-06-13T13:49:05.523" v="7007"/>
          <ac:spMkLst>
            <pc:docMk/>
            <pc:sldMk cId="0" sldId="329"/>
            <ac:spMk id="40" creationId="{F26572A7-4E7A-DD11-1843-2D1FADB81A23}"/>
          </ac:spMkLst>
        </pc:spChg>
        <pc:spChg chg="mod">
          <ac:chgData name="Deimonmi Nongrum [Chillibreeze]" userId="e937f645-8c95-42a9-a298-dfd645e9a76a" providerId="ADAL" clId="{750E9A50-ACEA-48D3-B2C6-355D5EC56876}" dt="2024-06-13T13:49:05.523" v="7007"/>
          <ac:spMkLst>
            <pc:docMk/>
            <pc:sldMk cId="0" sldId="329"/>
            <ac:spMk id="41" creationId="{486A90AF-1B28-547B-15D5-B31F1F36B92D}"/>
          </ac:spMkLst>
        </pc:spChg>
        <pc:spChg chg="mod">
          <ac:chgData name="Deimonmi Nongrum [Chillibreeze]" userId="e937f645-8c95-42a9-a298-dfd645e9a76a" providerId="ADAL" clId="{750E9A50-ACEA-48D3-B2C6-355D5EC56876}" dt="2024-06-13T13:49:05.523" v="7007"/>
          <ac:spMkLst>
            <pc:docMk/>
            <pc:sldMk cId="0" sldId="329"/>
            <ac:spMk id="42" creationId="{A160BD6C-C1A0-B01B-429B-D73403460A7A}"/>
          </ac:spMkLst>
        </pc:spChg>
        <pc:spChg chg="mod">
          <ac:chgData name="Deimonmi Nongrum [Chillibreeze]" userId="e937f645-8c95-42a9-a298-dfd645e9a76a" providerId="ADAL" clId="{750E9A50-ACEA-48D3-B2C6-355D5EC56876}" dt="2024-06-13T13:49:05.523" v="7007"/>
          <ac:spMkLst>
            <pc:docMk/>
            <pc:sldMk cId="0" sldId="329"/>
            <ac:spMk id="43" creationId="{BE23C42B-0BA7-1915-4B78-A64718E4C988}"/>
          </ac:spMkLst>
        </pc:spChg>
        <pc:spChg chg="mod">
          <ac:chgData name="Deimonmi Nongrum [Chillibreeze]" userId="e937f645-8c95-42a9-a298-dfd645e9a76a" providerId="ADAL" clId="{750E9A50-ACEA-48D3-B2C6-355D5EC56876}" dt="2024-06-13T13:47:58.374" v="6772"/>
          <ac:spMkLst>
            <pc:docMk/>
            <pc:sldMk cId="0" sldId="329"/>
            <ac:spMk id="44" creationId="{E06B43E7-1EA8-CDAC-5A05-6C5BB1BDA1FB}"/>
          </ac:spMkLst>
        </pc:spChg>
        <pc:spChg chg="mod">
          <ac:chgData name="Deimonmi Nongrum [Chillibreeze]" userId="e937f645-8c95-42a9-a298-dfd645e9a76a" providerId="ADAL" clId="{750E9A50-ACEA-48D3-B2C6-355D5EC56876}" dt="2024-06-13T13:47:58.374" v="6772"/>
          <ac:spMkLst>
            <pc:docMk/>
            <pc:sldMk cId="0" sldId="329"/>
            <ac:spMk id="45" creationId="{036A91D1-32F2-FE87-44BF-7FC7709FD980}"/>
          </ac:spMkLst>
        </pc:spChg>
        <pc:spChg chg="mod">
          <ac:chgData name="Deimonmi Nongrum [Chillibreeze]" userId="e937f645-8c95-42a9-a298-dfd645e9a76a" providerId="ADAL" clId="{750E9A50-ACEA-48D3-B2C6-355D5EC56876}" dt="2024-06-13T13:49:05.523" v="7007"/>
          <ac:spMkLst>
            <pc:docMk/>
            <pc:sldMk cId="0" sldId="329"/>
            <ac:spMk id="57" creationId="{751EDEAF-B195-515B-E6ED-76748305E06B}"/>
          </ac:spMkLst>
        </pc:spChg>
        <pc:spChg chg="mod">
          <ac:chgData name="Deimonmi Nongrum [Chillibreeze]" userId="e937f645-8c95-42a9-a298-dfd645e9a76a" providerId="ADAL" clId="{750E9A50-ACEA-48D3-B2C6-355D5EC56876}" dt="2024-06-13T13:49:05.523" v="7007"/>
          <ac:spMkLst>
            <pc:docMk/>
            <pc:sldMk cId="0" sldId="329"/>
            <ac:spMk id="58" creationId="{D7F28031-6219-66A2-C9E3-D78461F26559}"/>
          </ac:spMkLst>
        </pc:spChg>
        <pc:spChg chg="mod">
          <ac:chgData name="Deimonmi Nongrum [Chillibreeze]" userId="e937f645-8c95-42a9-a298-dfd645e9a76a" providerId="ADAL" clId="{750E9A50-ACEA-48D3-B2C6-355D5EC56876}" dt="2024-06-13T13:49:05.523" v="7007"/>
          <ac:spMkLst>
            <pc:docMk/>
            <pc:sldMk cId="0" sldId="329"/>
            <ac:spMk id="59" creationId="{70F56331-5264-767E-96F2-AF1C1CEA97FB}"/>
          </ac:spMkLst>
        </pc:spChg>
        <pc:spChg chg="mod">
          <ac:chgData name="Deimonmi Nongrum [Chillibreeze]" userId="e937f645-8c95-42a9-a298-dfd645e9a76a" providerId="ADAL" clId="{750E9A50-ACEA-48D3-B2C6-355D5EC56876}" dt="2024-06-13T13:49:05.523" v="7007"/>
          <ac:spMkLst>
            <pc:docMk/>
            <pc:sldMk cId="0" sldId="329"/>
            <ac:spMk id="60" creationId="{A2A67F90-F3E7-C7AE-18CB-2FF0189E47D2}"/>
          </ac:spMkLst>
        </pc:spChg>
        <pc:spChg chg="mod">
          <ac:chgData name="Deimonmi Nongrum [Chillibreeze]" userId="e937f645-8c95-42a9-a298-dfd645e9a76a" providerId="ADAL" clId="{750E9A50-ACEA-48D3-B2C6-355D5EC56876}" dt="2024-06-13T13:49:05.523" v="7007"/>
          <ac:spMkLst>
            <pc:docMk/>
            <pc:sldMk cId="0" sldId="329"/>
            <ac:spMk id="61" creationId="{13C446FD-C1AC-4991-6534-9F65ABBAAE93}"/>
          </ac:spMkLst>
        </pc:spChg>
        <pc:spChg chg="mod">
          <ac:chgData name="Deimonmi Nongrum [Chillibreeze]" userId="e937f645-8c95-42a9-a298-dfd645e9a76a" providerId="ADAL" clId="{750E9A50-ACEA-48D3-B2C6-355D5EC56876}" dt="2024-06-13T13:49:05.523" v="7007"/>
          <ac:spMkLst>
            <pc:docMk/>
            <pc:sldMk cId="0" sldId="329"/>
            <ac:spMk id="62" creationId="{2BBFDA12-D21E-E0EA-F1EC-C84DF74A3E10}"/>
          </ac:spMkLst>
        </pc:spChg>
        <pc:spChg chg="mod">
          <ac:chgData name="Deimonmi Nongrum [Chillibreeze]" userId="e937f645-8c95-42a9-a298-dfd645e9a76a" providerId="ADAL" clId="{750E9A50-ACEA-48D3-B2C6-355D5EC56876}" dt="2024-06-13T13:49:05.523" v="7007"/>
          <ac:spMkLst>
            <pc:docMk/>
            <pc:sldMk cId="0" sldId="329"/>
            <ac:spMk id="63" creationId="{048EFC2B-FA8A-0E3D-C3F2-0B179E3CA792}"/>
          </ac:spMkLst>
        </pc:spChg>
        <pc:spChg chg="mod">
          <ac:chgData name="Deimonmi Nongrum [Chillibreeze]" userId="e937f645-8c95-42a9-a298-dfd645e9a76a" providerId="ADAL" clId="{750E9A50-ACEA-48D3-B2C6-355D5EC56876}" dt="2024-06-13T13:48:29.263" v="6962"/>
          <ac:spMkLst>
            <pc:docMk/>
            <pc:sldMk cId="0" sldId="329"/>
            <ac:spMk id="5441" creationId="{9FC7001F-9EC1-5EAE-4C5F-13198ADE8FA2}"/>
          </ac:spMkLst>
        </pc:spChg>
        <pc:spChg chg="mod">
          <ac:chgData name="Deimonmi Nongrum [Chillibreeze]" userId="e937f645-8c95-42a9-a298-dfd645e9a76a" providerId="ADAL" clId="{750E9A50-ACEA-48D3-B2C6-355D5EC56876}" dt="2024-06-13T13:48:29.263" v="6962"/>
          <ac:spMkLst>
            <pc:docMk/>
            <pc:sldMk cId="0" sldId="329"/>
            <ac:spMk id="5442" creationId="{31F291FC-AB3B-B170-8404-81BB04201005}"/>
          </ac:spMkLst>
        </pc:spChg>
        <pc:spChg chg="mod">
          <ac:chgData name="Deimonmi Nongrum [Chillibreeze]" userId="e937f645-8c95-42a9-a298-dfd645e9a76a" providerId="ADAL" clId="{750E9A50-ACEA-48D3-B2C6-355D5EC56876}" dt="2024-06-13T13:48:29.263" v="6962"/>
          <ac:spMkLst>
            <pc:docMk/>
            <pc:sldMk cId="0" sldId="329"/>
            <ac:spMk id="5443" creationId="{29535675-649A-FE69-BFF8-F16A83599134}"/>
          </ac:spMkLst>
        </pc:spChg>
        <pc:spChg chg="mod">
          <ac:chgData name="Deimonmi Nongrum [Chillibreeze]" userId="e937f645-8c95-42a9-a298-dfd645e9a76a" providerId="ADAL" clId="{750E9A50-ACEA-48D3-B2C6-355D5EC56876}" dt="2024-06-13T13:48:29.263" v="6962"/>
          <ac:spMkLst>
            <pc:docMk/>
            <pc:sldMk cId="0" sldId="329"/>
            <ac:spMk id="5444" creationId="{0C22B98E-1F77-F2E5-F9BF-E049511DD02C}"/>
          </ac:spMkLst>
        </pc:spChg>
        <pc:spChg chg="mod">
          <ac:chgData name="Deimonmi Nongrum [Chillibreeze]" userId="e937f645-8c95-42a9-a298-dfd645e9a76a" providerId="ADAL" clId="{750E9A50-ACEA-48D3-B2C6-355D5EC56876}" dt="2024-06-13T13:48:29.263" v="6962"/>
          <ac:spMkLst>
            <pc:docMk/>
            <pc:sldMk cId="0" sldId="329"/>
            <ac:spMk id="5445" creationId="{BF0440CE-C825-9D73-4106-F4EABB3B58FC}"/>
          </ac:spMkLst>
        </pc:spChg>
        <pc:spChg chg="mod">
          <ac:chgData name="Deimonmi Nongrum [Chillibreeze]" userId="e937f645-8c95-42a9-a298-dfd645e9a76a" providerId="ADAL" clId="{750E9A50-ACEA-48D3-B2C6-355D5EC56876}" dt="2024-06-13T13:48:01.935" v="6844"/>
          <ac:spMkLst>
            <pc:docMk/>
            <pc:sldMk cId="0" sldId="329"/>
            <ac:spMk id="5451" creationId="{9B2F0560-7ACA-30BA-AFD9-8A02D3895BB9}"/>
          </ac:spMkLst>
        </pc:spChg>
        <pc:spChg chg="mod">
          <ac:chgData name="Deimonmi Nongrum [Chillibreeze]" userId="e937f645-8c95-42a9-a298-dfd645e9a76a" providerId="ADAL" clId="{750E9A50-ACEA-48D3-B2C6-355D5EC56876}" dt="2024-06-13T13:48:01.935" v="6844"/>
          <ac:spMkLst>
            <pc:docMk/>
            <pc:sldMk cId="0" sldId="329"/>
            <ac:spMk id="5452" creationId="{9814B627-20AD-9BEF-E4CF-5F13DFBEE22E}"/>
          </ac:spMkLst>
        </pc:spChg>
        <pc:spChg chg="mod">
          <ac:chgData name="Deimonmi Nongrum [Chillibreeze]" userId="e937f645-8c95-42a9-a298-dfd645e9a76a" providerId="ADAL" clId="{750E9A50-ACEA-48D3-B2C6-355D5EC56876}" dt="2024-06-13T13:48:01.935" v="6844"/>
          <ac:spMkLst>
            <pc:docMk/>
            <pc:sldMk cId="0" sldId="329"/>
            <ac:spMk id="5453" creationId="{F51B9602-71EF-617D-F3B7-DCAC854C7C9A}"/>
          </ac:spMkLst>
        </pc:spChg>
        <pc:spChg chg="mod">
          <ac:chgData name="Deimonmi Nongrum [Chillibreeze]" userId="e937f645-8c95-42a9-a298-dfd645e9a76a" providerId="ADAL" clId="{750E9A50-ACEA-48D3-B2C6-355D5EC56876}" dt="2024-06-13T13:48:01.935" v="6844"/>
          <ac:spMkLst>
            <pc:docMk/>
            <pc:sldMk cId="0" sldId="329"/>
            <ac:spMk id="5454" creationId="{89C36747-E31A-933D-1A56-83E3B45729BE}"/>
          </ac:spMkLst>
        </pc:spChg>
        <pc:spChg chg="mod">
          <ac:chgData name="Deimonmi Nongrum [Chillibreeze]" userId="e937f645-8c95-42a9-a298-dfd645e9a76a" providerId="ADAL" clId="{750E9A50-ACEA-48D3-B2C6-355D5EC56876}" dt="2024-06-13T13:48:01.935" v="6844"/>
          <ac:spMkLst>
            <pc:docMk/>
            <pc:sldMk cId="0" sldId="329"/>
            <ac:spMk id="5455" creationId="{2ADE158C-F4AB-6802-EDC9-5DB113D7DCE8}"/>
          </ac:spMkLst>
        </pc:spChg>
        <pc:spChg chg="mod">
          <ac:chgData name="Deimonmi Nongrum [Chillibreeze]" userId="e937f645-8c95-42a9-a298-dfd645e9a76a" providerId="ADAL" clId="{750E9A50-ACEA-48D3-B2C6-355D5EC56876}" dt="2024-06-13T13:47:58.376" v="6780"/>
          <ac:spMkLst>
            <pc:docMk/>
            <pc:sldMk cId="0" sldId="329"/>
            <ac:spMk id="5456" creationId="{3E472F8E-DE2A-6AEA-3555-7BF95257F16E}"/>
          </ac:spMkLst>
        </pc:spChg>
        <pc:spChg chg="mod">
          <ac:chgData name="Deimonmi Nongrum [Chillibreeze]" userId="e937f645-8c95-42a9-a298-dfd645e9a76a" providerId="ADAL" clId="{750E9A50-ACEA-48D3-B2C6-355D5EC56876}" dt="2024-06-13T13:47:58.376" v="6780"/>
          <ac:spMkLst>
            <pc:docMk/>
            <pc:sldMk cId="0" sldId="329"/>
            <ac:spMk id="5457" creationId="{ECD721C1-C25A-028D-958B-729BA609B997}"/>
          </ac:spMkLst>
        </pc:spChg>
        <pc:spChg chg="mod">
          <ac:chgData name="Deimonmi Nongrum [Chillibreeze]" userId="e937f645-8c95-42a9-a298-dfd645e9a76a" providerId="ADAL" clId="{750E9A50-ACEA-48D3-B2C6-355D5EC56876}" dt="2024-06-13T13:47:58.376" v="6780"/>
          <ac:spMkLst>
            <pc:docMk/>
            <pc:sldMk cId="0" sldId="329"/>
            <ac:spMk id="5458" creationId="{A61747CD-CAA2-2DE0-65C7-F2FAAF6CC3C0}"/>
          </ac:spMkLst>
        </pc:spChg>
        <pc:spChg chg="mod">
          <ac:chgData name="Deimonmi Nongrum [Chillibreeze]" userId="e937f645-8c95-42a9-a298-dfd645e9a76a" providerId="ADAL" clId="{750E9A50-ACEA-48D3-B2C6-355D5EC56876}" dt="2024-06-13T13:47:58.376" v="6780"/>
          <ac:spMkLst>
            <pc:docMk/>
            <pc:sldMk cId="0" sldId="329"/>
            <ac:spMk id="5459" creationId="{2418E3DB-6A6F-8E98-C230-E2C88CD16116}"/>
          </ac:spMkLst>
        </pc:spChg>
        <pc:spChg chg="mod">
          <ac:chgData name="Deimonmi Nongrum [Chillibreeze]" userId="e937f645-8c95-42a9-a298-dfd645e9a76a" providerId="ADAL" clId="{750E9A50-ACEA-48D3-B2C6-355D5EC56876}" dt="2024-06-13T13:47:58.376" v="6780"/>
          <ac:spMkLst>
            <pc:docMk/>
            <pc:sldMk cId="0" sldId="329"/>
            <ac:spMk id="5460" creationId="{E8E8E71B-EA54-09C6-F2A2-945105A7C1BD}"/>
          </ac:spMkLst>
        </pc:spChg>
        <pc:spChg chg="mod">
          <ac:chgData name="Deimonmi Nongrum [Chillibreeze]" userId="e937f645-8c95-42a9-a298-dfd645e9a76a" providerId="ADAL" clId="{750E9A50-ACEA-48D3-B2C6-355D5EC56876}" dt="2024-06-13T13:47:54.949" v="6708"/>
          <ac:spMkLst>
            <pc:docMk/>
            <pc:sldMk cId="0" sldId="329"/>
            <ac:spMk id="5461" creationId="{132FF052-1E6F-CC13-AE63-34A45617E0AD}"/>
          </ac:spMkLst>
        </pc:spChg>
        <pc:spChg chg="mod">
          <ac:chgData name="Deimonmi Nongrum [Chillibreeze]" userId="e937f645-8c95-42a9-a298-dfd645e9a76a" providerId="ADAL" clId="{750E9A50-ACEA-48D3-B2C6-355D5EC56876}" dt="2024-06-13T13:47:54.949" v="6708"/>
          <ac:spMkLst>
            <pc:docMk/>
            <pc:sldMk cId="0" sldId="329"/>
            <ac:spMk id="5462" creationId="{04E2BDBC-7F99-3EEB-2E92-53BF475B969A}"/>
          </ac:spMkLst>
        </pc:spChg>
        <pc:spChg chg="mod">
          <ac:chgData name="Deimonmi Nongrum [Chillibreeze]" userId="e937f645-8c95-42a9-a298-dfd645e9a76a" providerId="ADAL" clId="{750E9A50-ACEA-48D3-B2C6-355D5EC56876}" dt="2024-06-12T09:43:58.737" v="192" actId="1076"/>
          <ac:spMkLst>
            <pc:docMk/>
            <pc:sldMk cId="0" sldId="329"/>
            <ac:spMk id="5463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3T13:47:54.949" v="6708"/>
          <ac:spMkLst>
            <pc:docMk/>
            <pc:sldMk cId="0" sldId="329"/>
            <ac:spMk id="5463" creationId="{B678C0B7-4DC6-846A-5FBF-B7AA98D82318}"/>
          </ac:spMkLst>
        </pc:spChg>
        <pc:spChg chg="mod">
          <ac:chgData name="Deimonmi Nongrum [Chillibreeze]" userId="e937f645-8c95-42a9-a298-dfd645e9a76a" providerId="ADAL" clId="{750E9A50-ACEA-48D3-B2C6-355D5EC56876}" dt="2024-06-12T09:43:58.737" v="192" actId="1076"/>
          <ac:spMkLst>
            <pc:docMk/>
            <pc:sldMk cId="0" sldId="329"/>
            <ac:spMk id="5464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3T13:47:54.949" v="6708"/>
          <ac:spMkLst>
            <pc:docMk/>
            <pc:sldMk cId="0" sldId="329"/>
            <ac:spMk id="5464" creationId="{2850108F-5056-AF8B-F2D0-F6B6145E3CC8}"/>
          </ac:spMkLst>
        </pc:spChg>
        <pc:spChg chg="mod">
          <ac:chgData name="Deimonmi Nongrum [Chillibreeze]" userId="e937f645-8c95-42a9-a298-dfd645e9a76a" providerId="ADAL" clId="{750E9A50-ACEA-48D3-B2C6-355D5EC56876}" dt="2024-06-13T13:47:54.949" v="6708"/>
          <ac:spMkLst>
            <pc:docMk/>
            <pc:sldMk cId="0" sldId="329"/>
            <ac:spMk id="5465" creationId="{AFD5B6A3-29B3-3ECE-ED41-508AC138B170}"/>
          </ac:spMkLst>
        </pc:spChg>
        <pc:spChg chg="mod ord">
          <ac:chgData name="Deimonmi Nongrum [Chillibreeze]" userId="e937f645-8c95-42a9-a298-dfd645e9a76a" providerId="ADAL" clId="{750E9A50-ACEA-48D3-B2C6-355D5EC56876}" dt="2024-06-13T13:49:46.359" v="7232" actId="167"/>
          <ac:spMkLst>
            <pc:docMk/>
            <pc:sldMk cId="0" sldId="329"/>
            <ac:spMk id="5466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3:49:46.359" v="7232" actId="167"/>
          <ac:spMkLst>
            <pc:docMk/>
            <pc:sldMk cId="0" sldId="329"/>
            <ac:spMk id="5467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3:49:46.359" v="7232" actId="167"/>
          <ac:spMkLst>
            <pc:docMk/>
            <pc:sldMk cId="0" sldId="329"/>
            <ac:spMk id="5468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3:49:46.359" v="7232" actId="167"/>
          <ac:spMkLst>
            <pc:docMk/>
            <pc:sldMk cId="0" sldId="329"/>
            <ac:spMk id="5469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3:49:46.359" v="7232" actId="167"/>
          <ac:spMkLst>
            <pc:docMk/>
            <pc:sldMk cId="0" sldId="329"/>
            <ac:spMk id="5470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2T09:43:58.737" v="192" actId="1076"/>
          <ac:spMkLst>
            <pc:docMk/>
            <pc:sldMk cId="0" sldId="329"/>
            <ac:spMk id="5471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3T13:48:34.838" v="6990" actId="165"/>
          <ac:spMkLst>
            <pc:docMk/>
            <pc:sldMk cId="0" sldId="329"/>
            <ac:spMk id="5471" creationId="{6E56FCE7-A910-B699-D174-A9F9E682024F}"/>
          </ac:spMkLst>
        </pc:spChg>
        <pc:spChg chg="mod ord">
          <ac:chgData name="Deimonmi Nongrum [Chillibreeze]" userId="e937f645-8c95-42a9-a298-dfd645e9a76a" providerId="ADAL" clId="{750E9A50-ACEA-48D3-B2C6-355D5EC56876}" dt="2024-06-13T11:56:21.057" v="3952" actId="962"/>
          <ac:spMkLst>
            <pc:docMk/>
            <pc:sldMk cId="0" sldId="329"/>
            <ac:spMk id="5472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56:21.057" v="3952" actId="962"/>
          <ac:spMkLst>
            <pc:docMk/>
            <pc:sldMk cId="0" sldId="329"/>
            <ac:spMk id="5473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2T09:43:58.737" v="192" actId="1076"/>
          <ac:spMkLst>
            <pc:docMk/>
            <pc:sldMk cId="0" sldId="329"/>
            <ac:spMk id="5477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3T13:48:18.125" v="6908"/>
          <ac:spMkLst>
            <pc:docMk/>
            <pc:sldMk cId="0" sldId="329"/>
            <ac:spMk id="5477" creationId="{7D15F992-4925-103B-7D76-1292D78AD5B3}"/>
          </ac:spMkLst>
        </pc:spChg>
        <pc:spChg chg="mod">
          <ac:chgData name="Deimonmi Nongrum [Chillibreeze]" userId="e937f645-8c95-42a9-a298-dfd645e9a76a" providerId="ADAL" clId="{750E9A50-ACEA-48D3-B2C6-355D5EC56876}" dt="2024-06-12T09:43:58.737" v="192" actId="1076"/>
          <ac:spMkLst>
            <pc:docMk/>
            <pc:sldMk cId="0" sldId="329"/>
            <ac:spMk id="5478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3T13:48:18.125" v="6908"/>
          <ac:spMkLst>
            <pc:docMk/>
            <pc:sldMk cId="0" sldId="329"/>
            <ac:spMk id="5478" creationId="{BBBAEFD4-0ACD-2DC3-D984-627F4CE7472E}"/>
          </ac:spMkLst>
        </pc:spChg>
        <pc:spChg chg="mod">
          <ac:chgData name="Deimonmi Nongrum [Chillibreeze]" userId="e937f645-8c95-42a9-a298-dfd645e9a76a" providerId="ADAL" clId="{750E9A50-ACEA-48D3-B2C6-355D5EC56876}" dt="2024-06-12T09:43:58.737" v="192" actId="1076"/>
          <ac:spMkLst>
            <pc:docMk/>
            <pc:sldMk cId="0" sldId="329"/>
            <ac:spMk id="5479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3T13:48:18.125" v="6908"/>
          <ac:spMkLst>
            <pc:docMk/>
            <pc:sldMk cId="0" sldId="329"/>
            <ac:spMk id="5479" creationId="{0D2B96A5-4E5D-D926-7FF1-A6CBBF7DAE34}"/>
          </ac:spMkLst>
        </pc:spChg>
        <pc:spChg chg="mod">
          <ac:chgData name="Deimonmi Nongrum [Chillibreeze]" userId="e937f645-8c95-42a9-a298-dfd645e9a76a" providerId="ADAL" clId="{750E9A50-ACEA-48D3-B2C6-355D5EC56876}" dt="2024-06-13T13:48:18.125" v="6908"/>
          <ac:spMkLst>
            <pc:docMk/>
            <pc:sldMk cId="0" sldId="329"/>
            <ac:spMk id="5480" creationId="{E6D52BF4-9021-F3EF-88E2-009F73CF1BA0}"/>
          </ac:spMkLst>
        </pc:spChg>
        <pc:spChg chg="mod">
          <ac:chgData name="Deimonmi Nongrum [Chillibreeze]" userId="e937f645-8c95-42a9-a298-dfd645e9a76a" providerId="ADAL" clId="{750E9A50-ACEA-48D3-B2C6-355D5EC56876}" dt="2024-06-13T13:48:18.125" v="6908"/>
          <ac:spMkLst>
            <pc:docMk/>
            <pc:sldMk cId="0" sldId="329"/>
            <ac:spMk id="5481" creationId="{7CF2312F-A373-80CB-35B8-B6805A6AA605}"/>
          </ac:spMkLst>
        </pc:spChg>
        <pc:spChg chg="mod">
          <ac:chgData name="Deimonmi Nongrum [Chillibreeze]" userId="e937f645-8c95-42a9-a298-dfd645e9a76a" providerId="ADAL" clId="{750E9A50-ACEA-48D3-B2C6-355D5EC56876}" dt="2024-06-13T13:48:18.125" v="6908"/>
          <ac:spMkLst>
            <pc:docMk/>
            <pc:sldMk cId="0" sldId="329"/>
            <ac:spMk id="5482" creationId="{8E2383DC-5418-662F-D5FC-706598FD7BF6}"/>
          </ac:spMkLst>
        </pc:spChg>
        <pc:spChg chg="mod">
          <ac:chgData name="Deimonmi Nongrum [Chillibreeze]" userId="e937f645-8c95-42a9-a298-dfd645e9a76a" providerId="ADAL" clId="{750E9A50-ACEA-48D3-B2C6-355D5EC56876}" dt="2024-06-13T13:48:18.125" v="6908"/>
          <ac:spMkLst>
            <pc:docMk/>
            <pc:sldMk cId="0" sldId="329"/>
            <ac:spMk id="5483" creationId="{2DCB5257-C584-CFA3-0152-5550BE72E94D}"/>
          </ac:spMkLst>
        </pc:spChg>
        <pc:spChg chg="mod">
          <ac:chgData name="Deimonmi Nongrum [Chillibreeze]" userId="e937f645-8c95-42a9-a298-dfd645e9a76a" providerId="ADAL" clId="{750E9A50-ACEA-48D3-B2C6-355D5EC56876}" dt="2024-06-13T13:48:18.125" v="6908"/>
          <ac:spMkLst>
            <pc:docMk/>
            <pc:sldMk cId="0" sldId="329"/>
            <ac:spMk id="5484" creationId="{8BC72834-7A22-4B12-108A-9335A967D0E4}"/>
          </ac:spMkLst>
        </pc:spChg>
        <pc:spChg chg="mod">
          <ac:chgData name="Deimonmi Nongrum [Chillibreeze]" userId="e937f645-8c95-42a9-a298-dfd645e9a76a" providerId="ADAL" clId="{750E9A50-ACEA-48D3-B2C6-355D5EC56876}" dt="2024-06-13T13:48:18.125" v="6908"/>
          <ac:spMkLst>
            <pc:docMk/>
            <pc:sldMk cId="0" sldId="329"/>
            <ac:spMk id="5485" creationId="{C9D6559F-A474-A24A-3E22-992717EDC818}"/>
          </ac:spMkLst>
        </pc:spChg>
        <pc:spChg chg="mod">
          <ac:chgData name="Deimonmi Nongrum [Chillibreeze]" userId="e937f645-8c95-42a9-a298-dfd645e9a76a" providerId="ADAL" clId="{750E9A50-ACEA-48D3-B2C6-355D5EC56876}" dt="2024-06-13T13:48:18.125" v="6908"/>
          <ac:spMkLst>
            <pc:docMk/>
            <pc:sldMk cId="0" sldId="329"/>
            <ac:spMk id="5486" creationId="{4B3EC17E-9FF4-C323-C246-F86F0254A8E8}"/>
          </ac:spMkLst>
        </pc:spChg>
        <pc:spChg chg="mod">
          <ac:chgData name="Deimonmi Nongrum [Chillibreeze]" userId="e937f645-8c95-42a9-a298-dfd645e9a76a" providerId="ADAL" clId="{750E9A50-ACEA-48D3-B2C6-355D5EC56876}" dt="2024-06-13T13:48:18.125" v="6908"/>
          <ac:spMkLst>
            <pc:docMk/>
            <pc:sldMk cId="0" sldId="329"/>
            <ac:spMk id="5487" creationId="{17C022B7-EA8B-D8C6-C216-FBE0E18EEF2C}"/>
          </ac:spMkLst>
        </pc:spChg>
        <pc:spChg chg="mod">
          <ac:chgData name="Deimonmi Nongrum [Chillibreeze]" userId="e937f645-8c95-42a9-a298-dfd645e9a76a" providerId="ADAL" clId="{750E9A50-ACEA-48D3-B2C6-355D5EC56876}" dt="2024-06-13T13:48:18.125" v="6908"/>
          <ac:spMkLst>
            <pc:docMk/>
            <pc:sldMk cId="0" sldId="329"/>
            <ac:spMk id="5488" creationId="{AC48D7E4-DC33-F027-E26B-A85C985DBB5B}"/>
          </ac:spMkLst>
        </pc:spChg>
        <pc:spChg chg="mod">
          <ac:chgData name="Deimonmi Nongrum [Chillibreeze]" userId="e937f645-8c95-42a9-a298-dfd645e9a76a" providerId="ADAL" clId="{750E9A50-ACEA-48D3-B2C6-355D5EC56876}" dt="2024-06-13T13:48:18.125" v="6908"/>
          <ac:spMkLst>
            <pc:docMk/>
            <pc:sldMk cId="0" sldId="329"/>
            <ac:spMk id="5489" creationId="{E2B41641-0FCF-F61B-1D2A-691664F20C0E}"/>
          </ac:spMkLst>
        </pc:spChg>
        <pc:spChg chg="mod">
          <ac:chgData name="Deimonmi Nongrum [Chillibreeze]" userId="e937f645-8c95-42a9-a298-dfd645e9a76a" providerId="ADAL" clId="{750E9A50-ACEA-48D3-B2C6-355D5EC56876}" dt="2024-06-13T13:48:18.125" v="6908"/>
          <ac:spMkLst>
            <pc:docMk/>
            <pc:sldMk cId="0" sldId="329"/>
            <ac:spMk id="5490" creationId="{B793AFBA-6C3B-8340-AD09-BB6F9D0DDA0F}"/>
          </ac:spMkLst>
        </pc:spChg>
        <pc:spChg chg="mod">
          <ac:chgData name="Deimonmi Nongrum [Chillibreeze]" userId="e937f645-8c95-42a9-a298-dfd645e9a76a" providerId="ADAL" clId="{750E9A50-ACEA-48D3-B2C6-355D5EC56876}" dt="2024-06-13T13:48:18.125" v="6908"/>
          <ac:spMkLst>
            <pc:docMk/>
            <pc:sldMk cId="0" sldId="329"/>
            <ac:spMk id="5491" creationId="{0980A351-8D55-5AEF-2787-A80DD868BE93}"/>
          </ac:spMkLst>
        </pc:spChg>
        <pc:spChg chg="mod">
          <ac:chgData name="Deimonmi Nongrum [Chillibreeze]" userId="e937f645-8c95-42a9-a298-dfd645e9a76a" providerId="ADAL" clId="{750E9A50-ACEA-48D3-B2C6-355D5EC56876}" dt="2024-06-13T13:48:34.838" v="6990" actId="165"/>
          <ac:spMkLst>
            <pc:docMk/>
            <pc:sldMk cId="0" sldId="329"/>
            <ac:spMk id="5492" creationId="{997AD5B9-9D7F-FDE1-A4D1-26A6C3300B5A}"/>
          </ac:spMkLst>
        </pc:spChg>
        <pc:spChg chg="mod">
          <ac:chgData name="Deimonmi Nongrum [Chillibreeze]" userId="e937f645-8c95-42a9-a298-dfd645e9a76a" providerId="ADAL" clId="{750E9A50-ACEA-48D3-B2C6-355D5EC56876}" dt="2024-06-12T09:43:58.737" v="192" actId="1076"/>
          <ac:spMkLst>
            <pc:docMk/>
            <pc:sldMk cId="0" sldId="329"/>
            <ac:spMk id="5494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3T13:48:34.838" v="6990" actId="165"/>
          <ac:spMkLst>
            <pc:docMk/>
            <pc:sldMk cId="0" sldId="329"/>
            <ac:spMk id="5494" creationId="{9B8435C2-0ECA-B64A-B19E-A01A56F9C74D}"/>
          </ac:spMkLst>
        </pc:spChg>
        <pc:spChg chg="mod">
          <ac:chgData name="Deimonmi Nongrum [Chillibreeze]" userId="e937f645-8c95-42a9-a298-dfd645e9a76a" providerId="ADAL" clId="{750E9A50-ACEA-48D3-B2C6-355D5EC56876}" dt="2024-06-13T13:48:34.838" v="6990" actId="165"/>
          <ac:spMkLst>
            <pc:docMk/>
            <pc:sldMk cId="0" sldId="329"/>
            <ac:spMk id="5495" creationId="{EE028965-94AB-919F-41A6-56025773451B}"/>
          </ac:spMkLst>
        </pc:spChg>
        <pc:spChg chg="mod">
          <ac:chgData name="Deimonmi Nongrum [Chillibreeze]" userId="e937f645-8c95-42a9-a298-dfd645e9a76a" providerId="ADAL" clId="{750E9A50-ACEA-48D3-B2C6-355D5EC56876}" dt="2024-06-13T13:48:34.838" v="6990" actId="165"/>
          <ac:spMkLst>
            <pc:docMk/>
            <pc:sldMk cId="0" sldId="329"/>
            <ac:spMk id="5496" creationId="{7E525451-300A-A6E8-12AA-BC50C1F17F6B}"/>
          </ac:spMkLst>
        </pc:spChg>
        <pc:spChg chg="mod">
          <ac:chgData name="Deimonmi Nongrum [Chillibreeze]" userId="e937f645-8c95-42a9-a298-dfd645e9a76a" providerId="ADAL" clId="{750E9A50-ACEA-48D3-B2C6-355D5EC56876}" dt="2024-06-13T13:49:05.526" v="7011"/>
          <ac:spMkLst>
            <pc:docMk/>
            <pc:sldMk cId="0" sldId="329"/>
            <ac:spMk id="5497" creationId="{76E6158F-2C9E-A26E-15F3-FAB177B14180}"/>
          </ac:spMkLst>
        </pc:spChg>
        <pc:spChg chg="mod ord">
          <ac:chgData name="Deimonmi Nongrum [Chillibreeze]" userId="e937f645-8c95-42a9-a298-dfd645e9a76a" providerId="ADAL" clId="{750E9A50-ACEA-48D3-B2C6-355D5EC56876}" dt="2024-06-13T11:56:21.057" v="3952" actId="962"/>
          <ac:spMkLst>
            <pc:docMk/>
            <pc:sldMk cId="0" sldId="329"/>
            <ac:spMk id="5498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2T09:43:58.737" v="192" actId="1076"/>
          <ac:spMkLst>
            <pc:docMk/>
            <pc:sldMk cId="0" sldId="329"/>
            <ac:spMk id="5499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3T13:49:05.526" v="7011"/>
          <ac:spMkLst>
            <pc:docMk/>
            <pc:sldMk cId="0" sldId="329"/>
            <ac:spMk id="5499" creationId="{52D0459F-0046-35B4-E838-733530CC7448}"/>
          </ac:spMkLst>
        </pc:spChg>
        <pc:spChg chg="mod">
          <ac:chgData name="Deimonmi Nongrum [Chillibreeze]" userId="e937f645-8c95-42a9-a298-dfd645e9a76a" providerId="ADAL" clId="{750E9A50-ACEA-48D3-B2C6-355D5EC56876}" dt="2024-06-12T09:43:58.737" v="192" actId="1076"/>
          <ac:spMkLst>
            <pc:docMk/>
            <pc:sldMk cId="0" sldId="329"/>
            <ac:spMk id="5500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3T13:49:05.526" v="7011"/>
          <ac:spMkLst>
            <pc:docMk/>
            <pc:sldMk cId="0" sldId="329"/>
            <ac:spMk id="5500" creationId="{0DE342F4-225F-94F4-8413-945892A43B23}"/>
          </ac:spMkLst>
        </pc:spChg>
        <pc:spChg chg="mod">
          <ac:chgData name="Deimonmi Nongrum [Chillibreeze]" userId="e937f645-8c95-42a9-a298-dfd645e9a76a" providerId="ADAL" clId="{750E9A50-ACEA-48D3-B2C6-355D5EC56876}" dt="2024-06-13T13:49:05.526" v="7011"/>
          <ac:spMkLst>
            <pc:docMk/>
            <pc:sldMk cId="0" sldId="329"/>
            <ac:spMk id="5501" creationId="{8A0F5371-D424-CFB7-462C-B3FBDF0040C2}"/>
          </ac:spMkLst>
        </pc:spChg>
        <pc:spChg chg="mod">
          <ac:chgData name="Deimonmi Nongrum [Chillibreeze]" userId="e937f645-8c95-42a9-a298-dfd645e9a76a" providerId="ADAL" clId="{750E9A50-ACEA-48D3-B2C6-355D5EC56876}" dt="2024-06-13T13:49:05.526" v="7011"/>
          <ac:spMkLst>
            <pc:docMk/>
            <pc:sldMk cId="0" sldId="329"/>
            <ac:spMk id="5502" creationId="{E8CFF727-EAAE-0BD3-7605-AC6405B2AC04}"/>
          </ac:spMkLst>
        </pc:spChg>
        <pc:spChg chg="mod">
          <ac:chgData name="Deimonmi Nongrum [Chillibreeze]" userId="e937f645-8c95-42a9-a298-dfd645e9a76a" providerId="ADAL" clId="{750E9A50-ACEA-48D3-B2C6-355D5EC56876}" dt="2024-06-13T13:49:05.526" v="7011"/>
          <ac:spMkLst>
            <pc:docMk/>
            <pc:sldMk cId="0" sldId="329"/>
            <ac:spMk id="5503" creationId="{99382338-CF50-0A84-1873-484109142D47}"/>
          </ac:spMkLst>
        </pc:spChg>
        <pc:spChg chg="mod">
          <ac:chgData name="Deimonmi Nongrum [Chillibreeze]" userId="e937f645-8c95-42a9-a298-dfd645e9a76a" providerId="ADAL" clId="{750E9A50-ACEA-48D3-B2C6-355D5EC56876}" dt="2024-06-13T13:47:38.511" v="6473"/>
          <ac:spMkLst>
            <pc:docMk/>
            <pc:sldMk cId="0" sldId="329"/>
            <ac:spMk id="5504" creationId="{890B0346-9AC7-AA21-99B5-0D8D38F630F8}"/>
          </ac:spMkLst>
        </pc:spChg>
        <pc:spChg chg="mod">
          <ac:chgData name="Deimonmi Nongrum [Chillibreeze]" userId="e937f645-8c95-42a9-a298-dfd645e9a76a" providerId="ADAL" clId="{750E9A50-ACEA-48D3-B2C6-355D5EC56876}" dt="2024-06-13T13:47:38.511" v="6473"/>
          <ac:spMkLst>
            <pc:docMk/>
            <pc:sldMk cId="0" sldId="329"/>
            <ac:spMk id="5505" creationId="{B0E08DB6-FC4F-179A-AEC5-4E59190322DB}"/>
          </ac:spMkLst>
        </pc:spChg>
        <pc:spChg chg="mod">
          <ac:chgData name="Deimonmi Nongrum [Chillibreeze]" userId="e937f645-8c95-42a9-a298-dfd645e9a76a" providerId="ADAL" clId="{750E9A50-ACEA-48D3-B2C6-355D5EC56876}" dt="2024-06-13T13:47:38.511" v="6473"/>
          <ac:spMkLst>
            <pc:docMk/>
            <pc:sldMk cId="0" sldId="329"/>
            <ac:spMk id="5506" creationId="{E6732715-0915-A061-6468-96925EE4F2BE}"/>
          </ac:spMkLst>
        </pc:spChg>
        <pc:spChg chg="mod">
          <ac:chgData name="Deimonmi Nongrum [Chillibreeze]" userId="e937f645-8c95-42a9-a298-dfd645e9a76a" providerId="ADAL" clId="{750E9A50-ACEA-48D3-B2C6-355D5EC56876}" dt="2024-06-13T13:49:05.526" v="7011"/>
          <ac:spMkLst>
            <pc:docMk/>
            <pc:sldMk cId="0" sldId="329"/>
            <ac:spMk id="5508" creationId="{203AE135-6130-028E-3972-F778C3513F24}"/>
          </ac:spMkLst>
        </pc:spChg>
        <pc:spChg chg="mod">
          <ac:chgData name="Deimonmi Nongrum [Chillibreeze]" userId="e937f645-8c95-42a9-a298-dfd645e9a76a" providerId="ADAL" clId="{750E9A50-ACEA-48D3-B2C6-355D5EC56876}" dt="2024-06-13T13:49:05.526" v="7011"/>
          <ac:spMkLst>
            <pc:docMk/>
            <pc:sldMk cId="0" sldId="329"/>
            <ac:spMk id="5509" creationId="{2BF730FB-751B-BB5B-C710-61C7D3A585FD}"/>
          </ac:spMkLst>
        </pc:spChg>
        <pc:spChg chg="mod">
          <ac:chgData name="Deimonmi Nongrum [Chillibreeze]" userId="e937f645-8c95-42a9-a298-dfd645e9a76a" providerId="ADAL" clId="{750E9A50-ACEA-48D3-B2C6-355D5EC56876}" dt="2024-06-13T13:49:05.526" v="7011"/>
          <ac:spMkLst>
            <pc:docMk/>
            <pc:sldMk cId="0" sldId="329"/>
            <ac:spMk id="5510" creationId="{60CF0D9D-2B85-DB46-F986-3E5877890C26}"/>
          </ac:spMkLst>
        </pc:spChg>
        <pc:spChg chg="del mod ord">
          <ac:chgData name="Deimonmi Nongrum [Chillibreeze]" userId="e937f645-8c95-42a9-a298-dfd645e9a76a" providerId="ADAL" clId="{750E9A50-ACEA-48D3-B2C6-355D5EC56876}" dt="2024-06-13T11:29:43.107" v="3607" actId="6264"/>
          <ac:spMkLst>
            <pc:docMk/>
            <pc:sldMk cId="0" sldId="329"/>
            <ac:spMk id="5511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3T13:49:05.526" v="7011"/>
          <ac:spMkLst>
            <pc:docMk/>
            <pc:sldMk cId="0" sldId="329"/>
            <ac:spMk id="5511" creationId="{8EB22268-5197-79FE-961E-AA2F8FFED94C}"/>
          </ac:spMkLst>
        </pc:spChg>
        <pc:spChg chg="mod">
          <ac:chgData name="Deimonmi Nongrum [Chillibreeze]" userId="e937f645-8c95-42a9-a298-dfd645e9a76a" providerId="ADAL" clId="{750E9A50-ACEA-48D3-B2C6-355D5EC56876}" dt="2024-06-13T13:49:05.526" v="7011"/>
          <ac:spMkLst>
            <pc:docMk/>
            <pc:sldMk cId="0" sldId="329"/>
            <ac:spMk id="5512" creationId="{BD4FF59B-DC4D-CA2C-6950-D5D535A131C9}"/>
          </ac:spMkLst>
        </pc:spChg>
        <pc:spChg chg="mod">
          <ac:chgData name="Deimonmi Nongrum [Chillibreeze]" userId="e937f645-8c95-42a9-a298-dfd645e9a76a" providerId="ADAL" clId="{750E9A50-ACEA-48D3-B2C6-355D5EC56876}" dt="2024-06-13T13:49:21.513" v="7126"/>
          <ac:spMkLst>
            <pc:docMk/>
            <pc:sldMk cId="0" sldId="329"/>
            <ac:spMk id="5519" creationId="{D7C7BCB9-921D-E6E7-15B6-B22DE033D91B}"/>
          </ac:spMkLst>
        </pc:spChg>
        <pc:spChg chg="mod">
          <ac:chgData name="Deimonmi Nongrum [Chillibreeze]" userId="e937f645-8c95-42a9-a298-dfd645e9a76a" providerId="ADAL" clId="{750E9A50-ACEA-48D3-B2C6-355D5EC56876}" dt="2024-06-13T13:49:21.513" v="7126"/>
          <ac:spMkLst>
            <pc:docMk/>
            <pc:sldMk cId="0" sldId="329"/>
            <ac:spMk id="5520" creationId="{186B06F3-BCC0-878F-5B38-F7F7A49E041F}"/>
          </ac:spMkLst>
        </pc:spChg>
        <pc:spChg chg="mod">
          <ac:chgData name="Deimonmi Nongrum [Chillibreeze]" userId="e937f645-8c95-42a9-a298-dfd645e9a76a" providerId="ADAL" clId="{750E9A50-ACEA-48D3-B2C6-355D5EC56876}" dt="2024-06-13T13:49:21.513" v="7126"/>
          <ac:spMkLst>
            <pc:docMk/>
            <pc:sldMk cId="0" sldId="329"/>
            <ac:spMk id="5521" creationId="{0E5FFCD9-12DC-91F8-F761-F9CE35F9F8E6}"/>
          </ac:spMkLst>
        </pc:spChg>
        <pc:spChg chg="mod">
          <ac:chgData name="Deimonmi Nongrum [Chillibreeze]" userId="e937f645-8c95-42a9-a298-dfd645e9a76a" providerId="ADAL" clId="{750E9A50-ACEA-48D3-B2C6-355D5EC56876}" dt="2024-06-13T13:49:21.513" v="7126"/>
          <ac:spMkLst>
            <pc:docMk/>
            <pc:sldMk cId="0" sldId="329"/>
            <ac:spMk id="5522" creationId="{16498A48-363A-C04A-10C2-C82125E4DA5A}"/>
          </ac:spMkLst>
        </pc:spChg>
        <pc:spChg chg="mod">
          <ac:chgData name="Deimonmi Nongrum [Chillibreeze]" userId="e937f645-8c95-42a9-a298-dfd645e9a76a" providerId="ADAL" clId="{750E9A50-ACEA-48D3-B2C6-355D5EC56876}" dt="2024-06-13T13:49:21.513" v="7126"/>
          <ac:spMkLst>
            <pc:docMk/>
            <pc:sldMk cId="0" sldId="329"/>
            <ac:spMk id="5523" creationId="{D6072231-0604-F0DD-93EC-2C01E32ACB95}"/>
          </ac:spMkLst>
        </pc:spChg>
        <pc:spChg chg="mod">
          <ac:chgData name="Deimonmi Nongrum [Chillibreeze]" userId="e937f645-8c95-42a9-a298-dfd645e9a76a" providerId="ADAL" clId="{750E9A50-ACEA-48D3-B2C6-355D5EC56876}" dt="2024-06-13T13:49:17.779" v="7062"/>
          <ac:spMkLst>
            <pc:docMk/>
            <pc:sldMk cId="0" sldId="329"/>
            <ac:spMk id="5525" creationId="{6408CF4D-6EAC-9FEC-E511-F24544E3BB44}"/>
          </ac:spMkLst>
        </pc:spChg>
        <pc:spChg chg="mod">
          <ac:chgData name="Deimonmi Nongrum [Chillibreeze]" userId="e937f645-8c95-42a9-a298-dfd645e9a76a" providerId="ADAL" clId="{750E9A50-ACEA-48D3-B2C6-355D5EC56876}" dt="2024-06-13T13:49:17.779" v="7062"/>
          <ac:spMkLst>
            <pc:docMk/>
            <pc:sldMk cId="0" sldId="329"/>
            <ac:spMk id="5526" creationId="{2147DA29-0ABE-5B89-C764-67A2491A2ABF}"/>
          </ac:spMkLst>
        </pc:spChg>
        <pc:spChg chg="mod">
          <ac:chgData name="Deimonmi Nongrum [Chillibreeze]" userId="e937f645-8c95-42a9-a298-dfd645e9a76a" providerId="ADAL" clId="{750E9A50-ACEA-48D3-B2C6-355D5EC56876}" dt="2024-06-13T13:49:17.779" v="7062"/>
          <ac:spMkLst>
            <pc:docMk/>
            <pc:sldMk cId="0" sldId="329"/>
            <ac:spMk id="5527" creationId="{39D39751-B37C-870E-EBDB-997093BC34E0}"/>
          </ac:spMkLst>
        </pc:spChg>
        <pc:spChg chg="mod">
          <ac:chgData name="Deimonmi Nongrum [Chillibreeze]" userId="e937f645-8c95-42a9-a298-dfd645e9a76a" providerId="ADAL" clId="{750E9A50-ACEA-48D3-B2C6-355D5EC56876}" dt="2024-06-13T13:49:17.779" v="7062"/>
          <ac:spMkLst>
            <pc:docMk/>
            <pc:sldMk cId="0" sldId="329"/>
            <ac:spMk id="5528" creationId="{A099A677-A8CC-A133-ED06-036D7173101F}"/>
          </ac:spMkLst>
        </pc:spChg>
        <pc:spChg chg="mod">
          <ac:chgData name="Deimonmi Nongrum [Chillibreeze]" userId="e937f645-8c95-42a9-a298-dfd645e9a76a" providerId="ADAL" clId="{750E9A50-ACEA-48D3-B2C6-355D5EC56876}" dt="2024-06-13T13:49:17.779" v="7062"/>
          <ac:spMkLst>
            <pc:docMk/>
            <pc:sldMk cId="0" sldId="329"/>
            <ac:spMk id="5529" creationId="{C367B2D6-8B4D-9CFA-3729-1B05F8E72ECF}"/>
          </ac:spMkLst>
        </pc:spChg>
        <pc:spChg chg="mod">
          <ac:chgData name="Deimonmi Nongrum [Chillibreeze]" userId="e937f645-8c95-42a9-a298-dfd645e9a76a" providerId="ADAL" clId="{750E9A50-ACEA-48D3-B2C6-355D5EC56876}" dt="2024-06-13T13:49:05.523" v="7007"/>
          <ac:spMkLst>
            <pc:docMk/>
            <pc:sldMk cId="0" sldId="329"/>
            <ac:spMk id="5824" creationId="{5AAE2E6B-0729-B197-09AA-D52C019571DF}"/>
          </ac:spMkLst>
        </pc:spChg>
        <pc:spChg chg="mod">
          <ac:chgData name="Deimonmi Nongrum [Chillibreeze]" userId="e937f645-8c95-42a9-a298-dfd645e9a76a" providerId="ADAL" clId="{750E9A50-ACEA-48D3-B2C6-355D5EC56876}" dt="2024-06-13T13:49:05.523" v="7007"/>
          <ac:spMkLst>
            <pc:docMk/>
            <pc:sldMk cId="0" sldId="329"/>
            <ac:spMk id="5825" creationId="{EEFC2CA7-E4A6-F5CE-2D12-EC9CB5FFB053}"/>
          </ac:spMkLst>
        </pc:spChg>
        <pc:spChg chg="mod">
          <ac:chgData name="Deimonmi Nongrum [Chillibreeze]" userId="e937f645-8c95-42a9-a298-dfd645e9a76a" providerId="ADAL" clId="{750E9A50-ACEA-48D3-B2C6-355D5EC56876}" dt="2024-06-13T13:49:05.523" v="7007"/>
          <ac:spMkLst>
            <pc:docMk/>
            <pc:sldMk cId="0" sldId="329"/>
            <ac:spMk id="5826" creationId="{6D51A290-FD86-FADA-6997-37085792FD04}"/>
          </ac:spMkLst>
        </pc:spChg>
        <pc:spChg chg="mod">
          <ac:chgData name="Deimonmi Nongrum [Chillibreeze]" userId="e937f645-8c95-42a9-a298-dfd645e9a76a" providerId="ADAL" clId="{750E9A50-ACEA-48D3-B2C6-355D5EC56876}" dt="2024-06-13T13:49:05.523" v="7007"/>
          <ac:spMkLst>
            <pc:docMk/>
            <pc:sldMk cId="0" sldId="329"/>
            <ac:spMk id="5830" creationId="{112CFF48-A2B4-4BC5-204D-3E75A9D2672A}"/>
          </ac:spMkLst>
        </pc:spChg>
        <pc:spChg chg="mod">
          <ac:chgData name="Deimonmi Nongrum [Chillibreeze]" userId="e937f645-8c95-42a9-a298-dfd645e9a76a" providerId="ADAL" clId="{750E9A50-ACEA-48D3-B2C6-355D5EC56876}" dt="2024-06-13T13:49:05.523" v="7007"/>
          <ac:spMkLst>
            <pc:docMk/>
            <pc:sldMk cId="0" sldId="329"/>
            <ac:spMk id="5831" creationId="{C9C3076B-D5B3-6172-78D1-8225C7FA411A}"/>
          </ac:spMkLst>
        </pc:spChg>
        <pc:spChg chg="mod">
          <ac:chgData name="Deimonmi Nongrum [Chillibreeze]" userId="e937f645-8c95-42a9-a298-dfd645e9a76a" providerId="ADAL" clId="{750E9A50-ACEA-48D3-B2C6-355D5EC56876}" dt="2024-06-13T13:49:05.523" v="7007"/>
          <ac:spMkLst>
            <pc:docMk/>
            <pc:sldMk cId="0" sldId="329"/>
            <ac:spMk id="5832" creationId="{47E30EAF-A3E0-0E95-44D4-9D6782B2929F}"/>
          </ac:spMkLst>
        </pc:spChg>
        <pc:spChg chg="mod">
          <ac:chgData name="Deimonmi Nongrum [Chillibreeze]" userId="e937f645-8c95-42a9-a298-dfd645e9a76a" providerId="ADAL" clId="{750E9A50-ACEA-48D3-B2C6-355D5EC56876}" dt="2024-06-13T13:49:05.523" v="7007"/>
          <ac:spMkLst>
            <pc:docMk/>
            <pc:sldMk cId="0" sldId="329"/>
            <ac:spMk id="5833" creationId="{E10D2580-2385-A879-8E3F-8779345EC1C4}"/>
          </ac:spMkLst>
        </pc:spChg>
        <pc:spChg chg="mod">
          <ac:chgData name="Deimonmi Nongrum [Chillibreeze]" userId="e937f645-8c95-42a9-a298-dfd645e9a76a" providerId="ADAL" clId="{750E9A50-ACEA-48D3-B2C6-355D5EC56876}" dt="2024-06-13T13:49:05.523" v="7007"/>
          <ac:spMkLst>
            <pc:docMk/>
            <pc:sldMk cId="0" sldId="329"/>
            <ac:spMk id="5834" creationId="{9526FB4F-9FA0-9B12-E9FA-F524F9087087}"/>
          </ac:spMkLst>
        </pc:spChg>
        <pc:spChg chg="mod">
          <ac:chgData name="Deimonmi Nongrum [Chillibreeze]" userId="e937f645-8c95-42a9-a298-dfd645e9a76a" providerId="ADAL" clId="{750E9A50-ACEA-48D3-B2C6-355D5EC56876}" dt="2024-06-13T13:49:05.523" v="7007"/>
          <ac:spMkLst>
            <pc:docMk/>
            <pc:sldMk cId="0" sldId="329"/>
            <ac:spMk id="5835" creationId="{1150F76B-2F40-7D63-4EA1-F624376C05E8}"/>
          </ac:spMkLst>
        </pc:spChg>
        <pc:spChg chg="mod">
          <ac:chgData name="Deimonmi Nongrum [Chillibreeze]" userId="e937f645-8c95-42a9-a298-dfd645e9a76a" providerId="ADAL" clId="{750E9A50-ACEA-48D3-B2C6-355D5EC56876}" dt="2024-06-13T13:49:05.523" v="7007"/>
          <ac:spMkLst>
            <pc:docMk/>
            <pc:sldMk cId="0" sldId="329"/>
            <ac:spMk id="5836" creationId="{B82582B1-75DD-5386-8D7F-801743CF7EA3}"/>
          </ac:spMkLst>
        </pc:spChg>
        <pc:spChg chg="mod">
          <ac:chgData name="Deimonmi Nongrum [Chillibreeze]" userId="e937f645-8c95-42a9-a298-dfd645e9a76a" providerId="ADAL" clId="{750E9A50-ACEA-48D3-B2C6-355D5EC56876}" dt="2024-06-13T13:49:05.523" v="7007"/>
          <ac:spMkLst>
            <pc:docMk/>
            <pc:sldMk cId="0" sldId="329"/>
            <ac:spMk id="5837" creationId="{82147B7F-4644-3E10-DB3E-668CE8011E42}"/>
          </ac:spMkLst>
        </pc:spChg>
        <pc:spChg chg="mod">
          <ac:chgData name="Deimonmi Nongrum [Chillibreeze]" userId="e937f645-8c95-42a9-a298-dfd645e9a76a" providerId="ADAL" clId="{750E9A50-ACEA-48D3-B2C6-355D5EC56876}" dt="2024-06-13T13:49:05.523" v="7007"/>
          <ac:spMkLst>
            <pc:docMk/>
            <pc:sldMk cId="0" sldId="329"/>
            <ac:spMk id="5838" creationId="{F642DD0B-D746-5D17-C84C-2982794E2F50}"/>
          </ac:spMkLst>
        </pc:spChg>
        <pc:spChg chg="mod">
          <ac:chgData name="Deimonmi Nongrum [Chillibreeze]" userId="e937f645-8c95-42a9-a298-dfd645e9a76a" providerId="ADAL" clId="{750E9A50-ACEA-48D3-B2C6-355D5EC56876}" dt="2024-06-13T13:49:05.523" v="7007"/>
          <ac:spMkLst>
            <pc:docMk/>
            <pc:sldMk cId="0" sldId="329"/>
            <ac:spMk id="5839" creationId="{2E9803EB-5107-DA39-EC18-44532D93FF05}"/>
          </ac:spMkLst>
        </pc:spChg>
        <pc:spChg chg="add del mod ord">
          <ac:chgData name="Deimonmi Nongrum [Chillibreeze]" userId="e937f645-8c95-42a9-a298-dfd645e9a76a" providerId="ADAL" clId="{750E9A50-ACEA-48D3-B2C6-355D5EC56876}" dt="2024-06-13T11:29:43.259" v="3608" actId="6264"/>
          <ac:spMkLst>
            <pc:docMk/>
            <pc:sldMk cId="0" sldId="329"/>
            <ac:spMk id="5840" creationId="{8B503FCA-B07D-967C-902C-C6FBC95968E3}"/>
          </ac:spMkLst>
        </pc:spChg>
        <pc:spChg chg="mod">
          <ac:chgData name="Deimonmi Nongrum [Chillibreeze]" userId="e937f645-8c95-42a9-a298-dfd645e9a76a" providerId="ADAL" clId="{750E9A50-ACEA-48D3-B2C6-355D5EC56876}" dt="2024-06-13T13:48:01.934" v="6836"/>
          <ac:spMkLst>
            <pc:docMk/>
            <pc:sldMk cId="0" sldId="329"/>
            <ac:spMk id="5840" creationId="{C195AD82-A165-C640-53A1-16FCD827154F}"/>
          </ac:spMkLst>
        </pc:spChg>
        <pc:spChg chg="mod">
          <ac:chgData name="Deimonmi Nongrum [Chillibreeze]" userId="e937f645-8c95-42a9-a298-dfd645e9a76a" providerId="ADAL" clId="{750E9A50-ACEA-48D3-B2C6-355D5EC56876}" dt="2024-06-13T13:48:01.934" v="6836"/>
          <ac:spMkLst>
            <pc:docMk/>
            <pc:sldMk cId="0" sldId="329"/>
            <ac:spMk id="5841" creationId="{BBB84C0E-AE9E-CDEC-EF1B-FE758BBCD3D7}"/>
          </ac:spMkLst>
        </pc:spChg>
        <pc:spChg chg="add del mod ord">
          <ac:chgData name="Deimonmi Nongrum [Chillibreeze]" userId="e937f645-8c95-42a9-a298-dfd645e9a76a" providerId="ADAL" clId="{750E9A50-ACEA-48D3-B2C6-355D5EC56876}" dt="2024-06-13T11:29:43.472" v="3609" actId="6264"/>
          <ac:spMkLst>
            <pc:docMk/>
            <pc:sldMk cId="0" sldId="329"/>
            <ac:spMk id="5841" creationId="{D113CCCB-853A-3DFA-B6C8-E920AB2D7301}"/>
          </ac:spMkLst>
        </pc:spChg>
        <pc:spChg chg="mod">
          <ac:chgData name="Deimonmi Nongrum [Chillibreeze]" userId="e937f645-8c95-42a9-a298-dfd645e9a76a" providerId="ADAL" clId="{750E9A50-ACEA-48D3-B2C6-355D5EC56876}" dt="2024-06-13T13:48:01.934" v="6836"/>
          <ac:spMkLst>
            <pc:docMk/>
            <pc:sldMk cId="0" sldId="329"/>
            <ac:spMk id="5842" creationId="{3A1E1643-3BB9-9B35-6F8F-304AAACB0132}"/>
          </ac:spMkLst>
        </pc:spChg>
        <pc:spChg chg="add del mod ord">
          <ac:chgData name="Deimonmi Nongrum [Chillibreeze]" userId="e937f645-8c95-42a9-a298-dfd645e9a76a" providerId="ADAL" clId="{750E9A50-ACEA-48D3-B2C6-355D5EC56876}" dt="2024-06-13T11:29:43.601" v="3610" actId="6264"/>
          <ac:spMkLst>
            <pc:docMk/>
            <pc:sldMk cId="0" sldId="329"/>
            <ac:spMk id="5842" creationId="{A578C995-FC4E-DB7F-0F13-7FF71D46F84F}"/>
          </ac:spMkLst>
        </pc:spChg>
        <pc:spChg chg="mod">
          <ac:chgData name="Deimonmi Nongrum [Chillibreeze]" userId="e937f645-8c95-42a9-a298-dfd645e9a76a" providerId="ADAL" clId="{750E9A50-ACEA-48D3-B2C6-355D5EC56876}" dt="2024-06-13T13:48:01.934" v="6836"/>
          <ac:spMkLst>
            <pc:docMk/>
            <pc:sldMk cId="0" sldId="329"/>
            <ac:spMk id="5843" creationId="{1CEE43C9-2554-AB08-550E-D6BB62863915}"/>
          </ac:spMkLst>
        </pc:spChg>
        <pc:spChg chg="add del mod ord">
          <ac:chgData name="Deimonmi Nongrum [Chillibreeze]" userId="e937f645-8c95-42a9-a298-dfd645e9a76a" providerId="ADAL" clId="{750E9A50-ACEA-48D3-B2C6-355D5EC56876}" dt="2024-06-13T11:29:43.774" v="3611" actId="6264"/>
          <ac:spMkLst>
            <pc:docMk/>
            <pc:sldMk cId="0" sldId="329"/>
            <ac:spMk id="5843" creationId="{BDE43AF9-82D1-213C-B417-4354CFD8A7CE}"/>
          </ac:spMkLst>
        </pc:spChg>
        <pc:spChg chg="add mod ord">
          <ac:chgData name="Deimonmi Nongrum [Chillibreeze]" userId="e937f645-8c95-42a9-a298-dfd645e9a76a" providerId="ADAL" clId="{750E9A50-ACEA-48D3-B2C6-355D5EC56876}" dt="2024-06-13T11:56:29.712" v="3960"/>
          <ac:spMkLst>
            <pc:docMk/>
            <pc:sldMk cId="0" sldId="329"/>
            <ac:spMk id="5844" creationId="{6E76ECD2-06AE-FDBD-EA64-50358394F0B6}"/>
          </ac:spMkLst>
        </pc:spChg>
        <pc:spChg chg="add mod ord">
          <ac:chgData name="Deimonmi Nongrum [Chillibreeze]" userId="e937f645-8c95-42a9-a298-dfd645e9a76a" providerId="ADAL" clId="{750E9A50-ACEA-48D3-B2C6-355D5EC56876}" dt="2024-06-13T11:56:30.619" v="3961"/>
          <ac:spMkLst>
            <pc:docMk/>
            <pc:sldMk cId="0" sldId="329"/>
            <ac:spMk id="5846" creationId="{8C543D36-9740-3CFE-C32C-6877DB96A74B}"/>
          </ac:spMkLst>
        </pc:spChg>
        <pc:spChg chg="add mod ord">
          <ac:chgData name="Deimonmi Nongrum [Chillibreeze]" userId="e937f645-8c95-42a9-a298-dfd645e9a76a" providerId="ADAL" clId="{750E9A50-ACEA-48D3-B2C6-355D5EC56876}" dt="2024-06-13T13:55:49.413" v="7235" actId="207"/>
          <ac:spMkLst>
            <pc:docMk/>
            <pc:sldMk cId="0" sldId="329"/>
            <ac:spMk id="5847" creationId="{AB1122FC-DF83-5C2C-CBE8-9CE6B7528FAD}"/>
          </ac:spMkLst>
        </pc:spChg>
        <pc:spChg chg="mod">
          <ac:chgData name="Deimonmi Nongrum [Chillibreeze]" userId="e937f645-8c95-42a9-a298-dfd645e9a76a" providerId="ADAL" clId="{750E9A50-ACEA-48D3-B2C6-355D5EC56876}" dt="2024-06-13T13:47:38.510" v="6465"/>
          <ac:spMkLst>
            <pc:docMk/>
            <pc:sldMk cId="0" sldId="329"/>
            <ac:spMk id="5849" creationId="{CAB85117-5E48-ACEF-8024-8036D52FD78D}"/>
          </ac:spMkLst>
        </pc:spChg>
        <pc:spChg chg="mod">
          <ac:chgData name="Deimonmi Nongrum [Chillibreeze]" userId="e937f645-8c95-42a9-a298-dfd645e9a76a" providerId="ADAL" clId="{750E9A50-ACEA-48D3-B2C6-355D5EC56876}" dt="2024-06-13T13:47:38.510" v="6465"/>
          <ac:spMkLst>
            <pc:docMk/>
            <pc:sldMk cId="0" sldId="329"/>
            <ac:spMk id="5850" creationId="{5EAED4FD-755C-1CDE-4D7D-BD8CEB0E73E4}"/>
          </ac:spMkLst>
        </pc:spChg>
        <pc:spChg chg="mod">
          <ac:chgData name="Deimonmi Nongrum [Chillibreeze]" userId="e937f645-8c95-42a9-a298-dfd645e9a76a" providerId="ADAL" clId="{750E9A50-ACEA-48D3-B2C6-355D5EC56876}" dt="2024-06-13T13:47:38.510" v="6465"/>
          <ac:spMkLst>
            <pc:docMk/>
            <pc:sldMk cId="0" sldId="329"/>
            <ac:spMk id="5851" creationId="{30E13D1A-9D29-D6E1-72AB-B63832EC651E}"/>
          </ac:spMkLst>
        </pc:spChg>
        <pc:spChg chg="mod">
          <ac:chgData name="Deimonmi Nongrum [Chillibreeze]" userId="e937f645-8c95-42a9-a298-dfd645e9a76a" providerId="ADAL" clId="{750E9A50-ACEA-48D3-B2C6-355D5EC56876}" dt="2024-06-13T13:47:38.510" v="6465"/>
          <ac:spMkLst>
            <pc:docMk/>
            <pc:sldMk cId="0" sldId="329"/>
            <ac:spMk id="5852" creationId="{DE65A112-BFE7-B13D-1F48-2823C8D82765}"/>
          </ac:spMkLst>
        </pc:spChg>
        <pc:spChg chg="mod">
          <ac:chgData name="Deimonmi Nongrum [Chillibreeze]" userId="e937f645-8c95-42a9-a298-dfd645e9a76a" providerId="ADAL" clId="{750E9A50-ACEA-48D3-B2C6-355D5EC56876}" dt="2024-06-13T13:47:38.510" v="6465"/>
          <ac:spMkLst>
            <pc:docMk/>
            <pc:sldMk cId="0" sldId="329"/>
            <ac:spMk id="5853" creationId="{7EBAF778-A31C-D5AF-ECB7-21325A400F55}"/>
          </ac:spMkLst>
        </pc:spChg>
        <pc:spChg chg="mod">
          <ac:chgData name="Deimonmi Nongrum [Chillibreeze]" userId="e937f645-8c95-42a9-a298-dfd645e9a76a" providerId="ADAL" clId="{750E9A50-ACEA-48D3-B2C6-355D5EC56876}" dt="2024-06-13T13:47:44.382" v="6587"/>
          <ac:spMkLst>
            <pc:docMk/>
            <pc:sldMk cId="0" sldId="329"/>
            <ac:spMk id="5855" creationId="{90024EBF-20D9-8171-12EF-F17DFC3C81FD}"/>
          </ac:spMkLst>
        </pc:spChg>
        <pc:spChg chg="mod">
          <ac:chgData name="Deimonmi Nongrum [Chillibreeze]" userId="e937f645-8c95-42a9-a298-dfd645e9a76a" providerId="ADAL" clId="{750E9A50-ACEA-48D3-B2C6-355D5EC56876}" dt="2024-06-13T13:47:44.382" v="6587"/>
          <ac:spMkLst>
            <pc:docMk/>
            <pc:sldMk cId="0" sldId="329"/>
            <ac:spMk id="5856" creationId="{A0B36376-51A1-9816-0860-96AC60042190}"/>
          </ac:spMkLst>
        </pc:spChg>
        <pc:spChg chg="mod">
          <ac:chgData name="Deimonmi Nongrum [Chillibreeze]" userId="e937f645-8c95-42a9-a298-dfd645e9a76a" providerId="ADAL" clId="{750E9A50-ACEA-48D3-B2C6-355D5EC56876}" dt="2024-06-13T13:47:44.382" v="6587"/>
          <ac:spMkLst>
            <pc:docMk/>
            <pc:sldMk cId="0" sldId="329"/>
            <ac:spMk id="5857" creationId="{A3835439-27D5-AA63-1F9F-8F2902073032}"/>
          </ac:spMkLst>
        </pc:spChg>
        <pc:spChg chg="mod">
          <ac:chgData name="Deimonmi Nongrum [Chillibreeze]" userId="e937f645-8c95-42a9-a298-dfd645e9a76a" providerId="ADAL" clId="{750E9A50-ACEA-48D3-B2C6-355D5EC56876}" dt="2024-06-13T13:47:44.382" v="6587"/>
          <ac:spMkLst>
            <pc:docMk/>
            <pc:sldMk cId="0" sldId="329"/>
            <ac:spMk id="5858" creationId="{BCB36113-17F8-D50A-1113-27AEAB6F004C}"/>
          </ac:spMkLst>
        </pc:spChg>
        <pc:spChg chg="mod">
          <ac:chgData name="Deimonmi Nongrum [Chillibreeze]" userId="e937f645-8c95-42a9-a298-dfd645e9a76a" providerId="ADAL" clId="{750E9A50-ACEA-48D3-B2C6-355D5EC56876}" dt="2024-06-13T13:47:44.382" v="6587"/>
          <ac:spMkLst>
            <pc:docMk/>
            <pc:sldMk cId="0" sldId="329"/>
            <ac:spMk id="5859" creationId="{93FA9251-B36C-BCF2-1FAA-CF4CEA03382F}"/>
          </ac:spMkLst>
        </pc:spChg>
        <pc:spChg chg="mod">
          <ac:chgData name="Deimonmi Nongrum [Chillibreeze]" userId="e937f645-8c95-42a9-a298-dfd645e9a76a" providerId="ADAL" clId="{750E9A50-ACEA-48D3-B2C6-355D5EC56876}" dt="2024-06-13T13:47:54.951" v="6716"/>
          <ac:spMkLst>
            <pc:docMk/>
            <pc:sldMk cId="0" sldId="329"/>
            <ac:spMk id="5861" creationId="{D90C8F71-C707-682F-2786-6C748BC68B20}"/>
          </ac:spMkLst>
        </pc:spChg>
        <pc:spChg chg="mod">
          <ac:chgData name="Deimonmi Nongrum [Chillibreeze]" userId="e937f645-8c95-42a9-a298-dfd645e9a76a" providerId="ADAL" clId="{750E9A50-ACEA-48D3-B2C6-355D5EC56876}" dt="2024-06-13T13:47:54.951" v="6716"/>
          <ac:spMkLst>
            <pc:docMk/>
            <pc:sldMk cId="0" sldId="329"/>
            <ac:spMk id="5862" creationId="{9858F042-E146-D7B4-E9C7-1EE375F6F1C0}"/>
          </ac:spMkLst>
        </pc:spChg>
        <pc:spChg chg="mod">
          <ac:chgData name="Deimonmi Nongrum [Chillibreeze]" userId="e937f645-8c95-42a9-a298-dfd645e9a76a" providerId="ADAL" clId="{750E9A50-ACEA-48D3-B2C6-355D5EC56876}" dt="2024-06-13T13:47:54.951" v="6716"/>
          <ac:spMkLst>
            <pc:docMk/>
            <pc:sldMk cId="0" sldId="329"/>
            <ac:spMk id="5863" creationId="{982B8570-C7A0-45E9-87D0-A9E3AEC54DFF}"/>
          </ac:spMkLst>
        </pc:spChg>
        <pc:spChg chg="mod">
          <ac:chgData name="Deimonmi Nongrum [Chillibreeze]" userId="e937f645-8c95-42a9-a298-dfd645e9a76a" providerId="ADAL" clId="{750E9A50-ACEA-48D3-B2C6-355D5EC56876}" dt="2024-06-13T13:47:54.951" v="6716"/>
          <ac:spMkLst>
            <pc:docMk/>
            <pc:sldMk cId="0" sldId="329"/>
            <ac:spMk id="5864" creationId="{49909302-25DE-C321-CDAA-1BAB29C76B60}"/>
          </ac:spMkLst>
        </pc:spChg>
        <pc:spChg chg="mod">
          <ac:chgData name="Deimonmi Nongrum [Chillibreeze]" userId="e937f645-8c95-42a9-a298-dfd645e9a76a" providerId="ADAL" clId="{750E9A50-ACEA-48D3-B2C6-355D5EC56876}" dt="2024-06-13T13:47:54.951" v="6716"/>
          <ac:spMkLst>
            <pc:docMk/>
            <pc:sldMk cId="0" sldId="329"/>
            <ac:spMk id="5865" creationId="{CAD0193E-3D5B-3302-9F17-C2735D2A5DBE}"/>
          </ac:spMkLst>
        </pc:spChg>
        <pc:spChg chg="mod">
          <ac:chgData name="Deimonmi Nongrum [Chillibreeze]" userId="e937f645-8c95-42a9-a298-dfd645e9a76a" providerId="ADAL" clId="{750E9A50-ACEA-48D3-B2C6-355D5EC56876}" dt="2024-06-13T13:48:01.934" v="6836"/>
          <ac:spMkLst>
            <pc:docMk/>
            <pc:sldMk cId="0" sldId="329"/>
            <ac:spMk id="5866" creationId="{E7BE63F7-EBA7-0EAB-DF18-942D0306CFB0}"/>
          </ac:spMkLst>
        </pc:spChg>
        <pc:spChg chg="mod">
          <ac:chgData name="Deimonmi Nongrum [Chillibreeze]" userId="e937f645-8c95-42a9-a298-dfd645e9a76a" providerId="ADAL" clId="{750E9A50-ACEA-48D3-B2C6-355D5EC56876}" dt="2024-06-13T13:49:25.345" v="7186"/>
          <ac:spMkLst>
            <pc:docMk/>
            <pc:sldMk cId="0" sldId="329"/>
            <ac:spMk id="5868" creationId="{2E7EEAA5-208A-EAB3-92B4-E32D16A2CF2C}"/>
          </ac:spMkLst>
        </pc:spChg>
        <pc:spChg chg="mod">
          <ac:chgData name="Deimonmi Nongrum [Chillibreeze]" userId="e937f645-8c95-42a9-a298-dfd645e9a76a" providerId="ADAL" clId="{750E9A50-ACEA-48D3-B2C6-355D5EC56876}" dt="2024-06-13T13:49:25.345" v="7186"/>
          <ac:spMkLst>
            <pc:docMk/>
            <pc:sldMk cId="0" sldId="329"/>
            <ac:spMk id="5869" creationId="{E1E00D6F-0620-3FC8-DA4A-CBC099FC1396}"/>
          </ac:spMkLst>
        </pc:spChg>
        <pc:spChg chg="mod">
          <ac:chgData name="Deimonmi Nongrum [Chillibreeze]" userId="e937f645-8c95-42a9-a298-dfd645e9a76a" providerId="ADAL" clId="{750E9A50-ACEA-48D3-B2C6-355D5EC56876}" dt="2024-06-13T13:49:25.345" v="7186"/>
          <ac:spMkLst>
            <pc:docMk/>
            <pc:sldMk cId="0" sldId="329"/>
            <ac:spMk id="5870" creationId="{14BBFF90-62EA-C8BC-078B-967B0E253A89}"/>
          </ac:spMkLst>
        </pc:spChg>
        <pc:spChg chg="mod">
          <ac:chgData name="Deimonmi Nongrum [Chillibreeze]" userId="e937f645-8c95-42a9-a298-dfd645e9a76a" providerId="ADAL" clId="{750E9A50-ACEA-48D3-B2C6-355D5EC56876}" dt="2024-06-13T13:49:25.345" v="7186"/>
          <ac:spMkLst>
            <pc:docMk/>
            <pc:sldMk cId="0" sldId="329"/>
            <ac:spMk id="5871" creationId="{E4E66C8A-AB01-57FF-382C-971C71471E08}"/>
          </ac:spMkLst>
        </pc:spChg>
        <pc:spChg chg="mod">
          <ac:chgData name="Deimonmi Nongrum [Chillibreeze]" userId="e937f645-8c95-42a9-a298-dfd645e9a76a" providerId="ADAL" clId="{750E9A50-ACEA-48D3-B2C6-355D5EC56876}" dt="2024-06-13T13:49:25.345" v="7186"/>
          <ac:spMkLst>
            <pc:docMk/>
            <pc:sldMk cId="0" sldId="329"/>
            <ac:spMk id="5872" creationId="{F7D29166-5B19-A2E3-0317-5A1CEF712202}"/>
          </ac:spMkLst>
        </pc:spChg>
        <pc:spChg chg="mod">
          <ac:chgData name="Deimonmi Nongrum [Chillibreeze]" userId="e937f645-8c95-42a9-a298-dfd645e9a76a" providerId="ADAL" clId="{750E9A50-ACEA-48D3-B2C6-355D5EC56876}" dt="2024-06-13T13:48:29.263" v="6962"/>
          <ac:spMkLst>
            <pc:docMk/>
            <pc:sldMk cId="0" sldId="329"/>
            <ac:spMk id="5878" creationId="{72CE6B13-B0AF-5AE8-4FE4-EA97692A3E4B}"/>
          </ac:spMkLst>
        </pc:spChg>
        <pc:spChg chg="mod">
          <ac:chgData name="Deimonmi Nongrum [Chillibreeze]" userId="e937f645-8c95-42a9-a298-dfd645e9a76a" providerId="ADAL" clId="{750E9A50-ACEA-48D3-B2C6-355D5EC56876}" dt="2024-06-13T13:48:29.263" v="6962"/>
          <ac:spMkLst>
            <pc:docMk/>
            <pc:sldMk cId="0" sldId="329"/>
            <ac:spMk id="5879" creationId="{B2E7110A-2C2F-6670-544D-FBB054882A4E}"/>
          </ac:spMkLst>
        </pc:spChg>
        <pc:spChg chg="mod">
          <ac:chgData name="Deimonmi Nongrum [Chillibreeze]" userId="e937f645-8c95-42a9-a298-dfd645e9a76a" providerId="ADAL" clId="{750E9A50-ACEA-48D3-B2C6-355D5EC56876}" dt="2024-06-13T13:48:29.263" v="6962"/>
          <ac:spMkLst>
            <pc:docMk/>
            <pc:sldMk cId="0" sldId="329"/>
            <ac:spMk id="5880" creationId="{C1B17CAE-265A-99AE-6CE2-90D63D98FE5E}"/>
          </ac:spMkLst>
        </pc:spChg>
        <pc:spChg chg="mod">
          <ac:chgData name="Deimonmi Nongrum [Chillibreeze]" userId="e937f645-8c95-42a9-a298-dfd645e9a76a" providerId="ADAL" clId="{750E9A50-ACEA-48D3-B2C6-355D5EC56876}" dt="2024-06-13T13:48:29.263" v="6962"/>
          <ac:spMkLst>
            <pc:docMk/>
            <pc:sldMk cId="0" sldId="329"/>
            <ac:spMk id="5881" creationId="{219E67B5-F68E-78AC-F8BE-76D6EF4F3870}"/>
          </ac:spMkLst>
        </pc:spChg>
        <pc:spChg chg="mod">
          <ac:chgData name="Deimonmi Nongrum [Chillibreeze]" userId="e937f645-8c95-42a9-a298-dfd645e9a76a" providerId="ADAL" clId="{750E9A50-ACEA-48D3-B2C6-355D5EC56876}" dt="2024-06-13T13:48:29.263" v="6962"/>
          <ac:spMkLst>
            <pc:docMk/>
            <pc:sldMk cId="0" sldId="329"/>
            <ac:spMk id="5882" creationId="{0F966C4F-89FC-EA9F-CB60-D5B620B063E8}"/>
          </ac:spMkLst>
        </pc:spChg>
        <pc:spChg chg="mod">
          <ac:chgData name="Deimonmi Nongrum [Chillibreeze]" userId="e937f645-8c95-42a9-a298-dfd645e9a76a" providerId="ADAL" clId="{750E9A50-ACEA-48D3-B2C6-355D5EC56876}" dt="2024-06-13T13:48:29.263" v="6962"/>
          <ac:spMkLst>
            <pc:docMk/>
            <pc:sldMk cId="0" sldId="329"/>
            <ac:spMk id="5883" creationId="{A4303512-2609-5C6E-99C8-261531E760CB}"/>
          </ac:spMkLst>
        </pc:spChg>
        <pc:spChg chg="mod">
          <ac:chgData name="Deimonmi Nongrum [Chillibreeze]" userId="e937f645-8c95-42a9-a298-dfd645e9a76a" providerId="ADAL" clId="{750E9A50-ACEA-48D3-B2C6-355D5EC56876}" dt="2024-06-13T13:48:29.263" v="6962"/>
          <ac:spMkLst>
            <pc:docMk/>
            <pc:sldMk cId="0" sldId="329"/>
            <ac:spMk id="5884" creationId="{133F5444-3F52-9C96-A6B8-3E4566813651}"/>
          </ac:spMkLst>
        </pc:spChg>
        <pc:spChg chg="mod">
          <ac:chgData name="Deimonmi Nongrum [Chillibreeze]" userId="e937f645-8c95-42a9-a298-dfd645e9a76a" providerId="ADAL" clId="{750E9A50-ACEA-48D3-B2C6-355D5EC56876}" dt="2024-06-13T13:48:29.263" v="6962"/>
          <ac:spMkLst>
            <pc:docMk/>
            <pc:sldMk cId="0" sldId="329"/>
            <ac:spMk id="5885" creationId="{8930B907-385A-D75B-DB23-25B283B32E13}"/>
          </ac:spMkLst>
        </pc:spChg>
        <pc:spChg chg="mod">
          <ac:chgData name="Deimonmi Nongrum [Chillibreeze]" userId="e937f645-8c95-42a9-a298-dfd645e9a76a" providerId="ADAL" clId="{750E9A50-ACEA-48D3-B2C6-355D5EC56876}" dt="2024-06-13T13:48:29.263" v="6962"/>
          <ac:spMkLst>
            <pc:docMk/>
            <pc:sldMk cId="0" sldId="329"/>
            <ac:spMk id="5886" creationId="{F31FAEBF-FCC5-30D1-804B-38BB7919EB45}"/>
          </ac:spMkLst>
        </pc:spChg>
        <pc:spChg chg="mod">
          <ac:chgData name="Deimonmi Nongrum [Chillibreeze]" userId="e937f645-8c95-42a9-a298-dfd645e9a76a" providerId="ADAL" clId="{750E9A50-ACEA-48D3-B2C6-355D5EC56876}" dt="2024-06-13T13:48:29.263" v="6962"/>
          <ac:spMkLst>
            <pc:docMk/>
            <pc:sldMk cId="0" sldId="329"/>
            <ac:spMk id="5887" creationId="{E84F9940-C72A-0712-F575-1662B6D11AF6}"/>
          </ac:spMkLst>
        </pc:spChg>
        <pc:spChg chg="mod">
          <ac:chgData name="Deimonmi Nongrum [Chillibreeze]" userId="e937f645-8c95-42a9-a298-dfd645e9a76a" providerId="ADAL" clId="{750E9A50-ACEA-48D3-B2C6-355D5EC56876}" dt="2024-06-13T13:49:05.526" v="7011"/>
          <ac:spMkLst>
            <pc:docMk/>
            <pc:sldMk cId="0" sldId="329"/>
            <ac:spMk id="5888" creationId="{15C35488-3E7B-6004-305A-FE2D5A80CEF3}"/>
          </ac:spMkLst>
        </pc:spChg>
        <pc:spChg chg="mod">
          <ac:chgData name="Deimonmi Nongrum [Chillibreeze]" userId="e937f645-8c95-42a9-a298-dfd645e9a76a" providerId="ADAL" clId="{750E9A50-ACEA-48D3-B2C6-355D5EC56876}" dt="2024-06-13T13:49:05.526" v="7011"/>
          <ac:spMkLst>
            <pc:docMk/>
            <pc:sldMk cId="0" sldId="329"/>
            <ac:spMk id="5889" creationId="{AC93BC9F-560B-C9A6-BBF8-2C2F620B04A4}"/>
          </ac:spMkLst>
        </pc:spChg>
        <pc:spChg chg="mod">
          <ac:chgData name="Deimonmi Nongrum [Chillibreeze]" userId="e937f645-8c95-42a9-a298-dfd645e9a76a" providerId="ADAL" clId="{750E9A50-ACEA-48D3-B2C6-355D5EC56876}" dt="2024-06-13T13:49:05.526" v="7011"/>
          <ac:spMkLst>
            <pc:docMk/>
            <pc:sldMk cId="0" sldId="329"/>
            <ac:spMk id="5890" creationId="{EED683A8-ABAC-52D7-8C8C-DCB1AF475466}"/>
          </ac:spMkLst>
        </pc:spChg>
        <pc:spChg chg="mod">
          <ac:chgData name="Deimonmi Nongrum [Chillibreeze]" userId="e937f645-8c95-42a9-a298-dfd645e9a76a" providerId="ADAL" clId="{750E9A50-ACEA-48D3-B2C6-355D5EC56876}" dt="2024-06-13T13:47:38.511" v="6473"/>
          <ac:spMkLst>
            <pc:docMk/>
            <pc:sldMk cId="0" sldId="329"/>
            <ac:spMk id="5891" creationId="{9D95AD05-82EB-20C4-482C-033482206681}"/>
          </ac:spMkLst>
        </pc:spChg>
        <pc:spChg chg="mod">
          <ac:chgData name="Deimonmi Nongrum [Chillibreeze]" userId="e937f645-8c95-42a9-a298-dfd645e9a76a" providerId="ADAL" clId="{750E9A50-ACEA-48D3-B2C6-355D5EC56876}" dt="2024-06-13T13:47:38.511" v="6473"/>
          <ac:spMkLst>
            <pc:docMk/>
            <pc:sldMk cId="0" sldId="329"/>
            <ac:spMk id="5892" creationId="{C1DBE714-9278-2318-038F-F77B720CF763}"/>
          </ac:spMkLst>
        </pc:spChg>
        <pc:spChg chg="mod">
          <ac:chgData name="Deimonmi Nongrum [Chillibreeze]" userId="e937f645-8c95-42a9-a298-dfd645e9a76a" providerId="ADAL" clId="{750E9A50-ACEA-48D3-B2C6-355D5EC56876}" dt="2024-06-13T13:49:05.526" v="7011"/>
          <ac:spMkLst>
            <pc:docMk/>
            <pc:sldMk cId="0" sldId="329"/>
            <ac:spMk id="5893" creationId="{B9FD369C-5D41-B2AB-D19A-E2AAECD06B05}"/>
          </ac:spMkLst>
        </pc:spChg>
        <pc:spChg chg="mod">
          <ac:chgData name="Deimonmi Nongrum [Chillibreeze]" userId="e937f645-8c95-42a9-a298-dfd645e9a76a" providerId="ADAL" clId="{750E9A50-ACEA-48D3-B2C6-355D5EC56876}" dt="2024-06-13T13:48:29.261" v="6954"/>
          <ac:spMkLst>
            <pc:docMk/>
            <pc:sldMk cId="0" sldId="329"/>
            <ac:spMk id="5898" creationId="{C0CE6CEA-416D-B950-9BE0-414D140BFBD2}"/>
          </ac:spMkLst>
        </pc:spChg>
        <pc:spChg chg="mod">
          <ac:chgData name="Deimonmi Nongrum [Chillibreeze]" userId="e937f645-8c95-42a9-a298-dfd645e9a76a" providerId="ADAL" clId="{750E9A50-ACEA-48D3-B2C6-355D5EC56876}" dt="2024-06-13T13:48:29.261" v="6954"/>
          <ac:spMkLst>
            <pc:docMk/>
            <pc:sldMk cId="0" sldId="329"/>
            <ac:spMk id="5899" creationId="{FDF1A89C-96A9-03FA-E280-E690E223FEE0}"/>
          </ac:spMkLst>
        </pc:spChg>
        <pc:spChg chg="mod">
          <ac:chgData name="Deimonmi Nongrum [Chillibreeze]" userId="e937f645-8c95-42a9-a298-dfd645e9a76a" providerId="ADAL" clId="{750E9A50-ACEA-48D3-B2C6-355D5EC56876}" dt="2024-06-13T13:48:29.261" v="6954"/>
          <ac:spMkLst>
            <pc:docMk/>
            <pc:sldMk cId="0" sldId="329"/>
            <ac:spMk id="5900" creationId="{A0622FB7-A167-68A5-1ECB-E7D216127E8F}"/>
          </ac:spMkLst>
        </pc:spChg>
        <pc:spChg chg="mod">
          <ac:chgData name="Deimonmi Nongrum [Chillibreeze]" userId="e937f645-8c95-42a9-a298-dfd645e9a76a" providerId="ADAL" clId="{750E9A50-ACEA-48D3-B2C6-355D5EC56876}" dt="2024-06-13T13:48:29.261" v="6954"/>
          <ac:spMkLst>
            <pc:docMk/>
            <pc:sldMk cId="0" sldId="329"/>
            <ac:spMk id="5901" creationId="{E346F620-7C23-5034-C00E-AF5AA1E1081F}"/>
          </ac:spMkLst>
        </pc:spChg>
        <pc:spChg chg="mod">
          <ac:chgData name="Deimonmi Nongrum [Chillibreeze]" userId="e937f645-8c95-42a9-a298-dfd645e9a76a" providerId="ADAL" clId="{750E9A50-ACEA-48D3-B2C6-355D5EC56876}" dt="2024-06-13T13:48:29.261" v="6954"/>
          <ac:spMkLst>
            <pc:docMk/>
            <pc:sldMk cId="0" sldId="329"/>
            <ac:spMk id="5902" creationId="{A46C3AF6-3393-BFF9-8721-96CD4A84DCCE}"/>
          </ac:spMkLst>
        </pc:spChg>
        <pc:spChg chg="mod">
          <ac:chgData name="Deimonmi Nongrum [Chillibreeze]" userId="e937f645-8c95-42a9-a298-dfd645e9a76a" providerId="ADAL" clId="{750E9A50-ACEA-48D3-B2C6-355D5EC56876}" dt="2024-06-13T13:48:29.261" v="6954"/>
          <ac:spMkLst>
            <pc:docMk/>
            <pc:sldMk cId="0" sldId="329"/>
            <ac:spMk id="5903" creationId="{57396743-8C76-B259-045B-2C64EB0C151A}"/>
          </ac:spMkLst>
        </pc:spChg>
        <pc:spChg chg="mod">
          <ac:chgData name="Deimonmi Nongrum [Chillibreeze]" userId="e937f645-8c95-42a9-a298-dfd645e9a76a" providerId="ADAL" clId="{750E9A50-ACEA-48D3-B2C6-355D5EC56876}" dt="2024-06-13T13:48:29.261" v="6954"/>
          <ac:spMkLst>
            <pc:docMk/>
            <pc:sldMk cId="0" sldId="329"/>
            <ac:spMk id="5904" creationId="{7A747FDC-20FC-2FAA-57BB-5C4DFEA22C16}"/>
          </ac:spMkLst>
        </pc:spChg>
        <pc:spChg chg="mod">
          <ac:chgData name="Deimonmi Nongrum [Chillibreeze]" userId="e937f645-8c95-42a9-a298-dfd645e9a76a" providerId="ADAL" clId="{750E9A50-ACEA-48D3-B2C6-355D5EC56876}" dt="2024-06-13T13:48:29.261" v="6954"/>
          <ac:spMkLst>
            <pc:docMk/>
            <pc:sldMk cId="0" sldId="329"/>
            <ac:spMk id="5905" creationId="{1DE9C7AC-811F-5513-B786-FB0F1D46C4BD}"/>
          </ac:spMkLst>
        </pc:spChg>
        <pc:spChg chg="mod">
          <ac:chgData name="Deimonmi Nongrum [Chillibreeze]" userId="e937f645-8c95-42a9-a298-dfd645e9a76a" providerId="ADAL" clId="{750E9A50-ACEA-48D3-B2C6-355D5EC56876}" dt="2024-06-13T13:48:29.261" v="6954"/>
          <ac:spMkLst>
            <pc:docMk/>
            <pc:sldMk cId="0" sldId="329"/>
            <ac:spMk id="5906" creationId="{255C06D7-A32A-46F5-E65D-47B7BE3E4416}"/>
          </ac:spMkLst>
        </pc:spChg>
        <pc:spChg chg="mod">
          <ac:chgData name="Deimonmi Nongrum [Chillibreeze]" userId="e937f645-8c95-42a9-a298-dfd645e9a76a" providerId="ADAL" clId="{750E9A50-ACEA-48D3-B2C6-355D5EC56876}" dt="2024-06-13T13:48:29.261" v="6954"/>
          <ac:spMkLst>
            <pc:docMk/>
            <pc:sldMk cId="0" sldId="329"/>
            <ac:spMk id="5907" creationId="{D08E2653-51E5-319E-E65B-00239205E5B3}"/>
          </ac:spMkLst>
        </pc:spChg>
        <pc:spChg chg="mod">
          <ac:chgData name="Deimonmi Nongrum [Chillibreeze]" userId="e937f645-8c95-42a9-a298-dfd645e9a76a" providerId="ADAL" clId="{750E9A50-ACEA-48D3-B2C6-355D5EC56876}" dt="2024-06-13T13:48:29.261" v="6954"/>
          <ac:spMkLst>
            <pc:docMk/>
            <pc:sldMk cId="0" sldId="329"/>
            <ac:spMk id="5908" creationId="{72E590D0-DC0D-3E1C-F57D-9B94D7DCDCEC}"/>
          </ac:spMkLst>
        </pc:spChg>
        <pc:spChg chg="mod">
          <ac:chgData name="Deimonmi Nongrum [Chillibreeze]" userId="e937f645-8c95-42a9-a298-dfd645e9a76a" providerId="ADAL" clId="{750E9A50-ACEA-48D3-B2C6-355D5EC56876}" dt="2024-06-13T13:48:29.261" v="6954"/>
          <ac:spMkLst>
            <pc:docMk/>
            <pc:sldMk cId="0" sldId="329"/>
            <ac:spMk id="5909" creationId="{73EDA7B7-A37E-5631-69EC-1DFE3E752E5D}"/>
          </ac:spMkLst>
        </pc:spChg>
        <pc:spChg chg="mod">
          <ac:chgData name="Deimonmi Nongrum [Chillibreeze]" userId="e937f645-8c95-42a9-a298-dfd645e9a76a" providerId="ADAL" clId="{750E9A50-ACEA-48D3-B2C6-355D5EC56876}" dt="2024-06-13T13:48:29.261" v="6954"/>
          <ac:spMkLst>
            <pc:docMk/>
            <pc:sldMk cId="0" sldId="329"/>
            <ac:spMk id="5910" creationId="{07370F30-2917-CB22-AB3F-3C15B37E8D28}"/>
          </ac:spMkLst>
        </pc:spChg>
        <pc:spChg chg="mod">
          <ac:chgData name="Deimonmi Nongrum [Chillibreeze]" userId="e937f645-8c95-42a9-a298-dfd645e9a76a" providerId="ADAL" clId="{750E9A50-ACEA-48D3-B2C6-355D5EC56876}" dt="2024-06-13T13:48:29.261" v="6954"/>
          <ac:spMkLst>
            <pc:docMk/>
            <pc:sldMk cId="0" sldId="329"/>
            <ac:spMk id="5911" creationId="{00C9E9F4-3896-DCAD-EC33-FA45C5E793F5}"/>
          </ac:spMkLst>
        </pc:spChg>
        <pc:spChg chg="mod">
          <ac:chgData name="Deimonmi Nongrum [Chillibreeze]" userId="e937f645-8c95-42a9-a298-dfd645e9a76a" providerId="ADAL" clId="{750E9A50-ACEA-48D3-B2C6-355D5EC56876}" dt="2024-06-13T13:48:29.261" v="6954"/>
          <ac:spMkLst>
            <pc:docMk/>
            <pc:sldMk cId="0" sldId="329"/>
            <ac:spMk id="5912" creationId="{66ADFA70-6476-CF28-37DB-AFFF0A17537F}"/>
          </ac:spMkLst>
        </pc:spChg>
        <pc:spChg chg="mod">
          <ac:chgData name="Deimonmi Nongrum [Chillibreeze]" userId="e937f645-8c95-42a9-a298-dfd645e9a76a" providerId="ADAL" clId="{750E9A50-ACEA-48D3-B2C6-355D5EC56876}" dt="2024-06-13T13:48:18.128" v="6916"/>
          <ac:spMkLst>
            <pc:docMk/>
            <pc:sldMk cId="0" sldId="329"/>
            <ac:spMk id="5917" creationId="{5AC079C1-A467-EE79-2AA4-AE643B15C679}"/>
          </ac:spMkLst>
        </pc:spChg>
        <pc:spChg chg="mod">
          <ac:chgData name="Deimonmi Nongrum [Chillibreeze]" userId="e937f645-8c95-42a9-a298-dfd645e9a76a" providerId="ADAL" clId="{750E9A50-ACEA-48D3-B2C6-355D5EC56876}" dt="2024-06-13T13:48:18.128" v="6916"/>
          <ac:spMkLst>
            <pc:docMk/>
            <pc:sldMk cId="0" sldId="329"/>
            <ac:spMk id="5918" creationId="{3F853DE4-BF91-5108-12D3-DC78B2F7F84A}"/>
          </ac:spMkLst>
        </pc:spChg>
        <pc:spChg chg="mod">
          <ac:chgData name="Deimonmi Nongrum [Chillibreeze]" userId="e937f645-8c95-42a9-a298-dfd645e9a76a" providerId="ADAL" clId="{750E9A50-ACEA-48D3-B2C6-355D5EC56876}" dt="2024-06-13T13:48:18.128" v="6916"/>
          <ac:spMkLst>
            <pc:docMk/>
            <pc:sldMk cId="0" sldId="329"/>
            <ac:spMk id="5919" creationId="{05B5BBDF-755C-11D0-94C7-E2B5247E3571}"/>
          </ac:spMkLst>
        </pc:spChg>
        <pc:spChg chg="mod">
          <ac:chgData name="Deimonmi Nongrum [Chillibreeze]" userId="e937f645-8c95-42a9-a298-dfd645e9a76a" providerId="ADAL" clId="{750E9A50-ACEA-48D3-B2C6-355D5EC56876}" dt="2024-06-13T13:48:18.128" v="6916"/>
          <ac:spMkLst>
            <pc:docMk/>
            <pc:sldMk cId="0" sldId="329"/>
            <ac:spMk id="5920" creationId="{4AE4C860-AACE-227A-B686-08B083461636}"/>
          </ac:spMkLst>
        </pc:spChg>
        <pc:spChg chg="mod">
          <ac:chgData name="Deimonmi Nongrum [Chillibreeze]" userId="e937f645-8c95-42a9-a298-dfd645e9a76a" providerId="ADAL" clId="{750E9A50-ACEA-48D3-B2C6-355D5EC56876}" dt="2024-06-13T13:48:18.128" v="6916"/>
          <ac:spMkLst>
            <pc:docMk/>
            <pc:sldMk cId="0" sldId="329"/>
            <ac:spMk id="5921" creationId="{B1819AF7-0B0E-A2C0-8401-B08D03485F8B}"/>
          </ac:spMkLst>
        </pc:spChg>
        <pc:spChg chg="mod">
          <ac:chgData name="Deimonmi Nongrum [Chillibreeze]" userId="e937f645-8c95-42a9-a298-dfd645e9a76a" providerId="ADAL" clId="{750E9A50-ACEA-48D3-B2C6-355D5EC56876}" dt="2024-06-13T13:48:18.128" v="6916"/>
          <ac:spMkLst>
            <pc:docMk/>
            <pc:sldMk cId="0" sldId="329"/>
            <ac:spMk id="5922" creationId="{26693115-8CDE-E174-A857-673B8FC23ECE}"/>
          </ac:spMkLst>
        </pc:spChg>
        <pc:spChg chg="mod">
          <ac:chgData name="Deimonmi Nongrum [Chillibreeze]" userId="e937f645-8c95-42a9-a298-dfd645e9a76a" providerId="ADAL" clId="{750E9A50-ACEA-48D3-B2C6-355D5EC56876}" dt="2024-06-13T13:48:18.128" v="6916"/>
          <ac:spMkLst>
            <pc:docMk/>
            <pc:sldMk cId="0" sldId="329"/>
            <ac:spMk id="5923" creationId="{F0534429-A553-509A-F8DA-5D06F5C3088E}"/>
          </ac:spMkLst>
        </pc:spChg>
        <pc:spChg chg="mod">
          <ac:chgData name="Deimonmi Nongrum [Chillibreeze]" userId="e937f645-8c95-42a9-a298-dfd645e9a76a" providerId="ADAL" clId="{750E9A50-ACEA-48D3-B2C6-355D5EC56876}" dt="2024-06-13T13:48:18.128" v="6916"/>
          <ac:spMkLst>
            <pc:docMk/>
            <pc:sldMk cId="0" sldId="329"/>
            <ac:spMk id="5924" creationId="{801B7923-5981-D7F0-DAD1-9363DF63F8C2}"/>
          </ac:spMkLst>
        </pc:spChg>
        <pc:spChg chg="mod">
          <ac:chgData name="Deimonmi Nongrum [Chillibreeze]" userId="e937f645-8c95-42a9-a298-dfd645e9a76a" providerId="ADAL" clId="{750E9A50-ACEA-48D3-B2C6-355D5EC56876}" dt="2024-06-13T13:48:18.128" v="6916"/>
          <ac:spMkLst>
            <pc:docMk/>
            <pc:sldMk cId="0" sldId="329"/>
            <ac:spMk id="5925" creationId="{0484427C-1A22-96D1-2DEF-9975CEDA91BE}"/>
          </ac:spMkLst>
        </pc:spChg>
        <pc:spChg chg="mod">
          <ac:chgData name="Deimonmi Nongrum [Chillibreeze]" userId="e937f645-8c95-42a9-a298-dfd645e9a76a" providerId="ADAL" clId="{750E9A50-ACEA-48D3-B2C6-355D5EC56876}" dt="2024-06-13T13:48:18.128" v="6916"/>
          <ac:spMkLst>
            <pc:docMk/>
            <pc:sldMk cId="0" sldId="329"/>
            <ac:spMk id="5926" creationId="{CFF47906-9899-AA5E-06DF-41F344A879B6}"/>
          </ac:spMkLst>
        </pc:spChg>
        <pc:spChg chg="mod">
          <ac:chgData name="Deimonmi Nongrum [Chillibreeze]" userId="e937f645-8c95-42a9-a298-dfd645e9a76a" providerId="ADAL" clId="{750E9A50-ACEA-48D3-B2C6-355D5EC56876}" dt="2024-06-13T13:48:18.128" v="6916"/>
          <ac:spMkLst>
            <pc:docMk/>
            <pc:sldMk cId="0" sldId="329"/>
            <ac:spMk id="5927" creationId="{7DA116BC-864E-2741-7FB3-0E8F0C2F0BED}"/>
          </ac:spMkLst>
        </pc:spChg>
        <pc:spChg chg="mod">
          <ac:chgData name="Deimonmi Nongrum [Chillibreeze]" userId="e937f645-8c95-42a9-a298-dfd645e9a76a" providerId="ADAL" clId="{750E9A50-ACEA-48D3-B2C6-355D5EC56876}" dt="2024-06-13T13:48:18.128" v="6916"/>
          <ac:spMkLst>
            <pc:docMk/>
            <pc:sldMk cId="0" sldId="329"/>
            <ac:spMk id="5928" creationId="{0DEBCC4A-4C5B-307A-9C82-6CC9C826DF15}"/>
          </ac:spMkLst>
        </pc:spChg>
        <pc:spChg chg="mod">
          <ac:chgData name="Deimonmi Nongrum [Chillibreeze]" userId="e937f645-8c95-42a9-a298-dfd645e9a76a" providerId="ADAL" clId="{750E9A50-ACEA-48D3-B2C6-355D5EC56876}" dt="2024-06-13T13:48:18.128" v="6916"/>
          <ac:spMkLst>
            <pc:docMk/>
            <pc:sldMk cId="0" sldId="329"/>
            <ac:spMk id="5929" creationId="{9449503C-85A5-55E3-82B0-BFA2A75DE139}"/>
          </ac:spMkLst>
        </pc:spChg>
        <pc:spChg chg="mod">
          <ac:chgData name="Deimonmi Nongrum [Chillibreeze]" userId="e937f645-8c95-42a9-a298-dfd645e9a76a" providerId="ADAL" clId="{750E9A50-ACEA-48D3-B2C6-355D5EC56876}" dt="2024-06-13T13:48:18.128" v="6916"/>
          <ac:spMkLst>
            <pc:docMk/>
            <pc:sldMk cId="0" sldId="329"/>
            <ac:spMk id="5930" creationId="{078959E9-5A5E-5A18-3754-FE309220C52E}"/>
          </ac:spMkLst>
        </pc:spChg>
        <pc:spChg chg="mod">
          <ac:chgData name="Deimonmi Nongrum [Chillibreeze]" userId="e937f645-8c95-42a9-a298-dfd645e9a76a" providerId="ADAL" clId="{750E9A50-ACEA-48D3-B2C6-355D5EC56876}" dt="2024-06-13T13:48:18.128" v="6916"/>
          <ac:spMkLst>
            <pc:docMk/>
            <pc:sldMk cId="0" sldId="329"/>
            <ac:spMk id="5931" creationId="{60D69D01-9ECC-45F4-8382-430CDEB498B4}"/>
          </ac:spMkLst>
        </pc:spChg>
        <pc:spChg chg="mod">
          <ac:chgData name="Deimonmi Nongrum [Chillibreeze]" userId="e937f645-8c95-42a9-a298-dfd645e9a76a" providerId="ADAL" clId="{750E9A50-ACEA-48D3-B2C6-355D5EC56876}" dt="2024-06-13T13:49:05.526" v="7011"/>
          <ac:spMkLst>
            <pc:docMk/>
            <pc:sldMk cId="0" sldId="329"/>
            <ac:spMk id="5935" creationId="{3A689974-237E-4628-A8EE-11011228BE12}"/>
          </ac:spMkLst>
        </pc:spChg>
        <pc:spChg chg="mod">
          <ac:chgData name="Deimonmi Nongrum [Chillibreeze]" userId="e937f645-8c95-42a9-a298-dfd645e9a76a" providerId="ADAL" clId="{750E9A50-ACEA-48D3-B2C6-355D5EC56876}" dt="2024-06-13T13:49:05.526" v="7011"/>
          <ac:spMkLst>
            <pc:docMk/>
            <pc:sldMk cId="0" sldId="329"/>
            <ac:spMk id="5936" creationId="{5326C140-C67B-4AA6-4247-CA05B3212924}"/>
          </ac:spMkLst>
        </pc:spChg>
        <pc:spChg chg="mod">
          <ac:chgData name="Deimonmi Nongrum [Chillibreeze]" userId="e937f645-8c95-42a9-a298-dfd645e9a76a" providerId="ADAL" clId="{750E9A50-ACEA-48D3-B2C6-355D5EC56876}" dt="2024-06-13T13:49:05.526" v="7011"/>
          <ac:spMkLst>
            <pc:docMk/>
            <pc:sldMk cId="0" sldId="329"/>
            <ac:spMk id="5937" creationId="{0BFEADBF-8759-8515-A008-EED2758B2651}"/>
          </ac:spMkLst>
        </pc:spChg>
        <pc:spChg chg="mod">
          <ac:chgData name="Deimonmi Nongrum [Chillibreeze]" userId="e937f645-8c95-42a9-a298-dfd645e9a76a" providerId="ADAL" clId="{750E9A50-ACEA-48D3-B2C6-355D5EC56876}" dt="2024-06-13T13:49:05.526" v="7011"/>
          <ac:spMkLst>
            <pc:docMk/>
            <pc:sldMk cId="0" sldId="329"/>
            <ac:spMk id="5938" creationId="{4402DA97-0D06-790B-DE4A-0F77BF1C1D71}"/>
          </ac:spMkLst>
        </pc:spChg>
        <pc:spChg chg="mod">
          <ac:chgData name="Deimonmi Nongrum [Chillibreeze]" userId="e937f645-8c95-42a9-a298-dfd645e9a76a" providerId="ADAL" clId="{750E9A50-ACEA-48D3-B2C6-355D5EC56876}" dt="2024-06-13T13:49:05.526" v="7011"/>
          <ac:spMkLst>
            <pc:docMk/>
            <pc:sldMk cId="0" sldId="329"/>
            <ac:spMk id="5939" creationId="{E6FC56AA-6C53-130E-C5D6-C1E5EC70D02D}"/>
          </ac:spMkLst>
        </pc:spChg>
        <pc:spChg chg="mod">
          <ac:chgData name="Deimonmi Nongrum [Chillibreeze]" userId="e937f645-8c95-42a9-a298-dfd645e9a76a" providerId="ADAL" clId="{750E9A50-ACEA-48D3-B2C6-355D5EC56876}" dt="2024-06-13T13:49:05.526" v="7011"/>
          <ac:spMkLst>
            <pc:docMk/>
            <pc:sldMk cId="0" sldId="329"/>
            <ac:spMk id="5941" creationId="{3594397C-E286-F442-D72A-DFF880A90A01}"/>
          </ac:spMkLst>
        </pc:spChg>
        <pc:spChg chg="mod">
          <ac:chgData name="Deimonmi Nongrum [Chillibreeze]" userId="e937f645-8c95-42a9-a298-dfd645e9a76a" providerId="ADAL" clId="{750E9A50-ACEA-48D3-B2C6-355D5EC56876}" dt="2024-06-13T13:49:05.526" v="7011"/>
          <ac:spMkLst>
            <pc:docMk/>
            <pc:sldMk cId="0" sldId="329"/>
            <ac:spMk id="5942" creationId="{CCBBD4E3-121D-98EE-2607-96A4DCF635C4}"/>
          </ac:spMkLst>
        </pc:spChg>
        <pc:spChg chg="mod">
          <ac:chgData name="Deimonmi Nongrum [Chillibreeze]" userId="e937f645-8c95-42a9-a298-dfd645e9a76a" providerId="ADAL" clId="{750E9A50-ACEA-48D3-B2C6-355D5EC56876}" dt="2024-06-13T13:49:05.526" v="7011"/>
          <ac:spMkLst>
            <pc:docMk/>
            <pc:sldMk cId="0" sldId="329"/>
            <ac:spMk id="5943" creationId="{1994F9A6-AA46-3210-8F8C-8BDB3B6B5C57}"/>
          </ac:spMkLst>
        </pc:spChg>
        <pc:spChg chg="mod">
          <ac:chgData name="Deimonmi Nongrum [Chillibreeze]" userId="e937f645-8c95-42a9-a298-dfd645e9a76a" providerId="ADAL" clId="{750E9A50-ACEA-48D3-B2C6-355D5EC56876}" dt="2024-06-13T13:49:05.526" v="7011"/>
          <ac:spMkLst>
            <pc:docMk/>
            <pc:sldMk cId="0" sldId="329"/>
            <ac:spMk id="5944" creationId="{53662AC1-5395-8F3C-1CCB-50088F0C9576}"/>
          </ac:spMkLst>
        </pc:spChg>
        <pc:spChg chg="mod">
          <ac:chgData name="Deimonmi Nongrum [Chillibreeze]" userId="e937f645-8c95-42a9-a298-dfd645e9a76a" providerId="ADAL" clId="{750E9A50-ACEA-48D3-B2C6-355D5EC56876}" dt="2024-06-13T13:49:05.526" v="7011"/>
          <ac:spMkLst>
            <pc:docMk/>
            <pc:sldMk cId="0" sldId="329"/>
            <ac:spMk id="5945" creationId="{58E9B64D-DC12-DDB9-8BAC-00FA5CB3A230}"/>
          </ac:spMkLst>
        </pc:spChg>
        <pc:spChg chg="mod">
          <ac:chgData name="Deimonmi Nongrum [Chillibreeze]" userId="e937f645-8c95-42a9-a298-dfd645e9a76a" providerId="ADAL" clId="{750E9A50-ACEA-48D3-B2C6-355D5EC56876}" dt="2024-06-13T13:49:05.526" v="7011"/>
          <ac:spMkLst>
            <pc:docMk/>
            <pc:sldMk cId="0" sldId="329"/>
            <ac:spMk id="5947" creationId="{33857C96-AE93-A6D3-A7A6-4881065A6DD4}"/>
          </ac:spMkLst>
        </pc:spChg>
        <pc:spChg chg="mod">
          <ac:chgData name="Deimonmi Nongrum [Chillibreeze]" userId="e937f645-8c95-42a9-a298-dfd645e9a76a" providerId="ADAL" clId="{750E9A50-ACEA-48D3-B2C6-355D5EC56876}" dt="2024-06-13T13:49:05.526" v="7011"/>
          <ac:spMkLst>
            <pc:docMk/>
            <pc:sldMk cId="0" sldId="329"/>
            <ac:spMk id="5948" creationId="{C6DA03F7-ACF6-F5D6-0BD0-B3CEF67D5DF0}"/>
          </ac:spMkLst>
        </pc:spChg>
        <pc:spChg chg="mod">
          <ac:chgData name="Deimonmi Nongrum [Chillibreeze]" userId="e937f645-8c95-42a9-a298-dfd645e9a76a" providerId="ADAL" clId="{750E9A50-ACEA-48D3-B2C6-355D5EC56876}" dt="2024-06-13T13:49:05.526" v="7011"/>
          <ac:spMkLst>
            <pc:docMk/>
            <pc:sldMk cId="0" sldId="329"/>
            <ac:spMk id="5949" creationId="{3D847666-EB90-FEE5-78C7-E72BD0275ECE}"/>
          </ac:spMkLst>
        </pc:spChg>
        <pc:spChg chg="mod">
          <ac:chgData name="Deimonmi Nongrum [Chillibreeze]" userId="e937f645-8c95-42a9-a298-dfd645e9a76a" providerId="ADAL" clId="{750E9A50-ACEA-48D3-B2C6-355D5EC56876}" dt="2024-06-13T13:49:05.526" v="7011"/>
          <ac:spMkLst>
            <pc:docMk/>
            <pc:sldMk cId="0" sldId="329"/>
            <ac:spMk id="5950" creationId="{A057B7A0-F0FE-D074-0096-244FCD5E9A69}"/>
          </ac:spMkLst>
        </pc:spChg>
        <pc:spChg chg="mod">
          <ac:chgData name="Deimonmi Nongrum [Chillibreeze]" userId="e937f645-8c95-42a9-a298-dfd645e9a76a" providerId="ADAL" clId="{750E9A50-ACEA-48D3-B2C6-355D5EC56876}" dt="2024-06-13T13:49:05.526" v="7011"/>
          <ac:spMkLst>
            <pc:docMk/>
            <pc:sldMk cId="0" sldId="329"/>
            <ac:spMk id="5951" creationId="{553B6ECF-215F-05DC-2BC9-814EB7143FFF}"/>
          </ac:spMkLst>
        </pc:spChg>
        <pc:grpChg chg="del mod ord">
          <ac:chgData name="Deimonmi Nongrum [Chillibreeze]" userId="e937f645-8c95-42a9-a298-dfd645e9a76a" providerId="ADAL" clId="{750E9A50-ACEA-48D3-B2C6-355D5EC56876}" dt="2024-06-13T13:47:46.120" v="6694" actId="478"/>
          <ac:grpSpMkLst>
            <pc:docMk/>
            <pc:sldMk cId="0" sldId="329"/>
            <ac:grpSpMk id="2" creationId="{24C0C441-5383-ABA5-7CB4-D28BF800A6D1}"/>
          </ac:grpSpMkLst>
        </pc:grpChg>
        <pc:grpChg chg="add mod ord">
          <ac:chgData name="Deimonmi Nongrum [Chillibreeze]" userId="e937f645-8c95-42a9-a298-dfd645e9a76a" providerId="ADAL" clId="{750E9A50-ACEA-48D3-B2C6-355D5EC56876}" dt="2024-06-13T13:48:07.190" v="6892" actId="164"/>
          <ac:grpSpMkLst>
            <pc:docMk/>
            <pc:sldMk cId="0" sldId="329"/>
            <ac:grpSpMk id="6" creationId="{B12DDB23-1524-B41A-3324-215A1EC64601}"/>
          </ac:grpSpMkLst>
        </pc:grpChg>
        <pc:grpChg chg="del mod ord">
          <ac:chgData name="Deimonmi Nongrum [Chillibreeze]" userId="e937f645-8c95-42a9-a298-dfd645e9a76a" providerId="ADAL" clId="{750E9A50-ACEA-48D3-B2C6-355D5EC56876}" dt="2024-06-13T13:49:28.114" v="7225" actId="478"/>
          <ac:grpSpMkLst>
            <pc:docMk/>
            <pc:sldMk cId="0" sldId="329"/>
            <ac:grpSpMk id="9" creationId="{4A06A94A-5A86-3C59-2BB9-4558E8E75B57}"/>
          </ac:grpSpMkLst>
        </pc:grpChg>
        <pc:grpChg chg="del mod ord">
          <ac:chgData name="Deimonmi Nongrum [Chillibreeze]" userId="e937f645-8c95-42a9-a298-dfd645e9a76a" providerId="ADAL" clId="{750E9A50-ACEA-48D3-B2C6-355D5EC56876}" dt="2024-06-13T13:49:28.114" v="7225" actId="478"/>
          <ac:grpSpMkLst>
            <pc:docMk/>
            <pc:sldMk cId="0" sldId="329"/>
            <ac:grpSpMk id="15" creationId="{2408F1D0-B6EF-2391-D748-C1E8B9395CE4}"/>
          </ac:grpSpMkLst>
        </pc:grpChg>
        <pc:grpChg chg="del mod ord">
          <ac:chgData name="Deimonmi Nongrum [Chillibreeze]" userId="e937f645-8c95-42a9-a298-dfd645e9a76a" providerId="ADAL" clId="{750E9A50-ACEA-48D3-B2C6-355D5EC56876}" dt="2024-06-13T13:49:28.114" v="7225" actId="478"/>
          <ac:grpSpMkLst>
            <pc:docMk/>
            <pc:sldMk cId="0" sldId="329"/>
            <ac:grpSpMk id="22" creationId="{F12BF5B6-221E-3E2A-2671-4B0828FDF2CF}"/>
          </ac:grpSpMkLst>
        </pc:grpChg>
        <pc:grpChg chg="mod topLvl">
          <ac:chgData name="Deimonmi Nongrum [Chillibreeze]" userId="e937f645-8c95-42a9-a298-dfd645e9a76a" providerId="ADAL" clId="{750E9A50-ACEA-48D3-B2C6-355D5EC56876}" dt="2024-06-13T13:49:05.523" v="7007"/>
          <ac:grpSpMkLst>
            <pc:docMk/>
            <pc:sldMk cId="0" sldId="329"/>
            <ac:grpSpMk id="29" creationId="{E973BEF4-E0A7-9F32-53B2-1C59106F214E}"/>
          </ac:grpSpMkLst>
        </pc:grpChg>
        <pc:grpChg chg="del mod ord">
          <ac:chgData name="Deimonmi Nongrum [Chillibreeze]" userId="e937f645-8c95-42a9-a298-dfd645e9a76a" providerId="ADAL" clId="{750E9A50-ACEA-48D3-B2C6-355D5EC56876}" dt="2024-06-13T11:34:38.409" v="3663" actId="478"/>
          <ac:grpSpMkLst>
            <pc:docMk/>
            <pc:sldMk cId="0" sldId="329"/>
            <ac:grpSpMk id="32" creationId="{171C92AC-5283-0DB3-6A17-CA291D48C119}"/>
          </ac:grpSpMkLst>
        </pc:grpChg>
        <pc:grpChg chg="mod topLvl">
          <ac:chgData name="Deimonmi Nongrum [Chillibreeze]" userId="e937f645-8c95-42a9-a298-dfd645e9a76a" providerId="ADAL" clId="{750E9A50-ACEA-48D3-B2C6-355D5EC56876}" dt="2024-06-13T13:49:05.523" v="7007"/>
          <ac:grpSpMkLst>
            <pc:docMk/>
            <pc:sldMk cId="0" sldId="329"/>
            <ac:grpSpMk id="38" creationId="{682F0583-14BA-B1F2-6B33-C1850350D042}"/>
          </ac:grpSpMkLst>
        </pc:grpChg>
        <pc:grpChg chg="del mod ord">
          <ac:chgData name="Deimonmi Nongrum [Chillibreeze]" userId="e937f645-8c95-42a9-a298-dfd645e9a76a" providerId="ADAL" clId="{750E9A50-ACEA-48D3-B2C6-355D5EC56876}" dt="2024-06-13T13:46:41.754" v="6452" actId="165"/>
          <ac:grpSpMkLst>
            <pc:docMk/>
            <pc:sldMk cId="0" sldId="329"/>
            <ac:grpSpMk id="44" creationId="{B41CAD3F-8566-3976-4D92-B3126607507E}"/>
          </ac:grpSpMkLst>
        </pc:grpChg>
        <pc:grpChg chg="del mod ord">
          <ac:chgData name="Deimonmi Nongrum [Chillibreeze]" userId="e937f645-8c95-42a9-a298-dfd645e9a76a" providerId="ADAL" clId="{750E9A50-ACEA-48D3-B2C6-355D5EC56876}" dt="2024-06-13T13:46:41.754" v="6452" actId="165"/>
          <ac:grpSpMkLst>
            <pc:docMk/>
            <pc:sldMk cId="0" sldId="329"/>
            <ac:grpSpMk id="45" creationId="{A96A6F2F-07B8-A9D2-EDE5-275761E17B8A}"/>
          </ac:grpSpMkLst>
        </pc:grpChg>
        <pc:grpChg chg="mod ord">
          <ac:chgData name="Deimonmi Nongrum [Chillibreeze]" userId="e937f645-8c95-42a9-a298-dfd645e9a76a" providerId="ADAL" clId="{750E9A50-ACEA-48D3-B2C6-355D5EC56876}" dt="2024-06-13T13:49:46.359" v="7232" actId="167"/>
          <ac:grpSpMkLst>
            <pc:docMk/>
            <pc:sldMk cId="0" sldId="329"/>
            <ac:grpSpMk id="48" creationId="{D9341751-63E6-834D-FF26-E53B46E23685}"/>
          </ac:grpSpMkLst>
        </pc:grpChg>
        <pc:grpChg chg="mod ord">
          <ac:chgData name="Deimonmi Nongrum [Chillibreeze]" userId="e937f645-8c95-42a9-a298-dfd645e9a76a" providerId="ADAL" clId="{750E9A50-ACEA-48D3-B2C6-355D5EC56876}" dt="2024-06-13T13:49:46.359" v="7232" actId="167"/>
          <ac:grpSpMkLst>
            <pc:docMk/>
            <pc:sldMk cId="0" sldId="329"/>
            <ac:grpSpMk id="49" creationId="{F3C13E9F-ED28-79C8-55AF-8C3D17424A44}"/>
          </ac:grpSpMkLst>
        </pc:grpChg>
        <pc:grpChg chg="mod ord">
          <ac:chgData name="Deimonmi Nongrum [Chillibreeze]" userId="e937f645-8c95-42a9-a298-dfd645e9a76a" providerId="ADAL" clId="{750E9A50-ACEA-48D3-B2C6-355D5EC56876}" dt="2024-06-13T13:49:46.359" v="7232" actId="167"/>
          <ac:grpSpMkLst>
            <pc:docMk/>
            <pc:sldMk cId="0" sldId="329"/>
            <ac:grpSpMk id="52" creationId="{200B9DC2-07B1-D779-D6D9-EC590B3852EA}"/>
          </ac:grpSpMkLst>
        </pc:grpChg>
        <pc:grpChg chg="mod topLvl">
          <ac:chgData name="Deimonmi Nongrum [Chillibreeze]" userId="e937f645-8c95-42a9-a298-dfd645e9a76a" providerId="ADAL" clId="{750E9A50-ACEA-48D3-B2C6-355D5EC56876}" dt="2024-06-13T13:49:05.523" v="7007"/>
          <ac:grpSpMkLst>
            <pc:docMk/>
            <pc:sldMk cId="0" sldId="329"/>
            <ac:grpSpMk id="55" creationId="{8268E7F8-BA83-3B86-C859-BD91F3C52EAD}"/>
          </ac:grpSpMkLst>
        </pc:grpChg>
        <pc:grpChg chg="mod topLvl">
          <ac:chgData name="Deimonmi Nongrum [Chillibreeze]" userId="e937f645-8c95-42a9-a298-dfd645e9a76a" providerId="ADAL" clId="{750E9A50-ACEA-48D3-B2C6-355D5EC56876}" dt="2024-06-13T13:49:05.523" v="7007"/>
          <ac:grpSpMkLst>
            <pc:docMk/>
            <pc:sldMk cId="0" sldId="329"/>
            <ac:grpSpMk id="56" creationId="{6EE34B6C-EE4A-AD8E-265D-1D100A76C6BB}"/>
          </ac:grpSpMkLst>
        </pc:grpChg>
        <pc:grpChg chg="mod topLvl">
          <ac:chgData name="Deimonmi Nongrum [Chillibreeze]" userId="e937f645-8c95-42a9-a298-dfd645e9a76a" providerId="ADAL" clId="{750E9A50-ACEA-48D3-B2C6-355D5EC56876}" dt="2024-06-13T13:48:29.263" v="6962"/>
          <ac:grpSpMkLst>
            <pc:docMk/>
            <pc:sldMk cId="0" sldId="329"/>
            <ac:grpSpMk id="5440" creationId="{3D75666F-46DF-3568-F50D-C266E824F6BD}"/>
          </ac:grpSpMkLst>
        </pc:grpChg>
        <pc:grpChg chg="mod topLvl">
          <ac:chgData name="Deimonmi Nongrum [Chillibreeze]" userId="e937f645-8c95-42a9-a298-dfd645e9a76a" providerId="ADAL" clId="{750E9A50-ACEA-48D3-B2C6-355D5EC56876}" dt="2024-06-13T13:49:05.526" v="7011"/>
          <ac:grpSpMkLst>
            <pc:docMk/>
            <pc:sldMk cId="0" sldId="329"/>
            <ac:grpSpMk id="5446" creationId="{31AFE4DA-D8BA-12BF-54D2-EB70ACCD03B0}"/>
          </ac:grpSpMkLst>
        </pc:grpChg>
        <pc:grpChg chg="del mod ord">
          <ac:chgData name="Deimonmi Nongrum [Chillibreeze]" userId="e937f645-8c95-42a9-a298-dfd645e9a76a" providerId="ADAL" clId="{750E9A50-ACEA-48D3-B2C6-355D5EC56876}" dt="2024-06-13T13:46:39.676" v="6451" actId="165"/>
          <ac:grpSpMkLst>
            <pc:docMk/>
            <pc:sldMk cId="0" sldId="329"/>
            <ac:grpSpMk id="5446" creationId="{6FA2E6A4-1FEB-D03E-4D7E-DC8C7382B4E1}"/>
          </ac:grpSpMkLst>
        </pc:grpChg>
        <pc:grpChg chg="del mod ord">
          <ac:chgData name="Deimonmi Nongrum [Chillibreeze]" userId="e937f645-8c95-42a9-a298-dfd645e9a76a" providerId="ADAL" clId="{750E9A50-ACEA-48D3-B2C6-355D5EC56876}" dt="2024-06-13T13:46:39.676" v="6451" actId="165"/>
          <ac:grpSpMkLst>
            <pc:docMk/>
            <pc:sldMk cId="0" sldId="329"/>
            <ac:grpSpMk id="5447" creationId="{52C722CB-F199-C9E6-D27B-AD337AEBAE52}"/>
          </ac:grpSpMkLst>
        </pc:grpChg>
        <pc:grpChg chg="del mod topLvl">
          <ac:chgData name="Deimonmi Nongrum [Chillibreeze]" userId="e937f645-8c95-42a9-a298-dfd645e9a76a" providerId="ADAL" clId="{750E9A50-ACEA-48D3-B2C6-355D5EC56876}" dt="2024-06-13T13:48:36.573" v="6991" actId="478"/>
          <ac:grpSpMkLst>
            <pc:docMk/>
            <pc:sldMk cId="0" sldId="329"/>
            <ac:grpSpMk id="5447" creationId="{C49E3138-93EA-0FDF-553D-C5C188D65C0B}"/>
          </ac:grpSpMkLst>
        </pc:grpChg>
        <pc:grpChg chg="del mod ord topLvl">
          <ac:chgData name="Deimonmi Nongrum [Chillibreeze]" userId="e937f645-8c95-42a9-a298-dfd645e9a76a" providerId="ADAL" clId="{750E9A50-ACEA-48D3-B2C6-355D5EC56876}" dt="2024-06-13T13:48:04.907" v="6891" actId="478"/>
          <ac:grpSpMkLst>
            <pc:docMk/>
            <pc:sldMk cId="0" sldId="329"/>
            <ac:grpSpMk id="5448" creationId="{3B9379A8-D6B7-7995-3608-67A105E92559}"/>
          </ac:grpSpMkLst>
        </pc:grpChg>
        <pc:grpChg chg="del mod ord topLvl">
          <ac:chgData name="Deimonmi Nongrum [Chillibreeze]" userId="e937f645-8c95-42a9-a298-dfd645e9a76a" providerId="ADAL" clId="{750E9A50-ACEA-48D3-B2C6-355D5EC56876}" dt="2024-06-13T13:48:04.907" v="6891" actId="478"/>
          <ac:grpSpMkLst>
            <pc:docMk/>
            <pc:sldMk cId="0" sldId="329"/>
            <ac:grpSpMk id="5449" creationId="{976F9A3A-94DA-D90D-9C46-C130EEC7A600}"/>
          </ac:grpSpMkLst>
        </pc:grpChg>
        <pc:grpChg chg="del mod ord topLvl">
          <ac:chgData name="Deimonmi Nongrum [Chillibreeze]" userId="e937f645-8c95-42a9-a298-dfd645e9a76a" providerId="ADAL" clId="{750E9A50-ACEA-48D3-B2C6-355D5EC56876}" dt="2024-06-13T13:48:04.907" v="6891" actId="478"/>
          <ac:grpSpMkLst>
            <pc:docMk/>
            <pc:sldMk cId="0" sldId="329"/>
            <ac:grpSpMk id="5450" creationId="{1D15AF13-0ED7-230A-E855-2E5963809687}"/>
          </ac:grpSpMkLst>
        </pc:grpChg>
        <pc:grpChg chg="mod">
          <ac:chgData name="Deimonmi Nongrum [Chillibreeze]" userId="e937f645-8c95-42a9-a298-dfd645e9a76a" providerId="ADAL" clId="{750E9A50-ACEA-48D3-B2C6-355D5EC56876}" dt="2024-06-12T09:43:58.737" v="192" actId="1076"/>
          <ac:grpSpMkLst>
            <pc:docMk/>
            <pc:sldMk cId="0" sldId="329"/>
            <ac:grpSpMk id="5465" creationId="{00000000-0000-0000-0000-000000000000}"/>
          </ac:grpSpMkLst>
        </pc:grpChg>
        <pc:grpChg chg="del mod ord">
          <ac:chgData name="Deimonmi Nongrum [Chillibreeze]" userId="e937f645-8c95-42a9-a298-dfd645e9a76a" providerId="ADAL" clId="{750E9A50-ACEA-48D3-B2C6-355D5EC56876}" dt="2024-06-13T13:46:39.676" v="6451" actId="165"/>
          <ac:grpSpMkLst>
            <pc:docMk/>
            <pc:sldMk cId="0" sldId="329"/>
            <ac:grpSpMk id="5471" creationId="{11CA874F-2D37-22E0-2646-DC3E62EB426E}"/>
          </ac:grpSpMkLst>
        </pc:grpChg>
        <pc:grpChg chg="mod">
          <ac:chgData name="Deimonmi Nongrum [Chillibreeze]" userId="e937f645-8c95-42a9-a298-dfd645e9a76a" providerId="ADAL" clId="{750E9A50-ACEA-48D3-B2C6-355D5EC56876}" dt="2024-06-12T09:43:58.737" v="192" actId="1076"/>
          <ac:grpSpMkLst>
            <pc:docMk/>
            <pc:sldMk cId="0" sldId="329"/>
            <ac:grpSpMk id="5474" creationId="{00000000-0000-0000-0000-000000000000}"/>
          </ac:grpSpMkLst>
        </pc:grpChg>
        <pc:grpChg chg="mod topLvl">
          <ac:chgData name="Deimonmi Nongrum [Chillibreeze]" userId="e937f645-8c95-42a9-a298-dfd645e9a76a" providerId="ADAL" clId="{750E9A50-ACEA-48D3-B2C6-355D5EC56876}" dt="2024-06-13T13:48:18.125" v="6908"/>
          <ac:grpSpMkLst>
            <pc:docMk/>
            <pc:sldMk cId="0" sldId="329"/>
            <ac:grpSpMk id="5474" creationId="{F1A679ED-D18F-BBA9-6E15-634D88D996C2}"/>
          </ac:grpSpMkLst>
        </pc:grpChg>
        <pc:grpChg chg="mod topLvl">
          <ac:chgData name="Deimonmi Nongrum [Chillibreeze]" userId="e937f645-8c95-42a9-a298-dfd645e9a76a" providerId="ADAL" clId="{750E9A50-ACEA-48D3-B2C6-355D5EC56876}" dt="2024-06-13T13:48:18.125" v="6908"/>
          <ac:grpSpMkLst>
            <pc:docMk/>
            <pc:sldMk cId="0" sldId="329"/>
            <ac:grpSpMk id="5475" creationId="{9BB2DAA4-7817-0D2C-0616-BD3137D68D3A}"/>
          </ac:grpSpMkLst>
        </pc:grpChg>
        <pc:grpChg chg="mod topLvl">
          <ac:chgData name="Deimonmi Nongrum [Chillibreeze]" userId="e937f645-8c95-42a9-a298-dfd645e9a76a" providerId="ADAL" clId="{750E9A50-ACEA-48D3-B2C6-355D5EC56876}" dt="2024-06-13T13:48:18.125" v="6908"/>
          <ac:grpSpMkLst>
            <pc:docMk/>
            <pc:sldMk cId="0" sldId="329"/>
            <ac:grpSpMk id="5476" creationId="{52AD4B0E-2FAF-2FC8-28B0-681582335376}"/>
          </ac:grpSpMkLst>
        </pc:grpChg>
        <pc:grpChg chg="mod">
          <ac:chgData name="Deimonmi Nongrum [Chillibreeze]" userId="e937f645-8c95-42a9-a298-dfd645e9a76a" providerId="ADAL" clId="{750E9A50-ACEA-48D3-B2C6-355D5EC56876}" dt="2024-06-12T09:43:58.737" v="192" actId="1076"/>
          <ac:grpSpMkLst>
            <pc:docMk/>
            <pc:sldMk cId="0" sldId="329"/>
            <ac:grpSpMk id="5482" creationId="{00000000-0000-0000-0000-000000000000}"/>
          </ac:grpSpMkLst>
        </pc:grpChg>
        <pc:grpChg chg="mod">
          <ac:chgData name="Deimonmi Nongrum [Chillibreeze]" userId="e937f645-8c95-42a9-a298-dfd645e9a76a" providerId="ADAL" clId="{750E9A50-ACEA-48D3-B2C6-355D5EC56876}" dt="2024-06-12T09:43:58.737" v="192" actId="1076"/>
          <ac:grpSpMkLst>
            <pc:docMk/>
            <pc:sldMk cId="0" sldId="329"/>
            <ac:grpSpMk id="5486" creationId="{00000000-0000-0000-0000-000000000000}"/>
          </ac:grpSpMkLst>
        </pc:grpChg>
        <pc:grpChg chg="mod">
          <ac:chgData name="Deimonmi Nongrum [Chillibreeze]" userId="e937f645-8c95-42a9-a298-dfd645e9a76a" providerId="ADAL" clId="{750E9A50-ACEA-48D3-B2C6-355D5EC56876}" dt="2024-06-12T09:43:58.737" v="192" actId="1076"/>
          <ac:grpSpMkLst>
            <pc:docMk/>
            <pc:sldMk cId="0" sldId="329"/>
            <ac:grpSpMk id="5490" creationId="{00000000-0000-0000-0000-000000000000}"/>
          </ac:grpSpMkLst>
        </pc:grpChg>
        <pc:grpChg chg="del mod ord">
          <ac:chgData name="Deimonmi Nongrum [Chillibreeze]" userId="e937f645-8c95-42a9-a298-dfd645e9a76a" providerId="ADAL" clId="{750E9A50-ACEA-48D3-B2C6-355D5EC56876}" dt="2024-06-13T13:47:40.506" v="6576" actId="478"/>
          <ac:grpSpMkLst>
            <pc:docMk/>
            <pc:sldMk cId="0" sldId="329"/>
            <ac:grpSpMk id="5493" creationId="{56E3EBB9-5E10-DA28-916F-BBFF8A9C99BF}"/>
          </ac:grpSpMkLst>
        </pc:grpChg>
        <pc:grpChg chg="mod">
          <ac:chgData name="Deimonmi Nongrum [Chillibreeze]" userId="e937f645-8c95-42a9-a298-dfd645e9a76a" providerId="ADAL" clId="{750E9A50-ACEA-48D3-B2C6-355D5EC56876}" dt="2024-06-12T09:43:58.737" v="192" actId="1076"/>
          <ac:grpSpMkLst>
            <pc:docMk/>
            <pc:sldMk cId="0" sldId="329"/>
            <ac:grpSpMk id="5495" creationId="{00000000-0000-0000-0000-000000000000}"/>
          </ac:grpSpMkLst>
        </pc:grpChg>
        <pc:grpChg chg="mod">
          <ac:chgData name="Deimonmi Nongrum [Chillibreeze]" userId="e937f645-8c95-42a9-a298-dfd645e9a76a" providerId="ADAL" clId="{750E9A50-ACEA-48D3-B2C6-355D5EC56876}" dt="2024-06-12T09:43:58.737" v="192" actId="1076"/>
          <ac:grpSpMkLst>
            <pc:docMk/>
            <pc:sldMk cId="0" sldId="329"/>
            <ac:grpSpMk id="5501" creationId="{00000000-0000-0000-0000-000000000000}"/>
          </ac:grpSpMkLst>
        </pc:grpChg>
        <pc:grpChg chg="add mod">
          <ac:chgData name="Deimonmi Nongrum [Chillibreeze]" userId="e937f645-8c95-42a9-a298-dfd645e9a76a" providerId="ADAL" clId="{750E9A50-ACEA-48D3-B2C6-355D5EC56876}" dt="2024-06-13T13:49:05.526" v="7011"/>
          <ac:grpSpMkLst>
            <pc:docMk/>
            <pc:sldMk cId="0" sldId="329"/>
            <ac:grpSpMk id="5507" creationId="{E4604FB4-4869-2D98-9ED3-47D89CBE5F4B}"/>
          </ac:grpSpMkLst>
        </pc:grpChg>
        <pc:grpChg chg="add mod">
          <ac:chgData name="Deimonmi Nongrum [Chillibreeze]" userId="e937f645-8c95-42a9-a298-dfd645e9a76a" providerId="ADAL" clId="{750E9A50-ACEA-48D3-B2C6-355D5EC56876}" dt="2024-06-13T13:49:05.526" v="7011"/>
          <ac:grpSpMkLst>
            <pc:docMk/>
            <pc:sldMk cId="0" sldId="329"/>
            <ac:grpSpMk id="5513" creationId="{18E43A7B-376A-514D-9EE9-08B66AD8CFF1}"/>
          </ac:grpSpMkLst>
        </pc:grpChg>
        <pc:grpChg chg="add mod">
          <ac:chgData name="Deimonmi Nongrum [Chillibreeze]" userId="e937f645-8c95-42a9-a298-dfd645e9a76a" providerId="ADAL" clId="{750E9A50-ACEA-48D3-B2C6-355D5EC56876}" dt="2024-06-13T13:49:05.526" v="7011"/>
          <ac:grpSpMkLst>
            <pc:docMk/>
            <pc:sldMk cId="0" sldId="329"/>
            <ac:grpSpMk id="5514" creationId="{A080521D-AD3C-80E2-08F7-B4DFA9A7A9DE}"/>
          </ac:grpSpMkLst>
        </pc:grpChg>
        <pc:grpChg chg="add mod">
          <ac:chgData name="Deimonmi Nongrum [Chillibreeze]" userId="e937f645-8c95-42a9-a298-dfd645e9a76a" providerId="ADAL" clId="{750E9A50-ACEA-48D3-B2C6-355D5EC56876}" dt="2024-06-13T13:49:05.526" v="7011"/>
          <ac:grpSpMkLst>
            <pc:docMk/>
            <pc:sldMk cId="0" sldId="329"/>
            <ac:grpSpMk id="5515" creationId="{CB5DD1C4-D0FB-075A-C781-B1142882428B}"/>
          </ac:grpSpMkLst>
        </pc:grpChg>
        <pc:grpChg chg="add mod ord">
          <ac:chgData name="Deimonmi Nongrum [Chillibreeze]" userId="e937f645-8c95-42a9-a298-dfd645e9a76a" providerId="ADAL" clId="{750E9A50-ACEA-48D3-B2C6-355D5EC56876}" dt="2024-06-13T13:49:46.359" v="7232" actId="167"/>
          <ac:grpSpMkLst>
            <pc:docMk/>
            <pc:sldMk cId="0" sldId="329"/>
            <ac:grpSpMk id="5516" creationId="{948F9E8C-FE44-8BE3-7920-A6B9CA574BFD}"/>
          </ac:grpSpMkLst>
        </pc:grpChg>
        <pc:grpChg chg="add del mod ord">
          <ac:chgData name="Deimonmi Nongrum [Chillibreeze]" userId="e937f645-8c95-42a9-a298-dfd645e9a76a" providerId="ADAL" clId="{750E9A50-ACEA-48D3-B2C6-355D5EC56876}" dt="2024-06-13T13:49:07.761" v="7042" actId="478"/>
          <ac:grpSpMkLst>
            <pc:docMk/>
            <pc:sldMk cId="0" sldId="329"/>
            <ac:grpSpMk id="5517" creationId="{7E51B575-4F01-66CA-19AF-D61959B81A79}"/>
          </ac:grpSpMkLst>
        </pc:grpChg>
        <pc:grpChg chg="add mod ord">
          <ac:chgData name="Deimonmi Nongrum [Chillibreeze]" userId="e937f645-8c95-42a9-a298-dfd645e9a76a" providerId="ADAL" clId="{750E9A50-ACEA-48D3-B2C6-355D5EC56876}" dt="2024-06-13T13:49:46.359" v="7232" actId="167"/>
          <ac:grpSpMkLst>
            <pc:docMk/>
            <pc:sldMk cId="0" sldId="329"/>
            <ac:grpSpMk id="5518" creationId="{38354E03-F7BC-44B6-2365-684ECB937A68}"/>
          </ac:grpSpMkLst>
        </pc:grpChg>
        <pc:grpChg chg="add mod ord">
          <ac:chgData name="Deimonmi Nongrum [Chillibreeze]" userId="e937f645-8c95-42a9-a298-dfd645e9a76a" providerId="ADAL" clId="{750E9A50-ACEA-48D3-B2C6-355D5EC56876}" dt="2024-06-13T13:49:46.359" v="7232" actId="167"/>
          <ac:grpSpMkLst>
            <pc:docMk/>
            <pc:sldMk cId="0" sldId="329"/>
            <ac:grpSpMk id="5524" creationId="{DC399FD4-CE07-7811-09B6-BDD22036BFD6}"/>
          </ac:grpSpMkLst>
        </pc:grpChg>
        <pc:grpChg chg="del mod ord">
          <ac:chgData name="Deimonmi Nongrum [Chillibreeze]" userId="e937f645-8c95-42a9-a298-dfd645e9a76a" providerId="ADAL" clId="{750E9A50-ACEA-48D3-B2C6-355D5EC56876}" dt="2024-06-13T13:46:41.754" v="6452" actId="165"/>
          <ac:grpSpMkLst>
            <pc:docMk/>
            <pc:sldMk cId="0" sldId="329"/>
            <ac:grpSpMk id="5827" creationId="{01BC3F06-0765-87CB-54AA-DF061671FF1B}"/>
          </ac:grpSpMkLst>
        </pc:grpChg>
        <pc:grpChg chg="add mod ord">
          <ac:chgData name="Deimonmi Nongrum [Chillibreeze]" userId="e937f645-8c95-42a9-a298-dfd645e9a76a" providerId="ADAL" clId="{750E9A50-ACEA-48D3-B2C6-355D5EC56876}" dt="2024-06-13T13:48:07.190" v="6892" actId="164"/>
          <ac:grpSpMkLst>
            <pc:docMk/>
            <pc:sldMk cId="0" sldId="329"/>
            <ac:grpSpMk id="5827" creationId="{3720B999-24A2-06FC-EB8C-95FAB14D9553}"/>
          </ac:grpSpMkLst>
        </pc:grpChg>
        <pc:grpChg chg="mod topLvl">
          <ac:chgData name="Deimonmi Nongrum [Chillibreeze]" userId="e937f645-8c95-42a9-a298-dfd645e9a76a" providerId="ADAL" clId="{750E9A50-ACEA-48D3-B2C6-355D5EC56876}" dt="2024-06-13T13:49:05.523" v="7007"/>
          <ac:grpSpMkLst>
            <pc:docMk/>
            <pc:sldMk cId="0" sldId="329"/>
            <ac:grpSpMk id="5828" creationId="{E903BC0A-977E-E31A-0CC1-17D0819AECB1}"/>
          </ac:grpSpMkLst>
        </pc:grpChg>
        <pc:grpChg chg="mod topLvl">
          <ac:chgData name="Deimonmi Nongrum [Chillibreeze]" userId="e937f645-8c95-42a9-a298-dfd645e9a76a" providerId="ADAL" clId="{750E9A50-ACEA-48D3-B2C6-355D5EC56876}" dt="2024-06-13T13:49:05.523" v="7007"/>
          <ac:grpSpMkLst>
            <pc:docMk/>
            <pc:sldMk cId="0" sldId="329"/>
            <ac:grpSpMk id="5829" creationId="{83F7B4AB-66EB-9C4F-847B-D01AD2D9A62C}"/>
          </ac:grpSpMkLst>
        </pc:grpChg>
        <pc:grpChg chg="add mod ord">
          <ac:chgData name="Deimonmi Nongrum [Chillibreeze]" userId="e937f645-8c95-42a9-a298-dfd645e9a76a" providerId="ADAL" clId="{750E9A50-ACEA-48D3-B2C6-355D5EC56876}" dt="2024-06-13T13:49:46.359" v="7232" actId="167"/>
          <ac:grpSpMkLst>
            <pc:docMk/>
            <pc:sldMk cId="0" sldId="329"/>
            <ac:grpSpMk id="5848" creationId="{BDB72A7E-2F3E-854C-D803-B1BBE9876C0F}"/>
          </ac:grpSpMkLst>
        </pc:grpChg>
        <pc:grpChg chg="add mod ord">
          <ac:chgData name="Deimonmi Nongrum [Chillibreeze]" userId="e937f645-8c95-42a9-a298-dfd645e9a76a" providerId="ADAL" clId="{750E9A50-ACEA-48D3-B2C6-355D5EC56876}" dt="2024-06-13T13:49:46.359" v="7232" actId="167"/>
          <ac:grpSpMkLst>
            <pc:docMk/>
            <pc:sldMk cId="0" sldId="329"/>
            <ac:grpSpMk id="5854" creationId="{EA3DB0EE-035B-42AA-0DBB-6BA969A02BCF}"/>
          </ac:grpSpMkLst>
        </pc:grpChg>
        <pc:grpChg chg="add mod ord">
          <ac:chgData name="Deimonmi Nongrum [Chillibreeze]" userId="e937f645-8c95-42a9-a298-dfd645e9a76a" providerId="ADAL" clId="{750E9A50-ACEA-48D3-B2C6-355D5EC56876}" dt="2024-06-13T13:48:07.190" v="6892" actId="164"/>
          <ac:grpSpMkLst>
            <pc:docMk/>
            <pc:sldMk cId="0" sldId="329"/>
            <ac:grpSpMk id="5860" creationId="{70538DF3-1A7E-2D2A-2509-6A2C6D68B85C}"/>
          </ac:grpSpMkLst>
        </pc:grpChg>
        <pc:grpChg chg="add mod ord">
          <ac:chgData name="Deimonmi Nongrum [Chillibreeze]" userId="e937f645-8c95-42a9-a298-dfd645e9a76a" providerId="ADAL" clId="{750E9A50-ACEA-48D3-B2C6-355D5EC56876}" dt="2024-06-13T13:49:46.359" v="7232" actId="167"/>
          <ac:grpSpMkLst>
            <pc:docMk/>
            <pc:sldMk cId="0" sldId="329"/>
            <ac:grpSpMk id="5867" creationId="{498BECEF-FA90-07D8-2D8D-3D01F32A3F43}"/>
          </ac:grpSpMkLst>
        </pc:grpChg>
        <pc:grpChg chg="add mod ord">
          <ac:chgData name="Deimonmi Nongrum [Chillibreeze]" userId="e937f645-8c95-42a9-a298-dfd645e9a76a" providerId="ADAL" clId="{750E9A50-ACEA-48D3-B2C6-355D5EC56876}" dt="2024-06-13T13:49:46.359" v="7232" actId="167"/>
          <ac:grpSpMkLst>
            <pc:docMk/>
            <pc:sldMk cId="0" sldId="329"/>
            <ac:grpSpMk id="5873" creationId="{46331DE0-0808-A492-3F3B-A8DE2E55ADB7}"/>
          </ac:grpSpMkLst>
        </pc:grpChg>
        <pc:grpChg chg="add del mod">
          <ac:chgData name="Deimonmi Nongrum [Chillibreeze]" userId="e937f645-8c95-42a9-a298-dfd645e9a76a" providerId="ADAL" clId="{750E9A50-ACEA-48D3-B2C6-355D5EC56876}" dt="2024-06-13T13:48:34.838" v="6990" actId="165"/>
          <ac:grpSpMkLst>
            <pc:docMk/>
            <pc:sldMk cId="0" sldId="329"/>
            <ac:grpSpMk id="5874" creationId="{F4E2E222-8C0B-C84A-F7EC-C1B9190B811D}"/>
          </ac:grpSpMkLst>
        </pc:grpChg>
        <pc:grpChg chg="mod topLvl">
          <ac:chgData name="Deimonmi Nongrum [Chillibreeze]" userId="e937f645-8c95-42a9-a298-dfd645e9a76a" providerId="ADAL" clId="{750E9A50-ACEA-48D3-B2C6-355D5EC56876}" dt="2024-06-13T13:49:05.526" v="7011"/>
          <ac:grpSpMkLst>
            <pc:docMk/>
            <pc:sldMk cId="0" sldId="329"/>
            <ac:grpSpMk id="5875" creationId="{8293CE94-DF26-997A-8FAC-F9189103525A}"/>
          </ac:grpSpMkLst>
        </pc:grpChg>
        <pc:grpChg chg="mod topLvl">
          <ac:chgData name="Deimonmi Nongrum [Chillibreeze]" userId="e937f645-8c95-42a9-a298-dfd645e9a76a" providerId="ADAL" clId="{750E9A50-ACEA-48D3-B2C6-355D5EC56876}" dt="2024-06-13T13:48:29.263" v="6962"/>
          <ac:grpSpMkLst>
            <pc:docMk/>
            <pc:sldMk cId="0" sldId="329"/>
            <ac:grpSpMk id="5876" creationId="{6ECC40A7-0D22-94B6-BD73-7FAC92884B44}"/>
          </ac:grpSpMkLst>
        </pc:grpChg>
        <pc:grpChg chg="mod topLvl">
          <ac:chgData name="Deimonmi Nongrum [Chillibreeze]" userId="e937f645-8c95-42a9-a298-dfd645e9a76a" providerId="ADAL" clId="{750E9A50-ACEA-48D3-B2C6-355D5EC56876}" dt="2024-06-13T13:48:29.263" v="6962"/>
          <ac:grpSpMkLst>
            <pc:docMk/>
            <pc:sldMk cId="0" sldId="329"/>
            <ac:grpSpMk id="5877" creationId="{ED45BA02-4D2A-48B6-8960-DDF1C28D7CC8}"/>
          </ac:grpSpMkLst>
        </pc:grpChg>
        <pc:grpChg chg="add mod ord">
          <ac:chgData name="Deimonmi Nongrum [Chillibreeze]" userId="e937f645-8c95-42a9-a298-dfd645e9a76a" providerId="ADAL" clId="{750E9A50-ACEA-48D3-B2C6-355D5EC56876}" dt="2024-06-13T13:49:46.359" v="7232" actId="167"/>
          <ac:grpSpMkLst>
            <pc:docMk/>
            <pc:sldMk cId="0" sldId="329"/>
            <ac:grpSpMk id="5894" creationId="{448E0855-0369-0141-32B1-E1DC0B105CCA}"/>
          </ac:grpSpMkLst>
        </pc:grpChg>
        <pc:grpChg chg="mod">
          <ac:chgData name="Deimonmi Nongrum [Chillibreeze]" userId="e937f645-8c95-42a9-a298-dfd645e9a76a" providerId="ADAL" clId="{750E9A50-ACEA-48D3-B2C6-355D5EC56876}" dt="2024-06-13T13:48:29.261" v="6954"/>
          <ac:grpSpMkLst>
            <pc:docMk/>
            <pc:sldMk cId="0" sldId="329"/>
            <ac:grpSpMk id="5895" creationId="{D601CD7A-E82C-44FB-9C30-5CA77B0ADAC0}"/>
          </ac:grpSpMkLst>
        </pc:grpChg>
        <pc:grpChg chg="mod">
          <ac:chgData name="Deimonmi Nongrum [Chillibreeze]" userId="e937f645-8c95-42a9-a298-dfd645e9a76a" providerId="ADAL" clId="{750E9A50-ACEA-48D3-B2C6-355D5EC56876}" dt="2024-06-13T13:48:29.261" v="6954"/>
          <ac:grpSpMkLst>
            <pc:docMk/>
            <pc:sldMk cId="0" sldId="329"/>
            <ac:grpSpMk id="5896" creationId="{FF1F3F5D-8D10-2622-05AD-B25A1E1A76A3}"/>
          </ac:grpSpMkLst>
        </pc:grpChg>
        <pc:grpChg chg="mod">
          <ac:chgData name="Deimonmi Nongrum [Chillibreeze]" userId="e937f645-8c95-42a9-a298-dfd645e9a76a" providerId="ADAL" clId="{750E9A50-ACEA-48D3-B2C6-355D5EC56876}" dt="2024-06-13T13:48:29.261" v="6954"/>
          <ac:grpSpMkLst>
            <pc:docMk/>
            <pc:sldMk cId="0" sldId="329"/>
            <ac:grpSpMk id="5897" creationId="{2414B703-5BD7-A43A-2A01-98F2105D8E41}"/>
          </ac:grpSpMkLst>
        </pc:grpChg>
        <pc:grpChg chg="add mod ord">
          <ac:chgData name="Deimonmi Nongrum [Chillibreeze]" userId="e937f645-8c95-42a9-a298-dfd645e9a76a" providerId="ADAL" clId="{750E9A50-ACEA-48D3-B2C6-355D5EC56876}" dt="2024-06-13T13:49:46.359" v="7232" actId="167"/>
          <ac:grpSpMkLst>
            <pc:docMk/>
            <pc:sldMk cId="0" sldId="329"/>
            <ac:grpSpMk id="5913" creationId="{5EDAD7DE-470C-6929-557C-2C731BD41DC3}"/>
          </ac:grpSpMkLst>
        </pc:grpChg>
        <pc:grpChg chg="mod">
          <ac:chgData name="Deimonmi Nongrum [Chillibreeze]" userId="e937f645-8c95-42a9-a298-dfd645e9a76a" providerId="ADAL" clId="{750E9A50-ACEA-48D3-B2C6-355D5EC56876}" dt="2024-06-13T13:48:18.128" v="6916"/>
          <ac:grpSpMkLst>
            <pc:docMk/>
            <pc:sldMk cId="0" sldId="329"/>
            <ac:grpSpMk id="5914" creationId="{4A1C9F26-37E3-EE0C-3BC1-BF582B35FEF8}"/>
          </ac:grpSpMkLst>
        </pc:grpChg>
        <pc:grpChg chg="mod">
          <ac:chgData name="Deimonmi Nongrum [Chillibreeze]" userId="e937f645-8c95-42a9-a298-dfd645e9a76a" providerId="ADAL" clId="{750E9A50-ACEA-48D3-B2C6-355D5EC56876}" dt="2024-06-13T13:48:18.128" v="6916"/>
          <ac:grpSpMkLst>
            <pc:docMk/>
            <pc:sldMk cId="0" sldId="329"/>
            <ac:grpSpMk id="5915" creationId="{4413B382-61CE-AA45-D33F-AD2F29745D8B}"/>
          </ac:grpSpMkLst>
        </pc:grpChg>
        <pc:grpChg chg="mod">
          <ac:chgData name="Deimonmi Nongrum [Chillibreeze]" userId="e937f645-8c95-42a9-a298-dfd645e9a76a" providerId="ADAL" clId="{750E9A50-ACEA-48D3-B2C6-355D5EC56876}" dt="2024-06-13T13:48:18.128" v="6916"/>
          <ac:grpSpMkLst>
            <pc:docMk/>
            <pc:sldMk cId="0" sldId="329"/>
            <ac:grpSpMk id="5916" creationId="{AB310CD4-4BD4-C2D5-F08A-E5CAF6578BA5}"/>
          </ac:grpSpMkLst>
        </pc:grpChg>
        <pc:grpChg chg="add del mod ord">
          <ac:chgData name="Deimonmi Nongrum [Chillibreeze]" userId="e937f645-8c95-42a9-a298-dfd645e9a76a" providerId="ADAL" clId="{750E9A50-ACEA-48D3-B2C6-355D5EC56876}" dt="2024-06-13T13:48:19.755" v="6943" actId="478"/>
          <ac:grpSpMkLst>
            <pc:docMk/>
            <pc:sldMk cId="0" sldId="329"/>
            <ac:grpSpMk id="5932" creationId="{20C9027E-2434-F12D-A53A-54DDCCE7D1E5}"/>
          </ac:grpSpMkLst>
        </pc:grpChg>
        <pc:grpChg chg="add del mod ord">
          <ac:chgData name="Deimonmi Nongrum [Chillibreeze]" userId="e937f645-8c95-42a9-a298-dfd645e9a76a" providerId="ADAL" clId="{750E9A50-ACEA-48D3-B2C6-355D5EC56876}" dt="2024-06-13T13:48:33.619" v="6989" actId="478"/>
          <ac:grpSpMkLst>
            <pc:docMk/>
            <pc:sldMk cId="0" sldId="329"/>
            <ac:grpSpMk id="5933" creationId="{0CB83A2E-53E3-37CD-BC85-65B31D985901}"/>
          </ac:grpSpMkLst>
        </pc:grpChg>
        <pc:grpChg chg="add mod">
          <ac:chgData name="Deimonmi Nongrum [Chillibreeze]" userId="e937f645-8c95-42a9-a298-dfd645e9a76a" providerId="ADAL" clId="{750E9A50-ACEA-48D3-B2C6-355D5EC56876}" dt="2024-06-13T13:49:05.526" v="7011"/>
          <ac:grpSpMkLst>
            <pc:docMk/>
            <pc:sldMk cId="0" sldId="329"/>
            <ac:grpSpMk id="5934" creationId="{4E0FED8C-A9D5-6541-DE4D-C87C723D07D8}"/>
          </ac:grpSpMkLst>
        </pc:grpChg>
        <pc:grpChg chg="add mod">
          <ac:chgData name="Deimonmi Nongrum [Chillibreeze]" userId="e937f645-8c95-42a9-a298-dfd645e9a76a" providerId="ADAL" clId="{750E9A50-ACEA-48D3-B2C6-355D5EC56876}" dt="2024-06-13T13:49:05.526" v="7011"/>
          <ac:grpSpMkLst>
            <pc:docMk/>
            <pc:sldMk cId="0" sldId="329"/>
            <ac:grpSpMk id="5940" creationId="{7B1B9EF0-B593-BE2D-0927-ADB03CC14A5F}"/>
          </ac:grpSpMkLst>
        </pc:grpChg>
        <pc:grpChg chg="add mod">
          <ac:chgData name="Deimonmi Nongrum [Chillibreeze]" userId="e937f645-8c95-42a9-a298-dfd645e9a76a" providerId="ADAL" clId="{750E9A50-ACEA-48D3-B2C6-355D5EC56876}" dt="2024-06-13T13:49:05.526" v="7011"/>
          <ac:grpSpMkLst>
            <pc:docMk/>
            <pc:sldMk cId="0" sldId="329"/>
            <ac:grpSpMk id="5946" creationId="{C236B6BD-7C07-3358-7169-77C62DA71E15}"/>
          </ac:grpSpMkLst>
        </pc:grpChg>
        <pc:graphicFrameChg chg="del mod modVis">
          <ac:chgData name="Deimonmi Nongrum [Chillibreeze]" userId="e937f645-8c95-42a9-a298-dfd645e9a76a" providerId="ADAL" clId="{750E9A50-ACEA-48D3-B2C6-355D5EC56876}" dt="2024-06-13T11:56:40.373" v="3964" actId="478"/>
          <ac:graphicFrameMkLst>
            <pc:docMk/>
            <pc:sldMk cId="0" sldId="329"/>
            <ac:graphicFrameMk id="6" creationId="{E78D80CA-BC61-8699-E429-46CAD4D37387}"/>
          </ac:graphicFrameMkLst>
        </pc:graphicFrameChg>
        <pc:picChg chg="mod ord">
          <ac:chgData name="Deimonmi Nongrum [Chillibreeze]" userId="e937f645-8c95-42a9-a298-dfd645e9a76a" providerId="ADAL" clId="{750E9A50-ACEA-48D3-B2C6-355D5EC56876}" dt="2024-06-13T13:49:46.359" v="7232" actId="167"/>
          <ac:picMkLst>
            <pc:docMk/>
            <pc:sldMk cId="0" sldId="329"/>
            <ac:picMk id="21" creationId="{2F82D775-64E0-A1A2-9139-04D5B7865385}"/>
          </ac:picMkLst>
        </pc:picChg>
        <pc:picChg chg="mod ord">
          <ac:chgData name="Deimonmi Nongrum [Chillibreeze]" userId="e937f645-8c95-42a9-a298-dfd645e9a76a" providerId="ADAL" clId="{750E9A50-ACEA-48D3-B2C6-355D5EC56876}" dt="2024-06-13T13:49:46.359" v="7232" actId="167"/>
          <ac:picMkLst>
            <pc:docMk/>
            <pc:sldMk cId="0" sldId="329"/>
            <ac:picMk id="27" creationId="{62DBA9E9-838A-366A-2235-247EF4C152AA}"/>
          </ac:picMkLst>
        </pc:picChg>
        <pc:picChg chg="mod">
          <ac:chgData name="Deimonmi Nongrum [Chillibreeze]" userId="e937f645-8c95-42a9-a298-dfd645e9a76a" providerId="ADAL" clId="{750E9A50-ACEA-48D3-B2C6-355D5EC56876}" dt="2024-06-12T09:43:58.737" v="192" actId="1076"/>
          <ac:picMkLst>
            <pc:docMk/>
            <pc:sldMk cId="0" sldId="329"/>
            <ac:picMk id="5462" creationId="{00000000-0000-0000-0000-000000000000}"/>
          </ac:picMkLst>
        </pc:picChg>
        <pc:picChg chg="mod">
          <ac:chgData name="Deimonmi Nongrum [Chillibreeze]" userId="e937f645-8c95-42a9-a298-dfd645e9a76a" providerId="ADAL" clId="{750E9A50-ACEA-48D3-B2C6-355D5EC56876}" dt="2024-06-12T09:43:58.737" v="192" actId="1076"/>
          <ac:picMkLst>
            <pc:docMk/>
            <pc:sldMk cId="0" sldId="329"/>
            <ac:picMk id="5480" creationId="{00000000-0000-0000-0000-000000000000}"/>
          </ac:picMkLst>
        </pc:picChg>
        <pc:picChg chg="mod">
          <ac:chgData name="Deimonmi Nongrum [Chillibreeze]" userId="e937f645-8c95-42a9-a298-dfd645e9a76a" providerId="ADAL" clId="{750E9A50-ACEA-48D3-B2C6-355D5EC56876}" dt="2024-06-12T09:43:58.737" v="192" actId="1076"/>
          <ac:picMkLst>
            <pc:docMk/>
            <pc:sldMk cId="0" sldId="329"/>
            <ac:picMk id="5481" creationId="{00000000-0000-0000-0000-000000000000}"/>
          </ac:picMkLst>
        </pc:picChg>
        <pc:picChg chg="mod">
          <ac:chgData name="Deimonmi Nongrum [Chillibreeze]" userId="e937f645-8c95-42a9-a298-dfd645e9a76a" providerId="ADAL" clId="{750E9A50-ACEA-48D3-B2C6-355D5EC56876}" dt="2024-06-12T09:43:58.737" v="192" actId="1076"/>
          <ac:picMkLst>
            <pc:docMk/>
            <pc:sldMk cId="0" sldId="329"/>
            <ac:picMk id="5508" creationId="{00000000-0000-0000-0000-000000000000}"/>
          </ac:picMkLst>
        </pc:picChg>
        <pc:picChg chg="mod">
          <ac:chgData name="Deimonmi Nongrum [Chillibreeze]" userId="e937f645-8c95-42a9-a298-dfd645e9a76a" providerId="ADAL" clId="{750E9A50-ACEA-48D3-B2C6-355D5EC56876}" dt="2024-06-12T09:43:58.737" v="192" actId="1076"/>
          <ac:picMkLst>
            <pc:docMk/>
            <pc:sldMk cId="0" sldId="329"/>
            <ac:picMk id="5509" creationId="{00000000-0000-0000-0000-000000000000}"/>
          </ac:picMkLst>
        </pc:picChg>
        <pc:picChg chg="mod">
          <ac:chgData name="Deimonmi Nongrum [Chillibreeze]" userId="e937f645-8c95-42a9-a298-dfd645e9a76a" providerId="ADAL" clId="{750E9A50-ACEA-48D3-B2C6-355D5EC56876}" dt="2024-06-12T09:43:58.737" v="192" actId="1076"/>
          <ac:picMkLst>
            <pc:docMk/>
            <pc:sldMk cId="0" sldId="329"/>
            <ac:picMk id="5510" creationId="{00000000-0000-0000-0000-000000000000}"/>
          </ac:picMkLst>
        </pc:picChg>
        <pc:cxnChg chg="mod">
          <ac:chgData name="Deimonmi Nongrum [Chillibreeze]" userId="e937f645-8c95-42a9-a298-dfd645e9a76a" providerId="ADAL" clId="{750E9A50-ACEA-48D3-B2C6-355D5EC56876}" dt="2024-06-13T11:33:53.819" v="3652" actId="692"/>
          <ac:cxnSpMkLst>
            <pc:docMk/>
            <pc:sldMk cId="0" sldId="329"/>
            <ac:cxnSpMk id="47" creationId="{D85454B2-2F54-0937-8856-3D31121EFE90}"/>
          </ac:cxnSpMkLst>
        </pc:cxnChg>
        <pc:cxnChg chg="mod">
          <ac:chgData name="Deimonmi Nongrum [Chillibreeze]" userId="e937f645-8c95-42a9-a298-dfd645e9a76a" providerId="ADAL" clId="{750E9A50-ACEA-48D3-B2C6-355D5EC56876}" dt="2024-06-13T11:33:59.531" v="3653" actId="692"/>
          <ac:cxnSpMkLst>
            <pc:docMk/>
            <pc:sldMk cId="0" sldId="329"/>
            <ac:cxnSpMk id="51" creationId="{B860C3CD-D18E-97EF-4372-A6BB291D1808}"/>
          </ac:cxnSpMkLst>
        </pc:cxnChg>
        <pc:cxnChg chg="mod">
          <ac:chgData name="Deimonmi Nongrum [Chillibreeze]" userId="e937f645-8c95-42a9-a298-dfd645e9a76a" providerId="ADAL" clId="{750E9A50-ACEA-48D3-B2C6-355D5EC56876}" dt="2024-06-13T11:34:04.206" v="3654" actId="692"/>
          <ac:cxnSpMkLst>
            <pc:docMk/>
            <pc:sldMk cId="0" sldId="329"/>
            <ac:cxnSpMk id="54" creationId="{2595D869-8C1D-E10F-C714-465EE9000BD8}"/>
          </ac:cxnSpMkLst>
        </pc:cxnChg>
        <pc:cxnChg chg="add mod ord">
          <ac:chgData name="Deimonmi Nongrum [Chillibreeze]" userId="e937f645-8c95-42a9-a298-dfd645e9a76a" providerId="ADAL" clId="{750E9A50-ACEA-48D3-B2C6-355D5EC56876}" dt="2024-06-13T13:49:46.359" v="7232" actId="167"/>
          <ac:cxnSpMkLst>
            <pc:docMk/>
            <pc:sldMk cId="0" sldId="329"/>
            <ac:cxnSpMk id="5845" creationId="{CFF9DBE1-D4DE-C041-E8FA-BDB111719344}"/>
          </ac:cxnSpMkLst>
        </pc:cxnChg>
      </pc:sldChg>
      <pc:sldChg chg="addSp delSp modSp mod modClrScheme chgLayout">
        <pc:chgData name="Deimonmi Nongrum [Chillibreeze]" userId="e937f645-8c95-42a9-a298-dfd645e9a76a" providerId="ADAL" clId="{750E9A50-ACEA-48D3-B2C6-355D5EC56876}" dt="2024-06-13T11:57:19.257" v="3968" actId="207"/>
        <pc:sldMkLst>
          <pc:docMk/>
          <pc:sldMk cId="0" sldId="330"/>
        </pc:sldMkLst>
        <pc:spChg chg="add mod ord">
          <ac:chgData name="Deimonmi Nongrum [Chillibreeze]" userId="e937f645-8c95-42a9-a298-dfd645e9a76a" providerId="ADAL" clId="{750E9A50-ACEA-48D3-B2C6-355D5EC56876}" dt="2024-06-13T11:37:22.584" v="3728" actId="13244"/>
          <ac:spMkLst>
            <pc:docMk/>
            <pc:sldMk cId="0" sldId="330"/>
            <ac:spMk id="4" creationId="{254AA3E6-65E0-79E1-01B7-9FBB1525AE3B}"/>
          </ac:spMkLst>
        </pc:spChg>
        <pc:spChg chg="add del mod ord">
          <ac:chgData name="Deimonmi Nongrum [Chillibreeze]" userId="e937f645-8c95-42a9-a298-dfd645e9a76a" providerId="ADAL" clId="{750E9A50-ACEA-48D3-B2C6-355D5EC56876}" dt="2024-06-13T11:36:34.339" v="3696" actId="6264"/>
          <ac:spMkLst>
            <pc:docMk/>
            <pc:sldMk cId="0" sldId="330"/>
            <ac:spMk id="5" creationId="{1E51C956-1E72-B94D-66FF-8E1D33B04F1E}"/>
          </ac:spMkLst>
        </pc:spChg>
        <pc:spChg chg="add del mod ord">
          <ac:chgData name="Deimonmi Nongrum [Chillibreeze]" userId="e937f645-8c95-42a9-a298-dfd645e9a76a" providerId="ADAL" clId="{750E9A50-ACEA-48D3-B2C6-355D5EC56876}" dt="2024-06-13T11:36:34.529" v="3697" actId="6264"/>
          <ac:spMkLst>
            <pc:docMk/>
            <pc:sldMk cId="0" sldId="330"/>
            <ac:spMk id="6" creationId="{BF9AA68E-38AE-1512-32B9-D0841943A390}"/>
          </ac:spMkLst>
        </pc:spChg>
        <pc:spChg chg="add del mod ord">
          <ac:chgData name="Deimonmi Nongrum [Chillibreeze]" userId="e937f645-8c95-42a9-a298-dfd645e9a76a" providerId="ADAL" clId="{750E9A50-ACEA-48D3-B2C6-355D5EC56876}" dt="2024-06-13T11:36:34.666" v="3698" actId="6264"/>
          <ac:spMkLst>
            <pc:docMk/>
            <pc:sldMk cId="0" sldId="330"/>
            <ac:spMk id="7" creationId="{BCA09579-E084-292D-056D-3275F818AC4D}"/>
          </ac:spMkLst>
        </pc:spChg>
        <pc:spChg chg="add mod ord">
          <ac:chgData name="Deimonmi Nongrum [Chillibreeze]" userId="e937f645-8c95-42a9-a298-dfd645e9a76a" providerId="ADAL" clId="{750E9A50-ACEA-48D3-B2C6-355D5EC56876}" dt="2024-06-13T11:36:59.521" v="3713"/>
          <ac:spMkLst>
            <pc:docMk/>
            <pc:sldMk cId="0" sldId="330"/>
            <ac:spMk id="8" creationId="{9812613D-BC61-0449-8E1E-318B333CE5C4}"/>
          </ac:spMkLst>
        </pc:spChg>
        <pc:spChg chg="add del mod">
          <ac:chgData name="Deimonmi Nongrum [Chillibreeze]" userId="e937f645-8c95-42a9-a298-dfd645e9a76a" providerId="ADAL" clId="{750E9A50-ACEA-48D3-B2C6-355D5EC56876}" dt="2024-06-13T11:36:37.549" v="3700" actId="6264"/>
          <ac:spMkLst>
            <pc:docMk/>
            <pc:sldMk cId="0" sldId="330"/>
            <ac:spMk id="9" creationId="{007F5383-AD7F-5180-5DB3-6105335480C2}"/>
          </ac:spMkLst>
        </pc:spChg>
        <pc:spChg chg="ord">
          <ac:chgData name="Deimonmi Nongrum [Chillibreeze]" userId="e937f645-8c95-42a9-a298-dfd645e9a76a" providerId="ADAL" clId="{750E9A50-ACEA-48D3-B2C6-355D5EC56876}" dt="2024-06-13T11:36:54.498" v="3706" actId="167"/>
          <ac:spMkLst>
            <pc:docMk/>
            <pc:sldMk cId="0" sldId="330"/>
            <ac:spMk id="10" creationId="{14636A6D-EDEF-0FFE-9E8E-DA5B1AEB6A00}"/>
          </ac:spMkLst>
        </pc:spChg>
        <pc:spChg chg="add del mod">
          <ac:chgData name="Deimonmi Nongrum [Chillibreeze]" userId="e937f645-8c95-42a9-a298-dfd645e9a76a" providerId="ADAL" clId="{750E9A50-ACEA-48D3-B2C6-355D5EC56876}" dt="2024-06-13T11:36:37.748" v="3701" actId="6264"/>
          <ac:spMkLst>
            <pc:docMk/>
            <pc:sldMk cId="0" sldId="330"/>
            <ac:spMk id="11" creationId="{362F3081-3E40-F74E-65C1-FB996B210886}"/>
          </ac:spMkLst>
        </pc:spChg>
        <pc:spChg chg="add del mod">
          <ac:chgData name="Deimonmi Nongrum [Chillibreeze]" userId="e937f645-8c95-42a9-a298-dfd645e9a76a" providerId="ADAL" clId="{750E9A50-ACEA-48D3-B2C6-355D5EC56876}" dt="2024-06-13T11:36:37.916" v="3702" actId="6264"/>
          <ac:spMkLst>
            <pc:docMk/>
            <pc:sldMk cId="0" sldId="330"/>
            <ac:spMk id="12" creationId="{39D5864C-4ACD-FD37-D377-54ED0CCE51F4}"/>
          </ac:spMkLst>
        </pc:spChg>
        <pc:spChg chg="del mod ord">
          <ac:chgData name="Deimonmi Nongrum [Chillibreeze]" userId="e937f645-8c95-42a9-a298-dfd645e9a76a" providerId="ADAL" clId="{750E9A50-ACEA-48D3-B2C6-355D5EC56876}" dt="2024-06-13T11:36:34.170" v="3695" actId="6264"/>
          <ac:spMkLst>
            <pc:docMk/>
            <pc:sldMk cId="0" sldId="330"/>
            <ac:spMk id="5516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57:19.257" v="3968" actId="207"/>
          <ac:spMkLst>
            <pc:docMk/>
            <pc:sldMk cId="0" sldId="330"/>
            <ac:spMk id="5527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37:00.850" v="3715"/>
          <ac:spMkLst>
            <pc:docMk/>
            <pc:sldMk cId="0" sldId="330"/>
            <ac:spMk id="5528" creationId="{00000000-0000-0000-0000-000000000000}"/>
          </ac:spMkLst>
        </pc:spChg>
        <pc:spChg chg="ord">
          <ac:chgData name="Deimonmi Nongrum [Chillibreeze]" userId="e937f645-8c95-42a9-a298-dfd645e9a76a" providerId="ADAL" clId="{750E9A50-ACEA-48D3-B2C6-355D5EC56876}" dt="2024-06-13T11:37:03.168" v="3717"/>
          <ac:spMkLst>
            <pc:docMk/>
            <pc:sldMk cId="0" sldId="330"/>
            <ac:spMk id="5529" creationId="{00000000-0000-0000-0000-000000000000}"/>
          </ac:spMkLst>
        </pc:spChg>
        <pc:spChg chg="ord">
          <ac:chgData name="Deimonmi Nongrum [Chillibreeze]" userId="e937f645-8c95-42a9-a298-dfd645e9a76a" providerId="ADAL" clId="{750E9A50-ACEA-48D3-B2C6-355D5EC56876}" dt="2024-06-13T11:37:03.747" v="3718"/>
          <ac:spMkLst>
            <pc:docMk/>
            <pc:sldMk cId="0" sldId="330"/>
            <ac:spMk id="5530" creationId="{00000000-0000-0000-0000-000000000000}"/>
          </ac:spMkLst>
        </pc:spChg>
        <pc:spChg chg="ord">
          <ac:chgData name="Deimonmi Nongrum [Chillibreeze]" userId="e937f645-8c95-42a9-a298-dfd645e9a76a" providerId="ADAL" clId="{750E9A50-ACEA-48D3-B2C6-355D5EC56876}" dt="2024-06-13T11:37:07.441" v="3724"/>
          <ac:spMkLst>
            <pc:docMk/>
            <pc:sldMk cId="0" sldId="330"/>
            <ac:spMk id="5531" creationId="{00000000-0000-0000-0000-000000000000}"/>
          </ac:spMkLst>
        </pc:spChg>
        <pc:spChg chg="ord">
          <ac:chgData name="Deimonmi Nongrum [Chillibreeze]" userId="e937f645-8c95-42a9-a298-dfd645e9a76a" providerId="ADAL" clId="{750E9A50-ACEA-48D3-B2C6-355D5EC56876}" dt="2024-06-13T11:37:04.949" v="3720"/>
          <ac:spMkLst>
            <pc:docMk/>
            <pc:sldMk cId="0" sldId="330"/>
            <ac:spMk id="5532" creationId="{00000000-0000-0000-0000-000000000000}"/>
          </ac:spMkLst>
        </pc:spChg>
        <pc:spChg chg="ord">
          <ac:chgData name="Deimonmi Nongrum [Chillibreeze]" userId="e937f645-8c95-42a9-a298-dfd645e9a76a" providerId="ADAL" clId="{750E9A50-ACEA-48D3-B2C6-355D5EC56876}" dt="2024-06-13T11:37:08.585" v="3726"/>
          <ac:spMkLst>
            <pc:docMk/>
            <pc:sldMk cId="0" sldId="330"/>
            <ac:spMk id="5533" creationId="{00000000-0000-0000-0000-000000000000}"/>
          </ac:spMkLst>
        </pc:spChg>
        <pc:spChg chg="ord">
          <ac:chgData name="Deimonmi Nongrum [Chillibreeze]" userId="e937f645-8c95-42a9-a298-dfd645e9a76a" providerId="ADAL" clId="{750E9A50-ACEA-48D3-B2C6-355D5EC56876}" dt="2024-06-13T11:37:08.069" v="3725"/>
          <ac:spMkLst>
            <pc:docMk/>
            <pc:sldMk cId="0" sldId="330"/>
            <ac:spMk id="5534" creationId="{00000000-0000-0000-0000-000000000000}"/>
          </ac:spMkLst>
        </pc:spChg>
        <pc:spChg chg="ord">
          <ac:chgData name="Deimonmi Nongrum [Chillibreeze]" userId="e937f645-8c95-42a9-a298-dfd645e9a76a" providerId="ADAL" clId="{750E9A50-ACEA-48D3-B2C6-355D5EC56876}" dt="2024-06-13T11:37:09.410" v="3727"/>
          <ac:spMkLst>
            <pc:docMk/>
            <pc:sldMk cId="0" sldId="330"/>
            <ac:spMk id="5535" creationId="{00000000-0000-0000-0000-000000000000}"/>
          </ac:spMkLst>
        </pc:spChg>
        <pc:spChg chg="ord">
          <ac:chgData name="Deimonmi Nongrum [Chillibreeze]" userId="e937f645-8c95-42a9-a298-dfd645e9a76a" providerId="ADAL" clId="{750E9A50-ACEA-48D3-B2C6-355D5EC56876}" dt="2024-06-13T11:37:04.400" v="3719"/>
          <ac:spMkLst>
            <pc:docMk/>
            <pc:sldMk cId="0" sldId="330"/>
            <ac:spMk id="5536" creationId="{00000000-0000-0000-0000-000000000000}"/>
          </ac:spMkLst>
        </pc:spChg>
        <pc:spChg chg="ord">
          <ac:chgData name="Deimonmi Nongrum [Chillibreeze]" userId="e937f645-8c95-42a9-a298-dfd645e9a76a" providerId="ADAL" clId="{750E9A50-ACEA-48D3-B2C6-355D5EC56876}" dt="2024-06-13T11:37:05.523" v="3721"/>
          <ac:spMkLst>
            <pc:docMk/>
            <pc:sldMk cId="0" sldId="330"/>
            <ac:spMk id="5537" creationId="{00000000-0000-0000-0000-000000000000}"/>
          </ac:spMkLst>
        </pc:spChg>
        <pc:spChg chg="ord">
          <ac:chgData name="Deimonmi Nongrum [Chillibreeze]" userId="e937f645-8c95-42a9-a298-dfd645e9a76a" providerId="ADAL" clId="{750E9A50-ACEA-48D3-B2C6-355D5EC56876}" dt="2024-06-13T11:37:06.127" v="3722"/>
          <ac:spMkLst>
            <pc:docMk/>
            <pc:sldMk cId="0" sldId="330"/>
            <ac:spMk id="5538" creationId="{00000000-0000-0000-0000-000000000000}"/>
          </ac:spMkLst>
        </pc:spChg>
        <pc:spChg chg="ord">
          <ac:chgData name="Deimonmi Nongrum [Chillibreeze]" userId="e937f645-8c95-42a9-a298-dfd645e9a76a" providerId="ADAL" clId="{750E9A50-ACEA-48D3-B2C6-355D5EC56876}" dt="2024-06-13T11:37:06.644" v="3723"/>
          <ac:spMkLst>
            <pc:docMk/>
            <pc:sldMk cId="0" sldId="330"/>
            <ac:spMk id="5539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57:05.216" v="3967" actId="113"/>
          <ac:spMkLst>
            <pc:docMk/>
            <pc:sldMk cId="0" sldId="330"/>
            <ac:spMk id="5547" creationId="{00000000-0000-0000-0000-000000000000}"/>
          </ac:spMkLst>
        </pc:spChg>
        <pc:graphicFrameChg chg="del mod modVis">
          <ac:chgData name="Deimonmi Nongrum [Chillibreeze]" userId="e937f645-8c95-42a9-a298-dfd645e9a76a" providerId="ADAL" clId="{750E9A50-ACEA-48D3-B2C6-355D5EC56876}" dt="2024-06-13T11:37:31.782" v="3730" actId="478"/>
          <ac:graphicFrameMkLst>
            <pc:docMk/>
            <pc:sldMk cId="0" sldId="330"/>
            <ac:graphicFrameMk id="2" creationId="{58ACE511-862C-E214-8FD1-A6CB34D342C3}"/>
          </ac:graphicFrameMkLst>
        </pc:graphicFrameChg>
        <pc:picChg chg="mod ord">
          <ac:chgData name="Deimonmi Nongrum [Chillibreeze]" userId="e937f645-8c95-42a9-a298-dfd645e9a76a" providerId="ADAL" clId="{750E9A50-ACEA-48D3-B2C6-355D5EC56876}" dt="2024-06-13T11:43:12.921" v="3777"/>
          <ac:picMkLst>
            <pc:docMk/>
            <pc:sldMk cId="0" sldId="330"/>
            <ac:picMk id="14" creationId="{DD4604E8-BC75-A90E-358C-A2EAA1A83DD1}"/>
          </ac:picMkLst>
        </pc:picChg>
        <pc:picChg chg="ord">
          <ac:chgData name="Deimonmi Nongrum [Chillibreeze]" userId="e937f645-8c95-42a9-a298-dfd645e9a76a" providerId="ADAL" clId="{750E9A50-ACEA-48D3-B2C6-355D5EC56876}" dt="2024-06-13T11:36:54.498" v="3706" actId="167"/>
          <ac:picMkLst>
            <pc:docMk/>
            <pc:sldMk cId="0" sldId="330"/>
            <ac:picMk id="15" creationId="{A8626E69-43A1-D40B-752E-7ADB4315BBFE}"/>
          </ac:picMkLst>
        </pc:picChg>
        <pc:cxnChg chg="add mod ord">
          <ac:chgData name="Deimonmi Nongrum [Chillibreeze]" userId="e937f645-8c95-42a9-a298-dfd645e9a76a" providerId="ADAL" clId="{750E9A50-ACEA-48D3-B2C6-355D5EC56876}" dt="2024-06-13T11:36:54.498" v="3706" actId="167"/>
          <ac:cxnSpMkLst>
            <pc:docMk/>
            <pc:sldMk cId="0" sldId="330"/>
            <ac:cxnSpMk id="3" creationId="{74470398-B9AF-2738-9B01-869F072C89DD}"/>
          </ac:cxnSpMkLst>
        </pc:cxnChg>
      </pc:sldChg>
      <pc:sldChg chg="addSp delSp modSp mod modClrScheme chgLayout">
        <pc:chgData name="Deimonmi Nongrum [Chillibreeze]" userId="e937f645-8c95-42a9-a298-dfd645e9a76a" providerId="ADAL" clId="{750E9A50-ACEA-48D3-B2C6-355D5EC56876}" dt="2024-06-13T12:04:30.252" v="4071" actId="20577"/>
        <pc:sldMkLst>
          <pc:docMk/>
          <pc:sldMk cId="0" sldId="331"/>
        </pc:sldMkLst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331"/>
            <ac:spMk id="2" creationId="{9E3FE8BD-43E4-44A1-A3E7-FCB720917A4B}"/>
          </ac:spMkLst>
        </pc:spChg>
        <pc:spChg chg="add del mod ord">
          <ac:chgData name="Deimonmi Nongrum [Chillibreeze]" userId="e937f645-8c95-42a9-a298-dfd645e9a76a" providerId="ADAL" clId="{750E9A50-ACEA-48D3-B2C6-355D5EC56876}" dt="2024-06-13T11:38:39.901" v="3732" actId="6264"/>
          <ac:spMkLst>
            <pc:docMk/>
            <pc:sldMk cId="0" sldId="331"/>
            <ac:spMk id="2" creationId="{CB800101-51DF-1E12-AAB7-BDF0100D1309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31"/>
            <ac:spMk id="3" creationId="{CC6220E3-2B56-D9BD-34F6-FB0CCAD24702}"/>
          </ac:spMkLst>
        </pc:spChg>
        <pc:spChg chg="add del mod">
          <ac:chgData name="Deimonmi Nongrum [Chillibreeze]" userId="e937f645-8c95-42a9-a298-dfd645e9a76a" providerId="ADAL" clId="{750E9A50-ACEA-48D3-B2C6-355D5EC56876}" dt="2024-06-13T11:38:39.901" v="3732" actId="6264"/>
          <ac:spMkLst>
            <pc:docMk/>
            <pc:sldMk cId="0" sldId="331"/>
            <ac:spMk id="4" creationId="{E0497EFB-0EC9-C718-6A72-0BDECEF02514}"/>
          </ac:spMkLst>
        </pc:spChg>
        <pc:spChg chg="add del mod ord">
          <ac:chgData name="Deimonmi Nongrum [Chillibreeze]" userId="e937f645-8c95-42a9-a298-dfd645e9a76a" providerId="ADAL" clId="{750E9A50-ACEA-48D3-B2C6-355D5EC56876}" dt="2024-06-13T11:38:40.077" v="3733" actId="6264"/>
          <ac:spMkLst>
            <pc:docMk/>
            <pc:sldMk cId="0" sldId="331"/>
            <ac:spMk id="5" creationId="{F3A0AFC9-1510-739A-3204-71CCD9A058B9}"/>
          </ac:spMkLst>
        </pc:spChg>
        <pc:spChg chg="add del mod">
          <ac:chgData name="Deimonmi Nongrum [Chillibreeze]" userId="e937f645-8c95-42a9-a298-dfd645e9a76a" providerId="ADAL" clId="{750E9A50-ACEA-48D3-B2C6-355D5EC56876}" dt="2024-06-13T11:38:40.077" v="3733" actId="6264"/>
          <ac:spMkLst>
            <pc:docMk/>
            <pc:sldMk cId="0" sldId="331"/>
            <ac:spMk id="6" creationId="{BAB4F468-0818-B8EB-381A-16A3523027A3}"/>
          </ac:spMkLst>
        </pc:spChg>
        <pc:spChg chg="add del mod ord">
          <ac:chgData name="Deimonmi Nongrum [Chillibreeze]" userId="e937f645-8c95-42a9-a298-dfd645e9a76a" providerId="ADAL" clId="{750E9A50-ACEA-48D3-B2C6-355D5EC56876}" dt="2024-06-13T11:39:44.896" v="3747" actId="700"/>
          <ac:spMkLst>
            <pc:docMk/>
            <pc:sldMk cId="0" sldId="331"/>
            <ac:spMk id="7" creationId="{5B24D271-AFB4-88AE-918E-B1F84A5EBB2E}"/>
          </ac:spMkLst>
        </pc:spChg>
        <pc:spChg chg="add del mod">
          <ac:chgData name="Deimonmi Nongrum [Chillibreeze]" userId="e937f645-8c95-42a9-a298-dfd645e9a76a" providerId="ADAL" clId="{750E9A50-ACEA-48D3-B2C6-355D5EC56876}" dt="2024-06-13T11:39:05.746" v="3741" actId="6264"/>
          <ac:spMkLst>
            <pc:docMk/>
            <pc:sldMk cId="0" sldId="331"/>
            <ac:spMk id="8" creationId="{91F9012E-3582-D484-5028-EC67BD1A1E99}"/>
          </ac:spMkLst>
        </pc:spChg>
        <pc:spChg chg="add del mod ord">
          <ac:chgData name="Deimonmi Nongrum [Chillibreeze]" userId="e937f645-8c95-42a9-a298-dfd645e9a76a" providerId="ADAL" clId="{750E9A50-ACEA-48D3-B2C6-355D5EC56876}" dt="2024-06-13T11:39:05.746" v="3741" actId="6264"/>
          <ac:spMkLst>
            <pc:docMk/>
            <pc:sldMk cId="0" sldId="331"/>
            <ac:spMk id="9" creationId="{36E1765F-955E-EF22-C57E-C39977E56A39}"/>
          </ac:spMkLst>
        </pc:spChg>
        <pc:spChg chg="add del mod">
          <ac:chgData name="Deimonmi Nongrum [Chillibreeze]" userId="e937f645-8c95-42a9-a298-dfd645e9a76a" providerId="ADAL" clId="{750E9A50-ACEA-48D3-B2C6-355D5EC56876}" dt="2024-06-13T11:39:05.063" v="3740" actId="6264"/>
          <ac:spMkLst>
            <pc:docMk/>
            <pc:sldMk cId="0" sldId="331"/>
            <ac:spMk id="10" creationId="{2E8E1585-4865-6D65-774B-55046EF2403F}"/>
          </ac:spMkLst>
        </pc:spChg>
        <pc:spChg chg="add del mod ord">
          <ac:chgData name="Deimonmi Nongrum [Chillibreeze]" userId="e937f645-8c95-42a9-a298-dfd645e9a76a" providerId="ADAL" clId="{750E9A50-ACEA-48D3-B2C6-355D5EC56876}" dt="2024-06-13T11:39:05.063" v="3740" actId="6264"/>
          <ac:spMkLst>
            <pc:docMk/>
            <pc:sldMk cId="0" sldId="331"/>
            <ac:spMk id="11" creationId="{F2CAD6A0-7EAB-E78B-1733-EFF33167AA63}"/>
          </ac:spMkLst>
        </pc:spChg>
        <pc:spChg chg="add del mod">
          <ac:chgData name="Deimonmi Nongrum [Chillibreeze]" userId="e937f645-8c95-42a9-a298-dfd645e9a76a" providerId="ADAL" clId="{750E9A50-ACEA-48D3-B2C6-355D5EC56876}" dt="2024-06-13T11:39:04.283" v="3739" actId="6264"/>
          <ac:spMkLst>
            <pc:docMk/>
            <pc:sldMk cId="0" sldId="331"/>
            <ac:spMk id="12" creationId="{EE6A6BBC-1C94-1019-38D9-55362628C230}"/>
          </ac:spMkLst>
        </pc:spChg>
        <pc:spChg chg="add del mod ord">
          <ac:chgData name="Deimonmi Nongrum [Chillibreeze]" userId="e937f645-8c95-42a9-a298-dfd645e9a76a" providerId="ADAL" clId="{750E9A50-ACEA-48D3-B2C6-355D5EC56876}" dt="2024-06-13T11:39:04.283" v="3739" actId="6264"/>
          <ac:spMkLst>
            <pc:docMk/>
            <pc:sldMk cId="0" sldId="331"/>
            <ac:spMk id="13" creationId="{C04AC746-5601-F34E-AA77-E74F50789A2D}"/>
          </ac:spMkLst>
        </pc:spChg>
        <pc:spChg chg="add del mod">
          <ac:chgData name="Deimonmi Nongrum [Chillibreeze]" userId="e937f645-8c95-42a9-a298-dfd645e9a76a" providerId="ADAL" clId="{750E9A50-ACEA-48D3-B2C6-355D5EC56876}" dt="2024-06-13T11:39:03.226" v="3738" actId="6264"/>
          <ac:spMkLst>
            <pc:docMk/>
            <pc:sldMk cId="0" sldId="331"/>
            <ac:spMk id="14" creationId="{5710FFD1-C40D-C94B-A1EA-69CB064998F4}"/>
          </ac:spMkLst>
        </pc:spChg>
        <pc:spChg chg="add del mod ord">
          <ac:chgData name="Deimonmi Nongrum [Chillibreeze]" userId="e937f645-8c95-42a9-a298-dfd645e9a76a" providerId="ADAL" clId="{750E9A50-ACEA-48D3-B2C6-355D5EC56876}" dt="2024-06-13T11:39:03.226" v="3738" actId="6264"/>
          <ac:spMkLst>
            <pc:docMk/>
            <pc:sldMk cId="0" sldId="331"/>
            <ac:spMk id="15" creationId="{CDD87897-C3F1-B285-B914-B0CA014AD217}"/>
          </ac:spMkLst>
        </pc:spChg>
        <pc:spChg chg="add del mod ord">
          <ac:chgData name="Deimonmi Nongrum [Chillibreeze]" userId="e937f645-8c95-42a9-a298-dfd645e9a76a" providerId="ADAL" clId="{750E9A50-ACEA-48D3-B2C6-355D5EC56876}" dt="2024-06-13T11:39:13.897" v="3743" actId="700"/>
          <ac:spMkLst>
            <pc:docMk/>
            <pc:sldMk cId="0" sldId="331"/>
            <ac:spMk id="16" creationId="{4C67AE94-AFAB-1DF5-4FC8-AEBA890D88BF}"/>
          </ac:spMkLst>
        </pc:spChg>
        <pc:spChg chg="add del mod">
          <ac:chgData name="Deimonmi Nongrum [Chillibreeze]" userId="e937f645-8c95-42a9-a298-dfd645e9a76a" providerId="ADAL" clId="{750E9A50-ACEA-48D3-B2C6-355D5EC56876}" dt="2024-06-13T11:39:44.896" v="3747" actId="700"/>
          <ac:spMkLst>
            <pc:docMk/>
            <pc:sldMk cId="0" sldId="331"/>
            <ac:spMk id="18" creationId="{DB0D58D1-7C8C-545F-658F-A26AE6D3E19B}"/>
          </ac:spMkLst>
        </pc:spChg>
        <pc:spChg chg="add mod ord">
          <ac:chgData name="Deimonmi Nongrum [Chillibreeze]" userId="e937f645-8c95-42a9-a298-dfd645e9a76a" providerId="ADAL" clId="{750E9A50-ACEA-48D3-B2C6-355D5EC56876}" dt="2024-06-13T12:04:30.252" v="4071" actId="20577"/>
          <ac:spMkLst>
            <pc:docMk/>
            <pc:sldMk cId="0" sldId="331"/>
            <ac:spMk id="19" creationId="{49FD5880-45A6-0BF0-14E7-1994E40AAD2F}"/>
          </ac:spMkLst>
        </pc:spChg>
        <pc:spChg chg="add mod ord">
          <ac:chgData name="Deimonmi Nongrum [Chillibreeze]" userId="e937f645-8c95-42a9-a298-dfd645e9a76a" providerId="ADAL" clId="{750E9A50-ACEA-48D3-B2C6-355D5EC56876}" dt="2024-06-13T11:44:37.766" v="3816"/>
          <ac:spMkLst>
            <pc:docMk/>
            <pc:sldMk cId="0" sldId="331"/>
            <ac:spMk id="22" creationId="{0C0B6294-F6DA-2CE9-2411-4DDE19FAB1C4}"/>
          </ac:spMkLst>
        </pc:spChg>
        <pc:spChg chg="add del mod">
          <ac:chgData name="Deimonmi Nongrum [Chillibreeze]" userId="e937f645-8c95-42a9-a298-dfd645e9a76a" providerId="ADAL" clId="{750E9A50-ACEA-48D3-B2C6-355D5EC56876}" dt="2024-06-13T11:41:04.887" v="3767" actId="478"/>
          <ac:spMkLst>
            <pc:docMk/>
            <pc:sldMk cId="0" sldId="331"/>
            <ac:spMk id="23" creationId="{647F511D-2653-2158-24C0-6E1648AC42BF}"/>
          </ac:spMkLst>
        </pc:spChg>
        <pc:spChg chg="add mod ord">
          <ac:chgData name="Deimonmi Nongrum [Chillibreeze]" userId="e937f645-8c95-42a9-a298-dfd645e9a76a" providerId="ADAL" clId="{750E9A50-ACEA-48D3-B2C6-355D5EC56876}" dt="2024-06-13T11:44:29.202" v="3807" actId="167"/>
          <ac:spMkLst>
            <pc:docMk/>
            <pc:sldMk cId="0" sldId="331"/>
            <ac:spMk id="25" creationId="{A04FC5CD-891B-831F-5AB5-41E9374B83F2}"/>
          </ac:spMkLst>
        </pc:spChg>
        <pc:spChg chg="add mod ord">
          <ac:chgData name="Deimonmi Nongrum [Chillibreeze]" userId="e937f645-8c95-42a9-a298-dfd645e9a76a" providerId="ADAL" clId="{750E9A50-ACEA-48D3-B2C6-355D5EC56876}" dt="2024-06-13T11:44:40.792" v="3820"/>
          <ac:spMkLst>
            <pc:docMk/>
            <pc:sldMk cId="0" sldId="331"/>
            <ac:spMk id="26" creationId="{AD665D66-F08F-FC7E-762D-FF7CA0885564}"/>
          </ac:spMkLst>
        </pc:spChg>
        <pc:spChg chg="add mod ord">
          <ac:chgData name="Deimonmi Nongrum [Chillibreeze]" userId="e937f645-8c95-42a9-a298-dfd645e9a76a" providerId="ADAL" clId="{750E9A50-ACEA-48D3-B2C6-355D5EC56876}" dt="2024-06-13T11:44:38.624" v="3817"/>
          <ac:spMkLst>
            <pc:docMk/>
            <pc:sldMk cId="0" sldId="331"/>
            <ac:spMk id="27" creationId="{B7F72C97-A1FF-6FFE-C72A-9B8FB1F960D3}"/>
          </ac:spMkLst>
        </pc:spChg>
        <pc:spChg chg="add mod ord">
          <ac:chgData name="Deimonmi Nongrum [Chillibreeze]" userId="e937f645-8c95-42a9-a298-dfd645e9a76a" providerId="ADAL" clId="{750E9A50-ACEA-48D3-B2C6-355D5EC56876}" dt="2024-06-13T11:44:43.194" v="3823"/>
          <ac:spMkLst>
            <pc:docMk/>
            <pc:sldMk cId="0" sldId="331"/>
            <ac:spMk id="28" creationId="{F8FFDFAB-5B24-3C80-1213-446E1CBD0256}"/>
          </ac:spMkLst>
        </pc:spChg>
        <pc:spChg chg="del mod ord">
          <ac:chgData name="Deimonmi Nongrum [Chillibreeze]" userId="e937f645-8c95-42a9-a298-dfd645e9a76a" providerId="ADAL" clId="{750E9A50-ACEA-48D3-B2C6-355D5EC56876}" dt="2024-06-13T11:39:41.397" v="3746" actId="478"/>
          <ac:spMkLst>
            <pc:docMk/>
            <pc:sldMk cId="0" sldId="331"/>
            <ac:spMk id="55" creationId="{0CA5BD7A-16A8-1B03-BA7A-6D3128807332}"/>
          </ac:spMkLst>
        </pc:spChg>
        <pc:spChg chg="mod ord">
          <ac:chgData name="Deimonmi Nongrum [Chillibreeze]" userId="e937f645-8c95-42a9-a298-dfd645e9a76a" providerId="ADAL" clId="{750E9A50-ACEA-48D3-B2C6-355D5EC56876}" dt="2024-06-13T11:44:29.202" v="3807" actId="167"/>
          <ac:spMkLst>
            <pc:docMk/>
            <pc:sldMk cId="0" sldId="331"/>
            <ac:spMk id="5553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44:29.202" v="3807" actId="167"/>
          <ac:spMkLst>
            <pc:docMk/>
            <pc:sldMk cId="0" sldId="331"/>
            <ac:spMk id="5554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44:29.202" v="3807" actId="167"/>
          <ac:spMkLst>
            <pc:docMk/>
            <pc:sldMk cId="0" sldId="331"/>
            <ac:spMk id="5555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44:29.202" v="3807" actId="167"/>
          <ac:spMkLst>
            <pc:docMk/>
            <pc:sldMk cId="0" sldId="331"/>
            <ac:spMk id="5578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44:29.202" v="3807" actId="167"/>
          <ac:spMkLst>
            <pc:docMk/>
            <pc:sldMk cId="0" sldId="331"/>
            <ac:spMk id="5579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44:29.202" v="3807" actId="167"/>
          <ac:spMkLst>
            <pc:docMk/>
            <pc:sldMk cId="0" sldId="331"/>
            <ac:spMk id="5580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44:29.202" v="3807" actId="167"/>
          <ac:spMkLst>
            <pc:docMk/>
            <pc:sldMk cId="0" sldId="331"/>
            <ac:spMk id="5581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44:29.202" v="3807" actId="167"/>
          <ac:spMkLst>
            <pc:docMk/>
            <pc:sldMk cId="0" sldId="331"/>
            <ac:spMk id="5582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44:29.202" v="3807" actId="167"/>
          <ac:spMkLst>
            <pc:docMk/>
            <pc:sldMk cId="0" sldId="331"/>
            <ac:spMk id="5583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44:39.305" v="3818"/>
          <ac:spMkLst>
            <pc:docMk/>
            <pc:sldMk cId="0" sldId="331"/>
            <ac:spMk id="5588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44:39.895" v="3819"/>
          <ac:spMkLst>
            <pc:docMk/>
            <pc:sldMk cId="0" sldId="331"/>
            <ac:spMk id="5589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44:29.202" v="3807" actId="167"/>
          <ac:spMkLst>
            <pc:docMk/>
            <pc:sldMk cId="0" sldId="331"/>
            <ac:spMk id="5590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44:41.366" v="3821"/>
          <ac:spMkLst>
            <pc:docMk/>
            <pc:sldMk cId="0" sldId="331"/>
            <ac:spMk id="5592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44:29.202" v="3807" actId="167"/>
          <ac:spMkLst>
            <pc:docMk/>
            <pc:sldMk cId="0" sldId="331"/>
            <ac:spMk id="5593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44:43.823" v="3824"/>
          <ac:spMkLst>
            <pc:docMk/>
            <pc:sldMk cId="0" sldId="331"/>
            <ac:spMk id="5595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44:29.202" v="3807" actId="167"/>
          <ac:spMkLst>
            <pc:docMk/>
            <pc:sldMk cId="0" sldId="331"/>
            <ac:spMk id="5596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44:41.954" v="3822"/>
          <ac:spMkLst>
            <pc:docMk/>
            <pc:sldMk cId="0" sldId="331"/>
            <ac:spMk id="5601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44:44.465" v="3825"/>
          <ac:spMkLst>
            <pc:docMk/>
            <pc:sldMk cId="0" sldId="331"/>
            <ac:spMk id="5605" creationId="{00000000-0000-0000-0000-000000000000}"/>
          </ac:spMkLst>
        </pc:spChg>
        <pc:grpChg chg="del">
          <ac:chgData name="Deimonmi Nongrum [Chillibreeze]" userId="e937f645-8c95-42a9-a298-dfd645e9a76a" providerId="ADAL" clId="{750E9A50-ACEA-48D3-B2C6-355D5EC56876}" dt="2024-06-13T11:31:16.216" v="3634" actId="478"/>
          <ac:grpSpMkLst>
            <pc:docMk/>
            <pc:sldMk cId="0" sldId="331"/>
            <ac:grpSpMk id="29" creationId="{7B66AD3D-F4CC-A722-E9FA-70B4FEBA1E4C}"/>
          </ac:grpSpMkLst>
        </pc:grpChg>
        <pc:grpChg chg="mod ord">
          <ac:chgData name="Deimonmi Nongrum [Chillibreeze]" userId="e937f645-8c95-42a9-a298-dfd645e9a76a" providerId="ADAL" clId="{750E9A50-ACEA-48D3-B2C6-355D5EC56876}" dt="2024-06-13T11:44:29.202" v="3807" actId="167"/>
          <ac:grpSpMkLst>
            <pc:docMk/>
            <pc:sldMk cId="0" sldId="331"/>
            <ac:grpSpMk id="5598" creationId="{00000000-0000-0000-0000-000000000000}"/>
          </ac:grpSpMkLst>
        </pc:grpChg>
        <pc:grpChg chg="mod ord">
          <ac:chgData name="Deimonmi Nongrum [Chillibreeze]" userId="e937f645-8c95-42a9-a298-dfd645e9a76a" providerId="ADAL" clId="{750E9A50-ACEA-48D3-B2C6-355D5EC56876}" dt="2024-06-13T11:44:29.202" v="3807" actId="167"/>
          <ac:grpSpMkLst>
            <pc:docMk/>
            <pc:sldMk cId="0" sldId="331"/>
            <ac:grpSpMk id="5602" creationId="{00000000-0000-0000-0000-000000000000}"/>
          </ac:grpSpMkLst>
        </pc:grpChg>
        <pc:grpChg chg="mod ord">
          <ac:chgData name="Deimonmi Nongrum [Chillibreeze]" userId="e937f645-8c95-42a9-a298-dfd645e9a76a" providerId="ADAL" clId="{750E9A50-ACEA-48D3-B2C6-355D5EC56876}" dt="2024-06-13T11:44:29.202" v="3807" actId="167"/>
          <ac:grpSpMkLst>
            <pc:docMk/>
            <pc:sldMk cId="0" sldId="331"/>
            <ac:grpSpMk id="5606" creationId="{00000000-0000-0000-0000-000000000000}"/>
          </ac:grpSpMkLst>
        </pc:grpChg>
        <pc:graphicFrameChg chg="del mod modVis">
          <ac:chgData name="Deimonmi Nongrum [Chillibreeze]" userId="e937f645-8c95-42a9-a298-dfd645e9a76a" providerId="ADAL" clId="{750E9A50-ACEA-48D3-B2C6-355D5EC56876}" dt="2024-06-13T11:44:52.685" v="3827" actId="478"/>
          <ac:graphicFrameMkLst>
            <pc:docMk/>
            <pc:sldMk cId="0" sldId="331"/>
            <ac:graphicFrameMk id="3" creationId="{DB32229E-C48B-F32F-5D55-35B126D9C846}"/>
          </ac:graphicFrameMkLst>
        </pc:graphicFrameChg>
        <pc:picChg chg="add mod ord">
          <ac:chgData name="Deimonmi Nongrum [Chillibreeze]" userId="e937f645-8c95-42a9-a298-dfd645e9a76a" providerId="ADAL" clId="{750E9A50-ACEA-48D3-B2C6-355D5EC56876}" dt="2024-06-13T11:44:36.506" v="3815"/>
          <ac:picMkLst>
            <pc:docMk/>
            <pc:sldMk cId="0" sldId="331"/>
            <ac:picMk id="21" creationId="{393E185E-2A1E-E7CE-0355-C179FACADE83}"/>
          </ac:picMkLst>
        </pc:picChg>
        <pc:picChg chg="add mod ord">
          <ac:chgData name="Deimonmi Nongrum [Chillibreeze]" userId="e937f645-8c95-42a9-a298-dfd645e9a76a" providerId="ADAL" clId="{750E9A50-ACEA-48D3-B2C6-355D5EC56876}" dt="2024-06-13T11:44:29.202" v="3807" actId="167"/>
          <ac:picMkLst>
            <pc:docMk/>
            <pc:sldMk cId="0" sldId="331"/>
            <ac:picMk id="24" creationId="{68F7E0D5-FC71-4A0B-1F5F-807A44EA1134}"/>
          </ac:picMkLst>
        </pc:picChg>
        <pc:cxnChg chg="add mod ord">
          <ac:chgData name="Deimonmi Nongrum [Chillibreeze]" userId="e937f645-8c95-42a9-a298-dfd645e9a76a" providerId="ADAL" clId="{750E9A50-ACEA-48D3-B2C6-355D5EC56876}" dt="2024-06-13T11:44:29.202" v="3807" actId="167"/>
          <ac:cxnSpMkLst>
            <pc:docMk/>
            <pc:sldMk cId="0" sldId="331"/>
            <ac:cxnSpMk id="20" creationId="{F4446AFD-1493-D1CC-6EF8-AF11BD2472E9}"/>
          </ac:cxnSpMkLst>
        </pc:cxnChg>
        <pc:cxnChg chg="mod ord">
          <ac:chgData name="Deimonmi Nongrum [Chillibreeze]" userId="e937f645-8c95-42a9-a298-dfd645e9a76a" providerId="ADAL" clId="{750E9A50-ACEA-48D3-B2C6-355D5EC56876}" dt="2024-06-13T11:44:29.202" v="3807" actId="167"/>
          <ac:cxnSpMkLst>
            <pc:docMk/>
            <pc:sldMk cId="0" sldId="331"/>
            <ac:cxnSpMk id="5584" creationId="{00000000-0000-0000-0000-000000000000}"/>
          </ac:cxnSpMkLst>
        </pc:cxnChg>
        <pc:cxnChg chg="mod ord">
          <ac:chgData name="Deimonmi Nongrum [Chillibreeze]" userId="e937f645-8c95-42a9-a298-dfd645e9a76a" providerId="ADAL" clId="{750E9A50-ACEA-48D3-B2C6-355D5EC56876}" dt="2024-06-13T11:44:29.202" v="3807" actId="167"/>
          <ac:cxnSpMkLst>
            <pc:docMk/>
            <pc:sldMk cId="0" sldId="331"/>
            <ac:cxnSpMk id="5585" creationId="{00000000-0000-0000-0000-000000000000}"/>
          </ac:cxnSpMkLst>
        </pc:cxnChg>
        <pc:cxnChg chg="mod ord">
          <ac:chgData name="Deimonmi Nongrum [Chillibreeze]" userId="e937f645-8c95-42a9-a298-dfd645e9a76a" providerId="ADAL" clId="{750E9A50-ACEA-48D3-B2C6-355D5EC56876}" dt="2024-06-13T11:44:29.202" v="3807" actId="167"/>
          <ac:cxnSpMkLst>
            <pc:docMk/>
            <pc:sldMk cId="0" sldId="331"/>
            <ac:cxnSpMk id="5586" creationId="{00000000-0000-0000-0000-000000000000}"/>
          </ac:cxnSpMkLst>
        </pc:cxnChg>
        <pc:cxnChg chg="mod ord">
          <ac:chgData name="Deimonmi Nongrum [Chillibreeze]" userId="e937f645-8c95-42a9-a298-dfd645e9a76a" providerId="ADAL" clId="{750E9A50-ACEA-48D3-B2C6-355D5EC56876}" dt="2024-06-13T11:44:29.202" v="3807" actId="167"/>
          <ac:cxnSpMkLst>
            <pc:docMk/>
            <pc:sldMk cId="0" sldId="331"/>
            <ac:cxnSpMk id="5591" creationId="{00000000-0000-0000-0000-000000000000}"/>
          </ac:cxnSpMkLst>
        </pc:cxnChg>
        <pc:cxnChg chg="mod ord">
          <ac:chgData name="Deimonmi Nongrum [Chillibreeze]" userId="e937f645-8c95-42a9-a298-dfd645e9a76a" providerId="ADAL" clId="{750E9A50-ACEA-48D3-B2C6-355D5EC56876}" dt="2024-06-13T11:44:29.202" v="3807" actId="167"/>
          <ac:cxnSpMkLst>
            <pc:docMk/>
            <pc:sldMk cId="0" sldId="331"/>
            <ac:cxnSpMk id="5594" creationId="{00000000-0000-0000-0000-000000000000}"/>
          </ac:cxnSpMkLst>
        </pc:cxnChg>
        <pc:cxnChg chg="mod ord">
          <ac:chgData name="Deimonmi Nongrum [Chillibreeze]" userId="e937f645-8c95-42a9-a298-dfd645e9a76a" providerId="ADAL" clId="{750E9A50-ACEA-48D3-B2C6-355D5EC56876}" dt="2024-06-13T11:44:29.202" v="3807" actId="167"/>
          <ac:cxnSpMkLst>
            <pc:docMk/>
            <pc:sldMk cId="0" sldId="331"/>
            <ac:cxnSpMk id="5597" creationId="{00000000-0000-0000-0000-000000000000}"/>
          </ac:cxnSpMkLst>
        </pc:cxnChg>
      </pc:sldChg>
      <pc:sldChg chg="addSp delSp modSp mod modClrScheme chgLayout">
        <pc:chgData name="Deimonmi Nongrum [Chillibreeze]" userId="e937f645-8c95-42a9-a298-dfd645e9a76a" providerId="ADAL" clId="{750E9A50-ACEA-48D3-B2C6-355D5EC56876}" dt="2024-06-13T11:49:59.815" v="3935" actId="179"/>
        <pc:sldMkLst>
          <pc:docMk/>
          <pc:sldMk cId="0" sldId="332"/>
        </pc:sldMkLst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332"/>
            <ac:spMk id="2" creationId="{11FC95B5-BE2D-8EBD-A13F-4C0CAB55CBB5}"/>
          </ac:spMkLst>
        </pc:spChg>
        <pc:spChg chg="add mod">
          <ac:chgData name="Deimonmi Nongrum [Chillibreeze]" userId="e937f645-8c95-42a9-a298-dfd645e9a76a" providerId="ADAL" clId="{750E9A50-ACEA-48D3-B2C6-355D5EC56876}" dt="2024-06-13T11:48:45.186" v="3929" actId="13244"/>
          <ac:spMkLst>
            <pc:docMk/>
            <pc:sldMk cId="0" sldId="332"/>
            <ac:spMk id="2" creationId="{315768F3-5C77-72EE-4681-51396E7C336E}"/>
          </ac:spMkLst>
        </pc:spChg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32"/>
            <ac:spMk id="2" creationId="{A5B268C4-DF99-EDF2-548A-4B5C5E173FE4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32"/>
            <ac:spMk id="3" creationId="{22ED89AE-B10A-E7E7-6803-6630AD7C605F}"/>
          </ac:spMkLst>
        </pc:spChg>
        <pc:spChg chg="mod ord">
          <ac:chgData name="Deimonmi Nongrum [Chillibreeze]" userId="e937f645-8c95-42a9-a298-dfd645e9a76a" providerId="ADAL" clId="{750E9A50-ACEA-48D3-B2C6-355D5EC56876}" dt="2024-06-13T11:45:41.651" v="3837" actId="167"/>
          <ac:spMkLst>
            <pc:docMk/>
            <pc:sldMk cId="0" sldId="332"/>
            <ac:spMk id="8" creationId="{B4E62F2B-7C71-DCFD-A58B-CDB26B26FDC0}"/>
          </ac:spMkLst>
        </pc:spChg>
        <pc:spChg chg="mod ord">
          <ac:chgData name="Deimonmi Nongrum [Chillibreeze]" userId="e937f645-8c95-42a9-a298-dfd645e9a76a" providerId="ADAL" clId="{750E9A50-ACEA-48D3-B2C6-355D5EC56876}" dt="2024-06-13T11:45:41.651" v="3837" actId="167"/>
          <ac:spMkLst>
            <pc:docMk/>
            <pc:sldMk cId="0" sldId="332"/>
            <ac:spMk id="9" creationId="{2E1448B3-1090-5D85-E052-C45D0E95763C}"/>
          </ac:spMkLst>
        </pc:spChg>
        <pc:spChg chg="mod ord">
          <ac:chgData name="Deimonmi Nongrum [Chillibreeze]" userId="e937f645-8c95-42a9-a298-dfd645e9a76a" providerId="ADAL" clId="{750E9A50-ACEA-48D3-B2C6-355D5EC56876}" dt="2024-06-13T11:45:41.651" v="3837" actId="167"/>
          <ac:spMkLst>
            <pc:docMk/>
            <pc:sldMk cId="0" sldId="332"/>
            <ac:spMk id="10" creationId="{EFFA300C-EEB9-8E3D-86E9-7A27EA730B4C}"/>
          </ac:spMkLst>
        </pc:spChg>
        <pc:spChg chg="ord">
          <ac:chgData name="Deimonmi Nongrum [Chillibreeze]" userId="e937f645-8c95-42a9-a298-dfd645e9a76a" providerId="ADAL" clId="{750E9A50-ACEA-48D3-B2C6-355D5EC56876}" dt="2024-06-13T11:46:24.642" v="3865" actId="166"/>
          <ac:spMkLst>
            <pc:docMk/>
            <pc:sldMk cId="0" sldId="332"/>
            <ac:spMk id="12" creationId="{D6E904ED-6C3B-4411-49D4-26501CA293E8}"/>
          </ac:spMkLst>
        </pc:spChg>
        <pc:spChg chg="mod ord">
          <ac:chgData name="Deimonmi Nongrum [Chillibreeze]" userId="e937f645-8c95-42a9-a298-dfd645e9a76a" providerId="ADAL" clId="{750E9A50-ACEA-48D3-B2C6-355D5EC56876}" dt="2024-06-13T11:47:34.893" v="3880"/>
          <ac:spMkLst>
            <pc:docMk/>
            <pc:sldMk cId="0" sldId="332"/>
            <ac:spMk id="13" creationId="{96A1525D-CA10-E546-6EBD-AA43C35C7BE5}"/>
          </ac:spMkLst>
        </pc:spChg>
        <pc:spChg chg="mod ord">
          <ac:chgData name="Deimonmi Nongrum [Chillibreeze]" userId="e937f645-8c95-42a9-a298-dfd645e9a76a" providerId="ADAL" clId="{750E9A50-ACEA-48D3-B2C6-355D5EC56876}" dt="2024-06-13T11:45:41.651" v="3837" actId="167"/>
          <ac:spMkLst>
            <pc:docMk/>
            <pc:sldMk cId="0" sldId="332"/>
            <ac:spMk id="5615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45:41.651" v="3837" actId="167"/>
          <ac:spMkLst>
            <pc:docMk/>
            <pc:sldMk cId="0" sldId="332"/>
            <ac:spMk id="5616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45:41.651" v="3837" actId="167"/>
          <ac:spMkLst>
            <pc:docMk/>
            <pc:sldMk cId="0" sldId="332"/>
            <ac:spMk id="5617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45:46.782" v="3841"/>
          <ac:spMkLst>
            <pc:docMk/>
            <pc:sldMk cId="0" sldId="332"/>
            <ac:spMk id="5618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3T11:49:11.599" v="3930" actId="962"/>
          <ac:spMkLst>
            <pc:docMk/>
            <pc:sldMk cId="0" sldId="332"/>
            <ac:spMk id="5619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3T11:49:11.599" v="3930" actId="962"/>
          <ac:spMkLst>
            <pc:docMk/>
            <pc:sldMk cId="0" sldId="332"/>
            <ac:spMk id="5620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46:13.068" v="3859"/>
          <ac:spMkLst>
            <pc:docMk/>
            <pc:sldMk cId="0" sldId="332"/>
            <ac:spMk id="5621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3T11:49:11.599" v="3930" actId="962"/>
          <ac:spMkLst>
            <pc:docMk/>
            <pc:sldMk cId="0" sldId="332"/>
            <ac:spMk id="5622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47:31.531" v="3878"/>
          <ac:spMkLst>
            <pc:docMk/>
            <pc:sldMk cId="0" sldId="332"/>
            <ac:spMk id="5623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3T11:49:11.599" v="3930" actId="962"/>
          <ac:spMkLst>
            <pc:docMk/>
            <pc:sldMk cId="0" sldId="332"/>
            <ac:spMk id="5624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3T11:49:11.599" v="3930" actId="962"/>
          <ac:spMkLst>
            <pc:docMk/>
            <pc:sldMk cId="0" sldId="332"/>
            <ac:spMk id="5625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3T11:49:11.599" v="3930" actId="962"/>
          <ac:spMkLst>
            <pc:docMk/>
            <pc:sldMk cId="0" sldId="332"/>
            <ac:spMk id="5626" creationId="{00000000-0000-0000-0000-000000000000}"/>
          </ac:spMkLst>
        </pc:spChg>
        <pc:spChg chg="ord">
          <ac:chgData name="Deimonmi Nongrum [Chillibreeze]" userId="e937f645-8c95-42a9-a298-dfd645e9a76a" providerId="ADAL" clId="{750E9A50-ACEA-48D3-B2C6-355D5EC56876}" dt="2024-06-13T11:45:47.529" v="3842"/>
          <ac:spMkLst>
            <pc:docMk/>
            <pc:sldMk cId="0" sldId="332"/>
            <ac:spMk id="5627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46:19.827" v="3864" actId="166"/>
          <ac:spMkLst>
            <pc:docMk/>
            <pc:sldMk cId="0" sldId="332"/>
            <ac:spMk id="5628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47:33.181" v="3879"/>
          <ac:spMkLst>
            <pc:docMk/>
            <pc:sldMk cId="0" sldId="332"/>
            <ac:spMk id="5629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45:51.855" v="3846" actId="1076"/>
          <ac:spMkLst>
            <pc:docMk/>
            <pc:sldMk cId="0" sldId="332"/>
            <ac:spMk id="5630" creationId="{00000000-0000-0000-0000-000000000000}"/>
          </ac:spMkLst>
        </pc:spChg>
        <pc:spChg chg="ord">
          <ac:chgData name="Deimonmi Nongrum [Chillibreeze]" userId="e937f645-8c95-42a9-a298-dfd645e9a76a" providerId="ADAL" clId="{750E9A50-ACEA-48D3-B2C6-355D5EC56876}" dt="2024-06-13T11:46:00.570" v="3853"/>
          <ac:spMkLst>
            <pc:docMk/>
            <pc:sldMk cId="0" sldId="332"/>
            <ac:spMk id="5631" creationId="{00000000-0000-0000-0000-000000000000}"/>
          </ac:spMkLst>
        </pc:spChg>
        <pc:spChg chg="ord">
          <ac:chgData name="Deimonmi Nongrum [Chillibreeze]" userId="e937f645-8c95-42a9-a298-dfd645e9a76a" providerId="ADAL" clId="{750E9A50-ACEA-48D3-B2C6-355D5EC56876}" dt="2024-06-13T11:46:03.895" v="3854"/>
          <ac:spMkLst>
            <pc:docMk/>
            <pc:sldMk cId="0" sldId="332"/>
            <ac:spMk id="5632" creationId="{00000000-0000-0000-0000-000000000000}"/>
          </ac:spMkLst>
        </pc:spChg>
        <pc:spChg chg="ord">
          <ac:chgData name="Deimonmi Nongrum [Chillibreeze]" userId="e937f645-8c95-42a9-a298-dfd645e9a76a" providerId="ADAL" clId="{750E9A50-ACEA-48D3-B2C6-355D5EC56876}" dt="2024-06-13T11:46:05.803" v="3855"/>
          <ac:spMkLst>
            <pc:docMk/>
            <pc:sldMk cId="0" sldId="332"/>
            <ac:spMk id="5633" creationId="{00000000-0000-0000-0000-000000000000}"/>
          </ac:spMkLst>
        </pc:spChg>
        <pc:spChg chg="ord">
          <ac:chgData name="Deimonmi Nongrum [Chillibreeze]" userId="e937f645-8c95-42a9-a298-dfd645e9a76a" providerId="ADAL" clId="{750E9A50-ACEA-48D3-B2C6-355D5EC56876}" dt="2024-06-13T11:46:07.494" v="3856"/>
          <ac:spMkLst>
            <pc:docMk/>
            <pc:sldMk cId="0" sldId="332"/>
            <ac:spMk id="5634" creationId="{00000000-0000-0000-0000-000000000000}"/>
          </ac:spMkLst>
        </pc:spChg>
        <pc:spChg chg="ord">
          <ac:chgData name="Deimonmi Nongrum [Chillibreeze]" userId="e937f645-8c95-42a9-a298-dfd645e9a76a" providerId="ADAL" clId="{750E9A50-ACEA-48D3-B2C6-355D5EC56876}" dt="2024-06-13T11:46:10.035" v="3857"/>
          <ac:spMkLst>
            <pc:docMk/>
            <pc:sldMk cId="0" sldId="332"/>
            <ac:spMk id="5635" creationId="{00000000-0000-0000-0000-000000000000}"/>
          </ac:spMkLst>
        </pc:spChg>
        <pc:spChg chg="ord">
          <ac:chgData name="Deimonmi Nongrum [Chillibreeze]" userId="e937f645-8c95-42a9-a298-dfd645e9a76a" providerId="ADAL" clId="{750E9A50-ACEA-48D3-B2C6-355D5EC56876}" dt="2024-06-13T11:46:33.296" v="3866"/>
          <ac:spMkLst>
            <pc:docMk/>
            <pc:sldMk cId="0" sldId="332"/>
            <ac:spMk id="5637" creationId="{00000000-0000-0000-0000-000000000000}"/>
          </ac:spMkLst>
        </pc:spChg>
        <pc:spChg chg="ord">
          <ac:chgData name="Deimonmi Nongrum [Chillibreeze]" userId="e937f645-8c95-42a9-a298-dfd645e9a76a" providerId="ADAL" clId="{750E9A50-ACEA-48D3-B2C6-355D5EC56876}" dt="2024-06-13T11:46:36.280" v="3867"/>
          <ac:spMkLst>
            <pc:docMk/>
            <pc:sldMk cId="0" sldId="332"/>
            <ac:spMk id="5638" creationId="{00000000-0000-0000-0000-000000000000}"/>
          </ac:spMkLst>
        </pc:spChg>
        <pc:spChg chg="ord">
          <ac:chgData name="Deimonmi Nongrum [Chillibreeze]" userId="e937f645-8c95-42a9-a298-dfd645e9a76a" providerId="ADAL" clId="{750E9A50-ACEA-48D3-B2C6-355D5EC56876}" dt="2024-06-13T11:46:38.944" v="3868"/>
          <ac:spMkLst>
            <pc:docMk/>
            <pc:sldMk cId="0" sldId="332"/>
            <ac:spMk id="5639" creationId="{00000000-0000-0000-0000-000000000000}"/>
          </ac:spMkLst>
        </pc:spChg>
        <pc:spChg chg="ord">
          <ac:chgData name="Deimonmi Nongrum [Chillibreeze]" userId="e937f645-8c95-42a9-a298-dfd645e9a76a" providerId="ADAL" clId="{750E9A50-ACEA-48D3-B2C6-355D5EC56876}" dt="2024-06-13T11:46:41.603" v="3869"/>
          <ac:spMkLst>
            <pc:docMk/>
            <pc:sldMk cId="0" sldId="332"/>
            <ac:spMk id="5640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49:23.715" v="3931" actId="207"/>
          <ac:spMkLst>
            <pc:docMk/>
            <pc:sldMk cId="0" sldId="332"/>
            <ac:spMk id="5641" creationId="{00000000-0000-0000-0000-000000000000}"/>
          </ac:spMkLst>
        </pc:spChg>
        <pc:spChg chg="ord">
          <ac:chgData name="Deimonmi Nongrum [Chillibreeze]" userId="e937f645-8c95-42a9-a298-dfd645e9a76a" providerId="ADAL" clId="{750E9A50-ACEA-48D3-B2C6-355D5EC56876}" dt="2024-06-13T11:46:45.389" v="3870"/>
          <ac:spMkLst>
            <pc:docMk/>
            <pc:sldMk cId="0" sldId="332"/>
            <ac:spMk id="5642" creationId="{00000000-0000-0000-0000-000000000000}"/>
          </ac:spMkLst>
        </pc:spChg>
        <pc:spChg chg="ord">
          <ac:chgData name="Deimonmi Nongrum [Chillibreeze]" userId="e937f645-8c95-42a9-a298-dfd645e9a76a" providerId="ADAL" clId="{750E9A50-ACEA-48D3-B2C6-355D5EC56876}" dt="2024-06-13T11:47:49.731" v="3886"/>
          <ac:spMkLst>
            <pc:docMk/>
            <pc:sldMk cId="0" sldId="332"/>
            <ac:spMk id="5644" creationId="{00000000-0000-0000-0000-000000000000}"/>
          </ac:spMkLst>
        </pc:spChg>
        <pc:spChg chg="ord">
          <ac:chgData name="Deimonmi Nongrum [Chillibreeze]" userId="e937f645-8c95-42a9-a298-dfd645e9a76a" providerId="ADAL" clId="{750E9A50-ACEA-48D3-B2C6-355D5EC56876}" dt="2024-06-13T11:47:51.757" v="3887"/>
          <ac:spMkLst>
            <pc:docMk/>
            <pc:sldMk cId="0" sldId="332"/>
            <ac:spMk id="5645" creationId="{00000000-0000-0000-0000-000000000000}"/>
          </ac:spMkLst>
        </pc:spChg>
        <pc:spChg chg="ord">
          <ac:chgData name="Deimonmi Nongrum [Chillibreeze]" userId="e937f645-8c95-42a9-a298-dfd645e9a76a" providerId="ADAL" clId="{750E9A50-ACEA-48D3-B2C6-355D5EC56876}" dt="2024-06-13T11:47:53.533" v="3888"/>
          <ac:spMkLst>
            <pc:docMk/>
            <pc:sldMk cId="0" sldId="332"/>
            <ac:spMk id="5646" creationId="{00000000-0000-0000-0000-000000000000}"/>
          </ac:spMkLst>
        </pc:spChg>
        <pc:spChg chg="ord">
          <ac:chgData name="Deimonmi Nongrum [Chillibreeze]" userId="e937f645-8c95-42a9-a298-dfd645e9a76a" providerId="ADAL" clId="{750E9A50-ACEA-48D3-B2C6-355D5EC56876}" dt="2024-06-13T11:47:55.453" v="3889"/>
          <ac:spMkLst>
            <pc:docMk/>
            <pc:sldMk cId="0" sldId="332"/>
            <ac:spMk id="5647" creationId="{00000000-0000-0000-0000-000000000000}"/>
          </ac:spMkLst>
        </pc:spChg>
        <pc:spChg chg="ord">
          <ac:chgData name="Deimonmi Nongrum [Chillibreeze]" userId="e937f645-8c95-42a9-a298-dfd645e9a76a" providerId="ADAL" clId="{750E9A50-ACEA-48D3-B2C6-355D5EC56876}" dt="2024-06-13T11:47:58.764" v="3891"/>
          <ac:spMkLst>
            <pc:docMk/>
            <pc:sldMk cId="0" sldId="332"/>
            <ac:spMk id="5648" creationId="{00000000-0000-0000-0000-000000000000}"/>
          </ac:spMkLst>
        </pc:spChg>
        <pc:spChg chg="ord">
          <ac:chgData name="Deimonmi Nongrum [Chillibreeze]" userId="e937f645-8c95-42a9-a298-dfd645e9a76a" providerId="ADAL" clId="{750E9A50-ACEA-48D3-B2C6-355D5EC56876}" dt="2024-06-13T11:47:57.100" v="3890"/>
          <ac:spMkLst>
            <pc:docMk/>
            <pc:sldMk cId="0" sldId="332"/>
            <ac:spMk id="5649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49:54.761" v="3933" actId="179"/>
          <ac:spMkLst>
            <pc:docMk/>
            <pc:sldMk cId="0" sldId="332"/>
            <ac:spMk id="5650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49:57.080" v="3934" actId="179"/>
          <ac:spMkLst>
            <pc:docMk/>
            <pc:sldMk cId="0" sldId="332"/>
            <ac:spMk id="5652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49:59.815" v="3935" actId="179"/>
          <ac:spMkLst>
            <pc:docMk/>
            <pc:sldMk cId="0" sldId="332"/>
            <ac:spMk id="5654" creationId="{00000000-0000-0000-0000-000000000000}"/>
          </ac:spMkLst>
        </pc:spChg>
        <pc:graphicFrameChg chg="del mod modVis">
          <ac:chgData name="Deimonmi Nongrum [Chillibreeze]" userId="e937f645-8c95-42a9-a298-dfd645e9a76a" providerId="ADAL" clId="{750E9A50-ACEA-48D3-B2C6-355D5EC56876}" dt="2024-06-13T11:48:10.984" v="3895" actId="478"/>
          <ac:graphicFrameMkLst>
            <pc:docMk/>
            <pc:sldMk cId="0" sldId="332"/>
            <ac:graphicFrameMk id="3" creationId="{3C05C607-8783-9EC0-DE4F-DC71FAEF0823}"/>
          </ac:graphicFrameMkLst>
        </pc:graphicFrameChg>
        <pc:picChg chg="mod ord modVis">
          <ac:chgData name="Deimonmi Nongrum [Chillibreeze]" userId="e937f645-8c95-42a9-a298-dfd645e9a76a" providerId="ADAL" clId="{750E9A50-ACEA-48D3-B2C6-355D5EC56876}" dt="2024-06-13T11:48:05.695" v="3894" actId="14429"/>
          <ac:picMkLst>
            <pc:docMk/>
            <pc:sldMk cId="0" sldId="332"/>
            <ac:picMk id="14" creationId="{6ADC5EE6-73AE-5BB5-9235-595990433E91}"/>
          </ac:picMkLst>
        </pc:picChg>
        <pc:picChg chg="mod ord">
          <ac:chgData name="Deimonmi Nongrum [Chillibreeze]" userId="e937f645-8c95-42a9-a298-dfd645e9a76a" providerId="ADAL" clId="{750E9A50-ACEA-48D3-B2C6-355D5EC56876}" dt="2024-06-13T11:47:40.463" v="3881" actId="1076"/>
          <ac:picMkLst>
            <pc:docMk/>
            <pc:sldMk cId="0" sldId="332"/>
            <ac:picMk id="15" creationId="{6C2FFBDE-02A4-169F-44CC-89712B2FF06A}"/>
          </ac:picMkLst>
        </pc:picChg>
      </pc:sldChg>
      <pc:sldChg chg="addSp delSp modSp mod modClrScheme chgLayout">
        <pc:chgData name="Deimonmi Nongrum [Chillibreeze]" userId="e937f645-8c95-42a9-a298-dfd645e9a76a" providerId="ADAL" clId="{750E9A50-ACEA-48D3-B2C6-355D5EC56876}" dt="2024-06-13T14:31:31.994" v="7318" actId="207"/>
        <pc:sldMkLst>
          <pc:docMk/>
          <pc:sldMk cId="0" sldId="333"/>
        </pc:sldMkLst>
        <pc:spChg chg="mod">
          <ac:chgData name="Deimonmi Nongrum [Chillibreeze]" userId="e937f645-8c95-42a9-a298-dfd645e9a76a" providerId="ADAL" clId="{750E9A50-ACEA-48D3-B2C6-355D5EC56876}" dt="2024-06-13T11:50:11.962" v="3938" actId="167"/>
          <ac:spMkLst>
            <pc:docMk/>
            <pc:sldMk cId="0" sldId="333"/>
            <ac:spMk id="3" creationId="{66B5A1F8-1017-39DD-8D08-D16FE269C50F}"/>
          </ac:spMkLst>
        </pc:spChg>
        <pc:spChg chg="mod">
          <ac:chgData name="Deimonmi Nongrum [Chillibreeze]" userId="e937f645-8c95-42a9-a298-dfd645e9a76a" providerId="ADAL" clId="{750E9A50-ACEA-48D3-B2C6-355D5EC56876}" dt="2024-06-13T11:50:11.962" v="3938" actId="167"/>
          <ac:spMkLst>
            <pc:docMk/>
            <pc:sldMk cId="0" sldId="333"/>
            <ac:spMk id="4" creationId="{58588D58-E537-FF2F-8B3F-F0E1307DBD1B}"/>
          </ac:spMkLst>
        </pc:spChg>
        <pc:spChg chg="mod">
          <ac:chgData name="Deimonmi Nongrum [Chillibreeze]" userId="e937f645-8c95-42a9-a298-dfd645e9a76a" providerId="ADAL" clId="{750E9A50-ACEA-48D3-B2C6-355D5EC56876}" dt="2024-06-13T11:50:11.962" v="3938" actId="167"/>
          <ac:spMkLst>
            <pc:docMk/>
            <pc:sldMk cId="0" sldId="333"/>
            <ac:spMk id="5" creationId="{92A99131-5500-67A8-635B-439C5D33D547}"/>
          </ac:spMkLst>
        </pc:spChg>
        <pc:spChg chg="mod">
          <ac:chgData name="Deimonmi Nongrum [Chillibreeze]" userId="e937f645-8c95-42a9-a298-dfd645e9a76a" providerId="ADAL" clId="{750E9A50-ACEA-48D3-B2C6-355D5EC56876}" dt="2024-06-13T13:43:09.157" v="6230" actId="207"/>
          <ac:spMkLst>
            <pc:docMk/>
            <pc:sldMk cId="0" sldId="333"/>
            <ac:spMk id="7" creationId="{23DA2F4A-C527-54CE-2FAC-4C08B30F5497}"/>
          </ac:spMkLst>
        </pc:spChg>
        <pc:spChg chg="mod">
          <ac:chgData name="Deimonmi Nongrum [Chillibreeze]" userId="e937f645-8c95-42a9-a298-dfd645e9a76a" providerId="ADAL" clId="{750E9A50-ACEA-48D3-B2C6-355D5EC56876}" dt="2024-06-13T13:43:09.157" v="6230" actId="207"/>
          <ac:spMkLst>
            <pc:docMk/>
            <pc:sldMk cId="0" sldId="333"/>
            <ac:spMk id="8" creationId="{BCD2C453-DEF3-A929-7291-2D650C769B6A}"/>
          </ac:spMkLst>
        </pc:spChg>
        <pc:spChg chg="del">
          <ac:chgData name="Deimonmi Nongrum [Chillibreeze]" userId="e937f645-8c95-42a9-a298-dfd645e9a76a" providerId="ADAL" clId="{750E9A50-ACEA-48D3-B2C6-355D5EC56876}" dt="2024-06-13T11:31:28.080" v="3635" actId="478"/>
          <ac:spMkLst>
            <pc:docMk/>
            <pc:sldMk cId="0" sldId="333"/>
            <ac:spMk id="9" creationId="{C80243C7-9C59-A648-BCD9-8E7F4637F98B}"/>
          </ac:spMkLst>
        </pc:spChg>
        <pc:spChg chg="del mod">
          <ac:chgData name="Deimonmi Nongrum [Chillibreeze]" userId="e937f645-8c95-42a9-a298-dfd645e9a76a" providerId="ADAL" clId="{750E9A50-ACEA-48D3-B2C6-355D5EC56876}" dt="2024-06-13T11:31:38.451" v="3638" actId="6264"/>
          <ac:spMkLst>
            <pc:docMk/>
            <pc:sldMk cId="0" sldId="333"/>
            <ac:spMk id="12" creationId="{F5F16749-375D-C1A6-DF95-A21FC54A2B0E}"/>
          </ac:spMkLst>
        </pc:spChg>
        <pc:spChg chg="add del mod ord">
          <ac:chgData name="Deimonmi Nongrum [Chillibreeze]" userId="e937f645-8c95-42a9-a298-dfd645e9a76a" providerId="ADAL" clId="{750E9A50-ACEA-48D3-B2C6-355D5EC56876}" dt="2024-06-13T11:31:38.643" v="3639" actId="6264"/>
          <ac:spMkLst>
            <pc:docMk/>
            <pc:sldMk cId="0" sldId="333"/>
            <ac:spMk id="13" creationId="{FFF9B0D0-CB30-BA18-065C-93B786549F29}"/>
          </ac:spMkLst>
        </pc:spChg>
        <pc:spChg chg="add del mod ord">
          <ac:chgData name="Deimonmi Nongrum [Chillibreeze]" userId="e937f645-8c95-42a9-a298-dfd645e9a76a" providerId="ADAL" clId="{750E9A50-ACEA-48D3-B2C6-355D5EC56876}" dt="2024-06-13T11:31:38.826" v="3640" actId="6264"/>
          <ac:spMkLst>
            <pc:docMk/>
            <pc:sldMk cId="0" sldId="333"/>
            <ac:spMk id="14" creationId="{82A32AB0-AE64-D85C-9632-4432BAC28EC0}"/>
          </ac:spMkLst>
        </pc:spChg>
        <pc:spChg chg="add del mod ord">
          <ac:chgData name="Deimonmi Nongrum [Chillibreeze]" userId="e937f645-8c95-42a9-a298-dfd645e9a76a" providerId="ADAL" clId="{750E9A50-ACEA-48D3-B2C6-355D5EC56876}" dt="2024-06-13T11:31:39.002" v="3641" actId="6264"/>
          <ac:spMkLst>
            <pc:docMk/>
            <pc:sldMk cId="0" sldId="333"/>
            <ac:spMk id="17" creationId="{D8499D2B-3D64-E515-F70B-F4EC9A3345C9}"/>
          </ac:spMkLst>
        </pc:spChg>
        <pc:spChg chg="mod">
          <ac:chgData name="Deimonmi Nongrum [Chillibreeze]" userId="e937f645-8c95-42a9-a298-dfd645e9a76a" providerId="ADAL" clId="{750E9A50-ACEA-48D3-B2C6-355D5EC56876}" dt="2024-06-13T11:50:17.484" v="3945"/>
          <ac:spMkLst>
            <pc:docMk/>
            <pc:sldMk cId="0" sldId="333"/>
            <ac:spMk id="37" creationId="{62641477-9C31-4810-C34C-35A67A6E7FF7}"/>
          </ac:spMkLst>
        </pc:spChg>
        <pc:spChg chg="add del mod ord">
          <ac:chgData name="Deimonmi Nongrum [Chillibreeze]" userId="e937f645-8c95-42a9-a298-dfd645e9a76a" providerId="ADAL" clId="{750E9A50-ACEA-48D3-B2C6-355D5EC56876}" dt="2024-06-13T11:31:39.178" v="3642" actId="6264"/>
          <ac:spMkLst>
            <pc:docMk/>
            <pc:sldMk cId="0" sldId="333"/>
            <ac:spMk id="38" creationId="{85CD710A-FD2A-8947-CA32-B336E8B39B07}"/>
          </ac:spMkLst>
        </pc:spChg>
        <pc:spChg chg="mod">
          <ac:chgData name="Deimonmi Nongrum [Chillibreeze]" userId="e937f645-8c95-42a9-a298-dfd645e9a76a" providerId="ADAL" clId="{750E9A50-ACEA-48D3-B2C6-355D5EC56876}" dt="2024-06-13T14:31:31.994" v="7318" actId="207"/>
          <ac:spMkLst>
            <pc:docMk/>
            <pc:sldMk cId="0" sldId="333"/>
            <ac:spMk id="39" creationId="{602A9E5D-35EE-24B7-6362-1AB667D207F7}"/>
          </ac:spMkLst>
        </pc:spChg>
        <pc:spChg chg="add del mod ord">
          <ac:chgData name="Deimonmi Nongrum [Chillibreeze]" userId="e937f645-8c95-42a9-a298-dfd645e9a76a" providerId="ADAL" clId="{750E9A50-ACEA-48D3-B2C6-355D5EC56876}" dt="2024-06-13T11:31:39.394" v="3643" actId="6264"/>
          <ac:spMkLst>
            <pc:docMk/>
            <pc:sldMk cId="0" sldId="333"/>
            <ac:spMk id="41" creationId="{07567C9D-D246-04A9-FCBA-8ED333ABDAFF}"/>
          </ac:spMkLst>
        </pc:spChg>
        <pc:spChg chg="add del mod ord">
          <ac:chgData name="Deimonmi Nongrum [Chillibreeze]" userId="e937f645-8c95-42a9-a298-dfd645e9a76a" providerId="ADAL" clId="{750E9A50-ACEA-48D3-B2C6-355D5EC56876}" dt="2024-06-13T11:31:39.514" v="3644" actId="6264"/>
          <ac:spMkLst>
            <pc:docMk/>
            <pc:sldMk cId="0" sldId="333"/>
            <ac:spMk id="42" creationId="{44245960-CAEC-7EAF-1764-E36EB8A00BE6}"/>
          </ac:spMkLst>
        </pc:spChg>
        <pc:spChg chg="add mod ord">
          <ac:chgData name="Deimonmi Nongrum [Chillibreeze]" userId="e937f645-8c95-42a9-a298-dfd645e9a76a" providerId="ADAL" clId="{750E9A50-ACEA-48D3-B2C6-355D5EC56876}" dt="2024-06-13T12:06:05.643" v="4083" actId="20577"/>
          <ac:spMkLst>
            <pc:docMk/>
            <pc:sldMk cId="0" sldId="333"/>
            <ac:spMk id="43" creationId="{F54E7F15-0F26-A89E-AE1B-658EE8768518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33"/>
            <ac:spMk id="5661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33"/>
            <ac:spMk id="5683" creationId="{00000000-0000-0000-0000-000000000000}"/>
          </ac:spMkLst>
        </pc:spChg>
        <pc:grpChg chg="mod">
          <ac:chgData name="Deimonmi Nongrum [Chillibreeze]" userId="e937f645-8c95-42a9-a298-dfd645e9a76a" providerId="ADAL" clId="{750E9A50-ACEA-48D3-B2C6-355D5EC56876}" dt="2024-06-13T13:43:09.157" v="6230" actId="207"/>
          <ac:grpSpMkLst>
            <pc:docMk/>
            <pc:sldMk cId="0" sldId="333"/>
            <ac:grpSpMk id="6" creationId="{C061FE68-6384-3508-5B6A-B657972FEC97}"/>
          </ac:grpSpMkLst>
        </pc:grpChg>
        <pc:grpChg chg="mod">
          <ac:chgData name="Deimonmi Nongrum [Chillibreeze]" userId="e937f645-8c95-42a9-a298-dfd645e9a76a" providerId="ADAL" clId="{750E9A50-ACEA-48D3-B2C6-355D5EC56876}" dt="2024-06-13T11:50:11.962" v="3938" actId="167"/>
          <ac:grpSpMkLst>
            <pc:docMk/>
            <pc:sldMk cId="0" sldId="333"/>
            <ac:grpSpMk id="10" creationId="{954DE6EE-EB60-37A9-775B-412D515F3313}"/>
          </ac:grpSpMkLst>
        </pc:grpChg>
        <pc:grpChg chg="mod">
          <ac:chgData name="Deimonmi Nongrum [Chillibreeze]" userId="e937f645-8c95-42a9-a298-dfd645e9a76a" providerId="ADAL" clId="{750E9A50-ACEA-48D3-B2C6-355D5EC56876}" dt="2024-06-13T13:14:25.560" v="6203" actId="962"/>
          <ac:grpSpMkLst>
            <pc:docMk/>
            <pc:sldMk cId="0" sldId="333"/>
            <ac:grpSpMk id="18" creationId="{472502EA-2CE1-324B-922A-A9EC26D055A8}"/>
          </ac:grpSpMkLst>
        </pc:grpChg>
        <pc:graphicFrameChg chg="del mod">
          <ac:chgData name="Deimonmi Nongrum [Chillibreeze]" userId="e937f645-8c95-42a9-a298-dfd645e9a76a" providerId="ADAL" clId="{750E9A50-ACEA-48D3-B2C6-355D5EC56876}" dt="2024-06-13T11:50:25.902" v="3948" actId="478"/>
          <ac:graphicFrameMkLst>
            <pc:docMk/>
            <pc:sldMk cId="0" sldId="333"/>
            <ac:graphicFrameMk id="2" creationId="{EF4EDFA3-7321-C153-2058-9119CFE683F1}"/>
          </ac:graphicFrameMkLst>
        </pc:graphicFrameChg>
        <pc:picChg chg="mod">
          <ac:chgData name="Deimonmi Nongrum [Chillibreeze]" userId="e937f645-8c95-42a9-a298-dfd645e9a76a" providerId="ADAL" clId="{750E9A50-ACEA-48D3-B2C6-355D5EC56876}" dt="2024-06-13T11:50:11.962" v="3938" actId="167"/>
          <ac:picMkLst>
            <pc:docMk/>
            <pc:sldMk cId="0" sldId="333"/>
            <ac:picMk id="40" creationId="{A2EC0780-4DD6-F831-F823-8395F33DCD5C}"/>
          </ac:picMkLst>
        </pc:picChg>
      </pc:sldChg>
      <pc:sldChg chg="addSp delSp modSp mod modClrScheme chgLayout">
        <pc:chgData name="Deimonmi Nongrum [Chillibreeze]" userId="e937f645-8c95-42a9-a298-dfd645e9a76a" providerId="ADAL" clId="{750E9A50-ACEA-48D3-B2C6-355D5EC56876}" dt="2024-06-12T09:43:22.507" v="153" actId="700"/>
        <pc:sldMkLst>
          <pc:docMk/>
          <pc:sldMk cId="0" sldId="334"/>
        </pc:sldMkLst>
        <pc:spChg chg="add del 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334"/>
            <ac:spMk id="2" creationId="{2F6384F4-4226-1673-77D9-E1FB59F95E63}"/>
          </ac:spMkLst>
        </pc:spChg>
        <pc:spChg chg="add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34"/>
            <ac:spMk id="2" creationId="{49FE86DB-1789-AB82-20EB-7C7BE908C3D8}"/>
          </ac:spMkLst>
        </pc:spChg>
        <pc:spChg chg="add del mod ord">
          <ac:chgData name="Deimonmi Nongrum [Chillibreeze]" userId="e937f645-8c95-42a9-a298-dfd645e9a76a" providerId="ADAL" clId="{750E9A50-ACEA-48D3-B2C6-355D5EC56876}" dt="2024-06-12T09:43:22.507" v="153" actId="700"/>
          <ac:spMkLst>
            <pc:docMk/>
            <pc:sldMk cId="0" sldId="334"/>
            <ac:spMk id="3" creationId="{31AF4E91-F2DB-9B04-8B7C-6937CC5A3438}"/>
          </ac:spMkLst>
        </pc:spChg>
      </pc:sldChg>
      <pc:sldChg chg="modSp del mod modClrScheme chgLayout">
        <pc:chgData name="Deimonmi Nongrum [Chillibreeze]" userId="e937f645-8c95-42a9-a298-dfd645e9a76a" providerId="ADAL" clId="{750E9A50-ACEA-48D3-B2C6-355D5EC56876}" dt="2024-06-12T03:52:34.913" v="2" actId="47"/>
        <pc:sldMkLst>
          <pc:docMk/>
          <pc:sldMk cId="2778917172" sldId="335"/>
        </pc:sldMkLst>
        <pc:spChg chg="mod ord">
          <ac:chgData name="Deimonmi Nongrum [Chillibreeze]" userId="e937f645-8c95-42a9-a298-dfd645e9a76a" providerId="ADAL" clId="{750E9A50-ACEA-48D3-B2C6-355D5EC56876}" dt="2024-06-12T03:52:28.320" v="1" actId="700"/>
          <ac:spMkLst>
            <pc:docMk/>
            <pc:sldMk cId="2778917172" sldId="335"/>
            <ac:spMk id="17" creationId="{9804D637-6338-61C7-AC6B-CD073E874047}"/>
          </ac:spMkLst>
        </pc:spChg>
      </pc:sldChg>
      <pc:sldChg chg="delSp modSp mod">
        <pc:chgData name="Deimonmi Nongrum [Chillibreeze]" userId="e937f645-8c95-42a9-a298-dfd645e9a76a" providerId="ADAL" clId="{750E9A50-ACEA-48D3-B2C6-355D5EC56876}" dt="2024-06-12T12:33:43.715" v="318" actId="1076"/>
        <pc:sldMkLst>
          <pc:docMk/>
          <pc:sldMk cId="3074128025" sldId="335"/>
        </pc:sldMkLst>
        <pc:spChg chg="mod">
          <ac:chgData name="Deimonmi Nongrum [Chillibreeze]" userId="e937f645-8c95-42a9-a298-dfd645e9a76a" providerId="ADAL" clId="{750E9A50-ACEA-48D3-B2C6-355D5EC56876}" dt="2024-06-12T12:33:36.488" v="314" actId="165"/>
          <ac:spMkLst>
            <pc:docMk/>
            <pc:sldMk cId="3074128025" sldId="335"/>
            <ac:spMk id="5427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2T12:33:36.488" v="314" actId="165"/>
          <ac:spMkLst>
            <pc:docMk/>
            <pc:sldMk cId="3074128025" sldId="335"/>
            <ac:spMk id="5429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2T12:33:36.488" v="314" actId="165"/>
          <ac:spMkLst>
            <pc:docMk/>
            <pc:sldMk cId="3074128025" sldId="335"/>
            <ac:spMk id="5430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2T12:33:36.488" v="314" actId="165"/>
          <ac:spMkLst>
            <pc:docMk/>
            <pc:sldMk cId="3074128025" sldId="335"/>
            <ac:spMk id="5432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2T12:33:36.488" v="314" actId="165"/>
          <ac:spMkLst>
            <pc:docMk/>
            <pc:sldMk cId="3074128025" sldId="335"/>
            <ac:spMk id="5433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2T12:33:36.488" v="314" actId="165"/>
          <ac:spMkLst>
            <pc:docMk/>
            <pc:sldMk cId="3074128025" sldId="335"/>
            <ac:spMk id="5434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2T12:33:36.488" v="314" actId="165"/>
          <ac:spMkLst>
            <pc:docMk/>
            <pc:sldMk cId="3074128025" sldId="335"/>
            <ac:spMk id="5435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2T12:33:36.488" v="314" actId="165"/>
          <ac:spMkLst>
            <pc:docMk/>
            <pc:sldMk cId="3074128025" sldId="335"/>
            <ac:spMk id="5436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2T12:33:36.488" v="314" actId="165"/>
          <ac:spMkLst>
            <pc:docMk/>
            <pc:sldMk cId="3074128025" sldId="335"/>
            <ac:spMk id="5437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2T12:33:36.488" v="314" actId="165"/>
          <ac:spMkLst>
            <pc:docMk/>
            <pc:sldMk cId="3074128025" sldId="335"/>
            <ac:spMk id="5438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2T12:33:36.488" v="314" actId="165"/>
          <ac:spMkLst>
            <pc:docMk/>
            <pc:sldMk cId="3074128025" sldId="335"/>
            <ac:spMk id="5439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2T12:33:36.488" v="314" actId="165"/>
          <ac:spMkLst>
            <pc:docMk/>
            <pc:sldMk cId="3074128025" sldId="335"/>
            <ac:spMk id="5440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2T12:33:36.488" v="314" actId="165"/>
          <ac:spMkLst>
            <pc:docMk/>
            <pc:sldMk cId="3074128025" sldId="335"/>
            <ac:spMk id="5441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2T12:33:36.488" v="314" actId="165"/>
          <ac:spMkLst>
            <pc:docMk/>
            <pc:sldMk cId="3074128025" sldId="335"/>
            <ac:spMk id="5442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2T12:33:36.488" v="314" actId="165"/>
          <ac:spMkLst>
            <pc:docMk/>
            <pc:sldMk cId="3074128025" sldId="335"/>
            <ac:spMk id="5443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2T12:33:36.488" v="314" actId="165"/>
          <ac:spMkLst>
            <pc:docMk/>
            <pc:sldMk cId="3074128025" sldId="335"/>
            <ac:spMk id="5444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2T12:33:36.488" v="314" actId="165"/>
          <ac:spMkLst>
            <pc:docMk/>
            <pc:sldMk cId="3074128025" sldId="335"/>
            <ac:spMk id="5445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2T12:33:36.488" v="314" actId="165"/>
          <ac:spMkLst>
            <pc:docMk/>
            <pc:sldMk cId="3074128025" sldId="335"/>
            <ac:spMk id="5446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2T12:33:36.488" v="314" actId="165"/>
          <ac:spMkLst>
            <pc:docMk/>
            <pc:sldMk cId="3074128025" sldId="335"/>
            <ac:spMk id="5447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2T12:33:36.488" v="314" actId="165"/>
          <ac:spMkLst>
            <pc:docMk/>
            <pc:sldMk cId="3074128025" sldId="335"/>
            <ac:spMk id="5448" creationId="{00000000-0000-0000-0000-000000000000}"/>
          </ac:spMkLst>
        </pc:spChg>
        <pc:spChg chg="mod">
          <ac:chgData name="Deimonmi Nongrum [Chillibreeze]" userId="e937f645-8c95-42a9-a298-dfd645e9a76a" providerId="ADAL" clId="{750E9A50-ACEA-48D3-B2C6-355D5EC56876}" dt="2024-06-12T12:33:36.488" v="314" actId="165"/>
          <ac:spMkLst>
            <pc:docMk/>
            <pc:sldMk cId="3074128025" sldId="335"/>
            <ac:spMk id="5449" creationId="{00000000-0000-0000-0000-000000000000}"/>
          </ac:spMkLst>
        </pc:spChg>
        <pc:spChg chg="mod topLvl">
          <ac:chgData name="Deimonmi Nongrum [Chillibreeze]" userId="e937f645-8c95-42a9-a298-dfd645e9a76a" providerId="ADAL" clId="{750E9A50-ACEA-48D3-B2C6-355D5EC56876}" dt="2024-06-12T12:33:36.488" v="314" actId="165"/>
          <ac:spMkLst>
            <pc:docMk/>
            <pc:sldMk cId="3074128025" sldId="335"/>
            <ac:spMk id="5450" creationId="{00000000-0000-0000-0000-000000000000}"/>
          </ac:spMkLst>
        </pc:spChg>
        <pc:grpChg chg="del">
          <ac:chgData name="Deimonmi Nongrum [Chillibreeze]" userId="e937f645-8c95-42a9-a298-dfd645e9a76a" providerId="ADAL" clId="{750E9A50-ACEA-48D3-B2C6-355D5EC56876}" dt="2024-06-12T12:33:36.488" v="314" actId="165"/>
          <ac:grpSpMkLst>
            <pc:docMk/>
            <pc:sldMk cId="3074128025" sldId="335"/>
            <ac:grpSpMk id="5425" creationId="{00000000-0000-0000-0000-000000000000}"/>
          </ac:grpSpMkLst>
        </pc:grpChg>
        <pc:grpChg chg="mod topLvl">
          <ac:chgData name="Deimonmi Nongrum [Chillibreeze]" userId="e937f645-8c95-42a9-a298-dfd645e9a76a" providerId="ADAL" clId="{750E9A50-ACEA-48D3-B2C6-355D5EC56876}" dt="2024-06-12T12:33:36.488" v="314" actId="165"/>
          <ac:grpSpMkLst>
            <pc:docMk/>
            <pc:sldMk cId="3074128025" sldId="335"/>
            <ac:grpSpMk id="5426" creationId="{00000000-0000-0000-0000-000000000000}"/>
          </ac:grpSpMkLst>
        </pc:grpChg>
        <pc:grpChg chg="mod">
          <ac:chgData name="Deimonmi Nongrum [Chillibreeze]" userId="e937f645-8c95-42a9-a298-dfd645e9a76a" providerId="ADAL" clId="{750E9A50-ACEA-48D3-B2C6-355D5EC56876}" dt="2024-06-12T12:33:36.488" v="314" actId="165"/>
          <ac:grpSpMkLst>
            <pc:docMk/>
            <pc:sldMk cId="3074128025" sldId="335"/>
            <ac:grpSpMk id="5428" creationId="{00000000-0000-0000-0000-000000000000}"/>
          </ac:grpSpMkLst>
        </pc:grpChg>
        <pc:grpChg chg="mod topLvl">
          <ac:chgData name="Deimonmi Nongrum [Chillibreeze]" userId="e937f645-8c95-42a9-a298-dfd645e9a76a" providerId="ADAL" clId="{750E9A50-ACEA-48D3-B2C6-355D5EC56876}" dt="2024-06-12T12:33:36.488" v="314" actId="165"/>
          <ac:grpSpMkLst>
            <pc:docMk/>
            <pc:sldMk cId="3074128025" sldId="335"/>
            <ac:grpSpMk id="5431" creationId="{00000000-0000-0000-0000-000000000000}"/>
          </ac:grpSpMkLst>
        </pc:grpChg>
        <pc:picChg chg="mod topLvl">
          <ac:chgData name="Deimonmi Nongrum [Chillibreeze]" userId="e937f645-8c95-42a9-a298-dfd645e9a76a" providerId="ADAL" clId="{750E9A50-ACEA-48D3-B2C6-355D5EC56876}" dt="2024-06-12T12:33:43.715" v="318" actId="1076"/>
          <ac:picMkLst>
            <pc:docMk/>
            <pc:sldMk cId="3074128025" sldId="335"/>
            <ac:picMk id="5451" creationId="{00000000-0000-0000-0000-000000000000}"/>
          </ac:picMkLst>
        </pc:picChg>
      </pc:sldChg>
      <pc:sldChg chg="addSp delSp modSp mod chgLayout">
        <pc:chgData name="Deimonmi Nongrum [Chillibreeze]" userId="e937f645-8c95-42a9-a298-dfd645e9a76a" providerId="ADAL" clId="{750E9A50-ACEA-48D3-B2C6-355D5EC56876}" dt="2024-06-13T11:15:44.420" v="3329"/>
        <pc:sldMkLst>
          <pc:docMk/>
          <pc:sldMk cId="3819318977" sldId="336"/>
        </pc:sldMkLst>
        <pc:spChg chg="mod ord">
          <ac:chgData name="Deimonmi Nongrum [Chillibreeze]" userId="e937f645-8c95-42a9-a298-dfd645e9a76a" providerId="ADAL" clId="{750E9A50-ACEA-48D3-B2C6-355D5EC56876}" dt="2024-06-13T11:15:38.123" v="3319"/>
          <ac:spMkLst>
            <pc:docMk/>
            <pc:sldMk cId="3819318977" sldId="336"/>
            <ac:spMk id="12" creationId="{AFFF166F-3D2D-868D-D5C0-3DF712D81C75}"/>
          </ac:spMkLst>
        </pc:spChg>
        <pc:spChg chg="mod ord">
          <ac:chgData name="Deimonmi Nongrum [Chillibreeze]" userId="e937f645-8c95-42a9-a298-dfd645e9a76a" providerId="ADAL" clId="{750E9A50-ACEA-48D3-B2C6-355D5EC56876}" dt="2024-06-13T11:15:39.935" v="3322"/>
          <ac:spMkLst>
            <pc:docMk/>
            <pc:sldMk cId="3819318977" sldId="336"/>
            <ac:spMk id="13" creationId="{E388C747-9961-BA6C-CBED-C80B8241DCDE}"/>
          </ac:spMkLst>
        </pc:spChg>
        <pc:spChg chg="mod ord">
          <ac:chgData name="Deimonmi Nongrum [Chillibreeze]" userId="e937f645-8c95-42a9-a298-dfd645e9a76a" providerId="ADAL" clId="{750E9A50-ACEA-48D3-B2C6-355D5EC56876}" dt="2024-06-13T11:15:41.772" v="3325"/>
          <ac:spMkLst>
            <pc:docMk/>
            <pc:sldMk cId="3819318977" sldId="336"/>
            <ac:spMk id="14" creationId="{D9AF8B6A-9A00-CF03-0E51-45A8098A5C9D}"/>
          </ac:spMkLst>
        </pc:spChg>
        <pc:spChg chg="mod ord topLvl">
          <ac:chgData name="Deimonmi Nongrum [Chillibreeze]" userId="e937f645-8c95-42a9-a298-dfd645e9a76a" providerId="ADAL" clId="{750E9A50-ACEA-48D3-B2C6-355D5EC56876}" dt="2024-06-13T11:15:38.664" v="3320"/>
          <ac:spMkLst>
            <pc:docMk/>
            <pc:sldMk cId="3819318977" sldId="336"/>
            <ac:spMk id="16" creationId="{38704E2F-AEAB-9B17-38BF-4674F20CF70C}"/>
          </ac:spMkLst>
        </pc:spChg>
        <pc:spChg chg="mod ord topLvl">
          <ac:chgData name="Deimonmi Nongrum [Chillibreeze]" userId="e937f645-8c95-42a9-a298-dfd645e9a76a" providerId="ADAL" clId="{750E9A50-ACEA-48D3-B2C6-355D5EC56876}" dt="2024-06-13T11:15:40.403" v="3323"/>
          <ac:spMkLst>
            <pc:docMk/>
            <pc:sldMk cId="3819318977" sldId="336"/>
            <ac:spMk id="17" creationId="{88574D4A-0F32-9980-CA46-A0B352A37A99}"/>
          </ac:spMkLst>
        </pc:spChg>
        <pc:spChg chg="mod ord topLvl">
          <ac:chgData name="Deimonmi Nongrum [Chillibreeze]" userId="e937f645-8c95-42a9-a298-dfd645e9a76a" providerId="ADAL" clId="{750E9A50-ACEA-48D3-B2C6-355D5EC56876}" dt="2024-06-13T11:15:42.328" v="3326"/>
          <ac:spMkLst>
            <pc:docMk/>
            <pc:sldMk cId="3819318977" sldId="336"/>
            <ac:spMk id="18" creationId="{B7DC2DD8-25CD-A2D6-14AB-1F63EA3C00F9}"/>
          </ac:spMkLst>
        </pc:spChg>
        <pc:spChg chg="mod ord">
          <ac:chgData name="Deimonmi Nongrum [Chillibreeze]" userId="e937f645-8c95-42a9-a298-dfd645e9a76a" providerId="ADAL" clId="{750E9A50-ACEA-48D3-B2C6-355D5EC56876}" dt="2024-06-13T11:15:36.237" v="3317"/>
          <ac:spMkLst>
            <pc:docMk/>
            <pc:sldMk cId="3819318977" sldId="336"/>
            <ac:spMk id="31" creationId="{732F5FBD-0C97-2CE7-8E54-0FD1C6C2E61D}"/>
          </ac:spMkLst>
        </pc:spChg>
        <pc:spChg chg="add del mod">
          <ac:chgData name="Deimonmi Nongrum [Chillibreeze]" userId="e937f645-8c95-42a9-a298-dfd645e9a76a" providerId="ADAL" clId="{750E9A50-ACEA-48D3-B2C6-355D5EC56876}" dt="2024-06-12T12:28:42.145" v="217" actId="6264"/>
          <ac:spMkLst>
            <pc:docMk/>
            <pc:sldMk cId="3819318977" sldId="336"/>
            <ac:spMk id="34" creationId="{630E2E53-DF35-D1B1-6941-64B9E37E07F0}"/>
          </ac:spMkLst>
        </pc:spChg>
        <pc:spChg chg="add del mod">
          <ac:chgData name="Deimonmi Nongrum [Chillibreeze]" userId="e937f645-8c95-42a9-a298-dfd645e9a76a" providerId="ADAL" clId="{750E9A50-ACEA-48D3-B2C6-355D5EC56876}" dt="2024-06-12T12:28:42.156" v="218" actId="6264"/>
          <ac:spMkLst>
            <pc:docMk/>
            <pc:sldMk cId="3819318977" sldId="336"/>
            <ac:spMk id="35" creationId="{6F363328-F161-0E03-8818-95AA262F3848}"/>
          </ac:spMkLst>
        </pc:spChg>
        <pc:spChg chg="mod ord">
          <ac:chgData name="Deimonmi Nongrum [Chillibreeze]" userId="e937f645-8c95-42a9-a298-dfd645e9a76a" providerId="ADAL" clId="{750E9A50-ACEA-48D3-B2C6-355D5EC56876}" dt="2024-06-13T11:15:37.318" v="3318"/>
          <ac:spMkLst>
            <pc:docMk/>
            <pc:sldMk cId="3819318977" sldId="336"/>
            <ac:spMk id="36" creationId="{27219AA9-A416-169F-3813-7D6ADA529489}"/>
          </ac:spMkLst>
        </pc:spChg>
        <pc:spChg chg="mod ord">
          <ac:chgData name="Deimonmi Nongrum [Chillibreeze]" userId="e937f645-8c95-42a9-a298-dfd645e9a76a" providerId="ADAL" clId="{750E9A50-ACEA-48D3-B2C6-355D5EC56876}" dt="2024-06-13T11:15:39.337" v="3321"/>
          <ac:spMkLst>
            <pc:docMk/>
            <pc:sldMk cId="3819318977" sldId="336"/>
            <ac:spMk id="37" creationId="{2C28B2F0-4407-1566-D2F8-77FF89E5CC5F}"/>
          </ac:spMkLst>
        </pc:spChg>
        <pc:spChg chg="mod ord">
          <ac:chgData name="Deimonmi Nongrum [Chillibreeze]" userId="e937f645-8c95-42a9-a298-dfd645e9a76a" providerId="ADAL" clId="{750E9A50-ACEA-48D3-B2C6-355D5EC56876}" dt="2024-06-13T11:15:41.151" v="3324"/>
          <ac:spMkLst>
            <pc:docMk/>
            <pc:sldMk cId="3819318977" sldId="336"/>
            <ac:spMk id="38" creationId="{5AA2D357-F07C-A245-D49D-3F099C721641}"/>
          </ac:spMkLst>
        </pc:spChg>
        <pc:spChg chg="add del mod">
          <ac:chgData name="Deimonmi Nongrum [Chillibreeze]" userId="e937f645-8c95-42a9-a298-dfd645e9a76a" providerId="ADAL" clId="{750E9A50-ACEA-48D3-B2C6-355D5EC56876}" dt="2024-06-12T12:28:42.164" v="219" actId="6264"/>
          <ac:spMkLst>
            <pc:docMk/>
            <pc:sldMk cId="3819318977" sldId="336"/>
            <ac:spMk id="39" creationId="{01549DBD-D24B-DFFE-9DCE-D8AFB2E3DBA8}"/>
          </ac:spMkLst>
        </pc:spChg>
        <pc:spChg chg="add del mod">
          <ac:chgData name="Deimonmi Nongrum [Chillibreeze]" userId="e937f645-8c95-42a9-a298-dfd645e9a76a" providerId="ADAL" clId="{750E9A50-ACEA-48D3-B2C6-355D5EC56876}" dt="2024-06-12T12:28:42.246" v="220" actId="6264"/>
          <ac:spMkLst>
            <pc:docMk/>
            <pc:sldMk cId="3819318977" sldId="336"/>
            <ac:spMk id="43" creationId="{D1A0FF42-F6AB-4362-2CE7-313C58A6B728}"/>
          </ac:spMkLst>
        </pc:spChg>
        <pc:spChg chg="add del mod">
          <ac:chgData name="Deimonmi Nongrum [Chillibreeze]" userId="e937f645-8c95-42a9-a298-dfd645e9a76a" providerId="ADAL" clId="{750E9A50-ACEA-48D3-B2C6-355D5EC56876}" dt="2024-06-12T12:28:42.496" v="221" actId="6264"/>
          <ac:spMkLst>
            <pc:docMk/>
            <pc:sldMk cId="3819318977" sldId="336"/>
            <ac:spMk id="44" creationId="{148E8F00-0FE0-2503-7565-3774395B6C53}"/>
          </ac:spMkLst>
        </pc:spChg>
        <pc:spChg chg="add del mod">
          <ac:chgData name="Deimonmi Nongrum [Chillibreeze]" userId="e937f645-8c95-42a9-a298-dfd645e9a76a" providerId="ADAL" clId="{750E9A50-ACEA-48D3-B2C6-355D5EC56876}" dt="2024-06-12T12:28:42.580" v="222" actId="6264"/>
          <ac:spMkLst>
            <pc:docMk/>
            <pc:sldMk cId="3819318977" sldId="336"/>
            <ac:spMk id="45" creationId="{8B4BAE55-2E5D-99B6-DE45-A8253DAC3FF6}"/>
          </ac:spMkLst>
        </pc:spChg>
        <pc:spChg chg="mod ord">
          <ac:chgData name="Deimonmi Nongrum [Chillibreeze]" userId="e937f645-8c95-42a9-a298-dfd645e9a76a" providerId="ADAL" clId="{750E9A50-ACEA-48D3-B2C6-355D5EC56876}" dt="2024-06-13T11:15:18.448" v="3308" actId="167"/>
          <ac:spMkLst>
            <pc:docMk/>
            <pc:sldMk cId="3819318977" sldId="336"/>
            <ac:spMk id="46" creationId="{8379B83A-E4D0-586C-B4F5-795E8043B018}"/>
          </ac:spMkLst>
        </pc:spChg>
        <pc:spChg chg="mod ord">
          <ac:chgData name="Deimonmi Nongrum [Chillibreeze]" userId="e937f645-8c95-42a9-a298-dfd645e9a76a" providerId="ADAL" clId="{750E9A50-ACEA-48D3-B2C6-355D5EC56876}" dt="2024-06-13T11:15:18.448" v="3308" actId="167"/>
          <ac:spMkLst>
            <pc:docMk/>
            <pc:sldMk cId="3819318977" sldId="336"/>
            <ac:spMk id="47" creationId="{97B0F3D7-16C2-F7D0-FFC4-67A34E1A392E}"/>
          </ac:spMkLst>
        </pc:spChg>
        <pc:spChg chg="mod ord topLvl">
          <ac:chgData name="Deimonmi Nongrum [Chillibreeze]" userId="e937f645-8c95-42a9-a298-dfd645e9a76a" providerId="ADAL" clId="{750E9A50-ACEA-48D3-B2C6-355D5EC56876}" dt="2024-06-13T11:15:18.448" v="3308" actId="167"/>
          <ac:spMkLst>
            <pc:docMk/>
            <pc:sldMk cId="3819318977" sldId="336"/>
            <ac:spMk id="54" creationId="{C6A96016-28E7-309F-F21E-0AAC51CB6581}"/>
          </ac:spMkLst>
        </pc:spChg>
        <pc:spChg chg="mod ord topLvl">
          <ac:chgData name="Deimonmi Nongrum [Chillibreeze]" userId="e937f645-8c95-42a9-a298-dfd645e9a76a" providerId="ADAL" clId="{750E9A50-ACEA-48D3-B2C6-355D5EC56876}" dt="2024-06-13T11:15:18.448" v="3308" actId="167"/>
          <ac:spMkLst>
            <pc:docMk/>
            <pc:sldMk cId="3819318977" sldId="336"/>
            <ac:spMk id="55" creationId="{516C9966-5C3A-BDCD-5D99-18F193B62E12}"/>
          </ac:spMkLst>
        </pc:spChg>
        <pc:spChg chg="mod ord topLvl">
          <ac:chgData name="Deimonmi Nongrum [Chillibreeze]" userId="e937f645-8c95-42a9-a298-dfd645e9a76a" providerId="ADAL" clId="{750E9A50-ACEA-48D3-B2C6-355D5EC56876}" dt="2024-06-13T11:15:18.448" v="3308" actId="167"/>
          <ac:spMkLst>
            <pc:docMk/>
            <pc:sldMk cId="3819318977" sldId="336"/>
            <ac:spMk id="56" creationId="{EEDC95A4-81A3-9C54-54E0-8102E63E891E}"/>
          </ac:spMkLst>
        </pc:spChg>
        <pc:spChg chg="mod ord topLvl">
          <ac:chgData name="Deimonmi Nongrum [Chillibreeze]" userId="e937f645-8c95-42a9-a298-dfd645e9a76a" providerId="ADAL" clId="{750E9A50-ACEA-48D3-B2C6-355D5EC56876}" dt="2024-06-13T11:15:18.448" v="3308" actId="167"/>
          <ac:spMkLst>
            <pc:docMk/>
            <pc:sldMk cId="3819318977" sldId="336"/>
            <ac:spMk id="4998" creationId="{82DE658E-2441-7786-F078-074BF69D1DC4}"/>
          </ac:spMkLst>
        </pc:spChg>
        <pc:spChg chg="mod ord">
          <ac:chgData name="Deimonmi Nongrum [Chillibreeze]" userId="e937f645-8c95-42a9-a298-dfd645e9a76a" providerId="ADAL" clId="{750E9A50-ACEA-48D3-B2C6-355D5EC56876}" dt="2024-06-13T11:15:43.850" v="3328"/>
          <ac:spMkLst>
            <pc:docMk/>
            <pc:sldMk cId="3819318977" sldId="336"/>
            <ac:spMk id="5000" creationId="{F8D35CE0-807C-9430-C9DA-A9664E9C3B1F}"/>
          </ac:spMkLst>
        </pc:spChg>
        <pc:spChg chg="mod ord topLvl">
          <ac:chgData name="Deimonmi Nongrum [Chillibreeze]" userId="e937f645-8c95-42a9-a298-dfd645e9a76a" providerId="ADAL" clId="{750E9A50-ACEA-48D3-B2C6-355D5EC56876}" dt="2024-06-13T11:15:44.420" v="3329"/>
          <ac:spMkLst>
            <pc:docMk/>
            <pc:sldMk cId="3819318977" sldId="336"/>
            <ac:spMk id="5001" creationId="{BFE594C6-0FC3-CFB3-0045-EF31A0A329C9}"/>
          </ac:spMkLst>
        </pc:spChg>
        <pc:spChg chg="mod ord">
          <ac:chgData name="Deimonmi Nongrum [Chillibreeze]" userId="e937f645-8c95-42a9-a298-dfd645e9a76a" providerId="ADAL" clId="{750E9A50-ACEA-48D3-B2C6-355D5EC56876}" dt="2024-06-13T11:15:42.981" v="3327"/>
          <ac:spMkLst>
            <pc:docMk/>
            <pc:sldMk cId="3819318977" sldId="336"/>
            <ac:spMk id="5002" creationId="{47023AA0-610C-DB94-B5CA-51D2C33956C1}"/>
          </ac:spMkLst>
        </pc:spChg>
        <pc:spChg chg="mod ord">
          <ac:chgData name="Deimonmi Nongrum [Chillibreeze]" userId="e937f645-8c95-42a9-a298-dfd645e9a76a" providerId="ADAL" clId="{750E9A50-ACEA-48D3-B2C6-355D5EC56876}" dt="2024-06-13T11:15:18.448" v="3308" actId="167"/>
          <ac:spMkLst>
            <pc:docMk/>
            <pc:sldMk cId="3819318977" sldId="336"/>
            <ac:spMk id="5004" creationId="{DAF0179E-FE66-EAD7-ED87-C94B212E6A6C}"/>
          </ac:spMkLst>
        </pc:spChg>
        <pc:spChg chg="mod ord">
          <ac:chgData name="Deimonmi Nongrum [Chillibreeze]" userId="e937f645-8c95-42a9-a298-dfd645e9a76a" providerId="ADAL" clId="{750E9A50-ACEA-48D3-B2C6-355D5EC56876}" dt="2024-06-13T11:15:18.448" v="3308" actId="167"/>
          <ac:spMkLst>
            <pc:docMk/>
            <pc:sldMk cId="3819318977" sldId="336"/>
            <ac:spMk id="5005" creationId="{881D5506-A8D8-70FE-3B8E-1770DB7E2B5C}"/>
          </ac:spMkLst>
        </pc:spChg>
        <pc:spChg chg="mod ord">
          <ac:chgData name="Deimonmi Nongrum [Chillibreeze]" userId="e937f645-8c95-42a9-a298-dfd645e9a76a" providerId="ADAL" clId="{750E9A50-ACEA-48D3-B2C6-355D5EC56876}" dt="2024-06-12T12:28:42.580" v="222" actId="6264"/>
          <ac:spMkLst>
            <pc:docMk/>
            <pc:sldMk cId="3819318977" sldId="336"/>
            <ac:spMk id="5021" creationId="{00000000-0000-0000-0000-000000000000}"/>
          </ac:spMkLst>
        </pc:spChg>
        <pc:spChg chg="mod ord">
          <ac:chgData name="Deimonmi Nongrum [Chillibreeze]" userId="e937f645-8c95-42a9-a298-dfd645e9a76a" providerId="ADAL" clId="{750E9A50-ACEA-48D3-B2C6-355D5EC56876}" dt="2024-06-13T11:15:18.448" v="3308" actId="167"/>
          <ac:spMkLst>
            <pc:docMk/>
            <pc:sldMk cId="3819318977" sldId="336"/>
            <ac:spMk id="5045" creationId="{5BC0F301-C704-A849-0907-1B15129BAC10}"/>
          </ac:spMkLst>
        </pc:spChg>
        <pc:spChg chg="mod ord">
          <ac:chgData name="Deimonmi Nongrum [Chillibreeze]" userId="e937f645-8c95-42a9-a298-dfd645e9a76a" providerId="ADAL" clId="{750E9A50-ACEA-48D3-B2C6-355D5EC56876}" dt="2024-06-13T11:15:18.448" v="3308" actId="167"/>
          <ac:spMkLst>
            <pc:docMk/>
            <pc:sldMk cId="3819318977" sldId="336"/>
            <ac:spMk id="5052" creationId="{49E7E52C-29FB-56F3-C4E3-E926CEC81E51}"/>
          </ac:spMkLst>
        </pc:spChg>
        <pc:grpChg chg="mod ord">
          <ac:chgData name="Deimonmi Nongrum [Chillibreeze]" userId="e937f645-8c95-42a9-a298-dfd645e9a76a" providerId="ADAL" clId="{750E9A50-ACEA-48D3-B2C6-355D5EC56876}" dt="2024-06-13T11:15:18.448" v="3308" actId="167"/>
          <ac:grpSpMkLst>
            <pc:docMk/>
            <pc:sldMk cId="3819318977" sldId="336"/>
            <ac:grpSpMk id="40" creationId="{B9F170BF-7A29-176B-62E9-261CB80A6CF5}"/>
          </ac:grpSpMkLst>
        </pc:grpChg>
        <pc:grpChg chg="mod ord">
          <ac:chgData name="Deimonmi Nongrum [Chillibreeze]" userId="e937f645-8c95-42a9-a298-dfd645e9a76a" providerId="ADAL" clId="{750E9A50-ACEA-48D3-B2C6-355D5EC56876}" dt="2024-06-13T11:15:18.448" v="3308" actId="167"/>
          <ac:grpSpMkLst>
            <pc:docMk/>
            <pc:sldMk cId="3819318977" sldId="336"/>
            <ac:grpSpMk id="48" creationId="{99FCDA65-DE88-432B-6524-7896B6DB70FF}"/>
          </ac:grpSpMkLst>
        </pc:grpChg>
        <pc:grpChg chg="add del mod">
          <ac:chgData name="Deimonmi Nongrum [Chillibreeze]" userId="e937f645-8c95-42a9-a298-dfd645e9a76a" providerId="ADAL" clId="{750E9A50-ACEA-48D3-B2C6-355D5EC56876}" dt="2024-06-12T12:30:32.111" v="272" actId="165"/>
          <ac:grpSpMkLst>
            <pc:docMk/>
            <pc:sldMk cId="3819318977" sldId="336"/>
            <ac:grpSpMk id="53" creationId="{D733C2F2-4995-71BE-A26A-3A0413B258DB}"/>
          </ac:grpSpMkLst>
        </pc:grpChg>
        <pc:grpChg chg="add del mod">
          <ac:chgData name="Deimonmi Nongrum [Chillibreeze]" userId="e937f645-8c95-42a9-a298-dfd645e9a76a" providerId="ADAL" clId="{750E9A50-ACEA-48D3-B2C6-355D5EC56876}" dt="2024-06-12T12:30:56.551" v="280" actId="165"/>
          <ac:grpSpMkLst>
            <pc:docMk/>
            <pc:sldMk cId="3819318977" sldId="336"/>
            <ac:grpSpMk id="57" creationId="{C567BF03-C409-37E9-2B09-EDBB0760AE8C}"/>
          </ac:grpSpMkLst>
        </pc:grpChg>
        <pc:grpChg chg="add del mod">
          <ac:chgData name="Deimonmi Nongrum [Chillibreeze]" userId="e937f645-8c95-42a9-a298-dfd645e9a76a" providerId="ADAL" clId="{750E9A50-ACEA-48D3-B2C6-355D5EC56876}" dt="2024-06-12T12:30:56.551" v="280" actId="165"/>
          <ac:grpSpMkLst>
            <pc:docMk/>
            <pc:sldMk cId="3819318977" sldId="336"/>
            <ac:grpSpMk id="58" creationId="{24FC6171-AEFA-D27E-D330-0984EE80A497}"/>
          </ac:grpSpMkLst>
        </pc:grpChg>
        <pc:grpChg chg="del">
          <ac:chgData name="Deimonmi Nongrum [Chillibreeze]" userId="e937f645-8c95-42a9-a298-dfd645e9a76a" providerId="ADAL" clId="{750E9A50-ACEA-48D3-B2C6-355D5EC56876}" dt="2024-06-12T12:31:15.007" v="302" actId="165"/>
          <ac:grpSpMkLst>
            <pc:docMk/>
            <pc:sldMk cId="3819318977" sldId="336"/>
            <ac:grpSpMk id="5041" creationId="{A16AE946-122B-7734-1441-64E16F2C98FC}"/>
          </ac:grpSpMkLst>
        </pc:grpChg>
        <pc:grpChg chg="del">
          <ac:chgData name="Deimonmi Nongrum [Chillibreeze]" userId="e937f645-8c95-42a9-a298-dfd645e9a76a" providerId="ADAL" clId="{750E9A50-ACEA-48D3-B2C6-355D5EC56876}" dt="2024-06-12T12:31:15.007" v="302" actId="165"/>
          <ac:grpSpMkLst>
            <pc:docMk/>
            <pc:sldMk cId="3819318977" sldId="336"/>
            <ac:grpSpMk id="5042" creationId="{E2BA7B82-A898-0F2A-C0F8-3EC7D8757E0D}"/>
          </ac:grpSpMkLst>
        </pc:grpChg>
        <pc:grpChg chg="del">
          <ac:chgData name="Deimonmi Nongrum [Chillibreeze]" userId="e937f645-8c95-42a9-a298-dfd645e9a76a" providerId="ADAL" clId="{750E9A50-ACEA-48D3-B2C6-355D5EC56876}" dt="2024-06-12T12:31:15.007" v="302" actId="165"/>
          <ac:grpSpMkLst>
            <pc:docMk/>
            <pc:sldMk cId="3819318977" sldId="336"/>
            <ac:grpSpMk id="5043" creationId="{0F22A1B7-B09A-0434-99D3-E79EE0C3ADB1}"/>
          </ac:grpSpMkLst>
        </pc:grpChg>
        <pc:grpChg chg="del">
          <ac:chgData name="Deimonmi Nongrum [Chillibreeze]" userId="e937f645-8c95-42a9-a298-dfd645e9a76a" providerId="ADAL" clId="{750E9A50-ACEA-48D3-B2C6-355D5EC56876}" dt="2024-06-12T12:31:15.007" v="302" actId="165"/>
          <ac:grpSpMkLst>
            <pc:docMk/>
            <pc:sldMk cId="3819318977" sldId="336"/>
            <ac:grpSpMk id="5044" creationId="{1F8D7F12-802A-7668-6E11-736FCC337AF3}"/>
          </ac:grpSpMkLst>
        </pc:grpChg>
        <pc:picChg chg="mod ord">
          <ac:chgData name="Deimonmi Nongrum [Chillibreeze]" userId="e937f645-8c95-42a9-a298-dfd645e9a76a" providerId="ADAL" clId="{750E9A50-ACEA-48D3-B2C6-355D5EC56876}" dt="2024-06-13T11:15:18.448" v="3308" actId="167"/>
          <ac:picMkLst>
            <pc:docMk/>
            <pc:sldMk cId="3819318977" sldId="336"/>
            <ac:picMk id="5047" creationId="{3B8B7260-0F07-9555-3FB2-E8C5817485EB}"/>
          </ac:picMkLst>
        </pc:picChg>
        <pc:picChg chg="mod ord">
          <ac:chgData name="Deimonmi Nongrum [Chillibreeze]" userId="e937f645-8c95-42a9-a298-dfd645e9a76a" providerId="ADAL" clId="{750E9A50-ACEA-48D3-B2C6-355D5EC56876}" dt="2024-06-13T11:15:18.448" v="3308" actId="167"/>
          <ac:picMkLst>
            <pc:docMk/>
            <pc:sldMk cId="3819318977" sldId="336"/>
            <ac:picMk id="5049" creationId="{6DB34F89-F9B4-710F-F77A-EBAFE84DF7D2}"/>
          </ac:picMkLst>
        </pc:picChg>
        <pc:picChg chg="mod ord">
          <ac:chgData name="Deimonmi Nongrum [Chillibreeze]" userId="e937f645-8c95-42a9-a298-dfd645e9a76a" providerId="ADAL" clId="{750E9A50-ACEA-48D3-B2C6-355D5EC56876}" dt="2024-06-13T11:15:18.448" v="3308" actId="167"/>
          <ac:picMkLst>
            <pc:docMk/>
            <pc:sldMk cId="3819318977" sldId="336"/>
            <ac:picMk id="5051" creationId="{F9740275-9E1B-D576-6068-B5BCF0C0FDFA}"/>
          </ac:picMkLst>
        </pc:picChg>
        <pc:cxnChg chg="mod">
          <ac:chgData name="Deimonmi Nongrum [Chillibreeze]" userId="e937f645-8c95-42a9-a298-dfd645e9a76a" providerId="ADAL" clId="{750E9A50-ACEA-48D3-B2C6-355D5EC56876}" dt="2024-06-12T12:28:49.984" v="224" actId="14100"/>
          <ac:cxnSpMkLst>
            <pc:docMk/>
            <pc:sldMk cId="3819318977" sldId="336"/>
            <ac:cxnSpMk id="2" creationId="{BC7CD96A-3B8C-4A60-C675-4884FD71AD53}"/>
          </ac:cxnSpMkLst>
        </pc:cxnChg>
        <pc:cxnChg chg="add del mod">
          <ac:chgData name="Deimonmi Nongrum [Chillibreeze]" userId="e937f645-8c95-42a9-a298-dfd645e9a76a" providerId="ADAL" clId="{750E9A50-ACEA-48D3-B2C6-355D5EC56876}" dt="2024-06-13T04:28:07.172" v="1049" actId="478"/>
          <ac:cxnSpMkLst>
            <pc:docMk/>
            <pc:sldMk cId="3819318977" sldId="336"/>
            <ac:cxnSpMk id="3" creationId="{0941E35D-4632-71EB-4492-720A77A65EB7}"/>
          </ac:cxnSpMkLst>
        </pc:cxnChg>
        <pc:cxnChg chg="mod topLvl">
          <ac:chgData name="Deimonmi Nongrum [Chillibreeze]" userId="e937f645-8c95-42a9-a298-dfd645e9a76a" providerId="ADAL" clId="{750E9A50-ACEA-48D3-B2C6-355D5EC56876}" dt="2024-06-12T12:31:08.171" v="295"/>
          <ac:cxnSpMkLst>
            <pc:docMk/>
            <pc:sldMk cId="3819318977" sldId="336"/>
            <ac:cxnSpMk id="5" creationId="{D9CD6724-6829-5537-137F-AB38BA4C1E7D}"/>
          </ac:cxnSpMkLst>
        </pc:cxnChg>
        <pc:cxnChg chg="mod topLvl">
          <ac:chgData name="Deimonmi Nongrum [Chillibreeze]" userId="e937f645-8c95-42a9-a298-dfd645e9a76a" providerId="ADAL" clId="{750E9A50-ACEA-48D3-B2C6-355D5EC56876}" dt="2024-06-12T12:31:08.171" v="292"/>
          <ac:cxnSpMkLst>
            <pc:docMk/>
            <pc:sldMk cId="3819318977" sldId="336"/>
            <ac:cxnSpMk id="6" creationId="{8C2B490E-1037-E34D-9138-9C3DAB8B3F81}"/>
          </ac:cxnSpMkLst>
        </pc:cxnChg>
        <pc:cxnChg chg="mod topLvl">
          <ac:chgData name="Deimonmi Nongrum [Chillibreeze]" userId="e937f645-8c95-42a9-a298-dfd645e9a76a" providerId="ADAL" clId="{750E9A50-ACEA-48D3-B2C6-355D5EC56876}" dt="2024-06-12T12:31:08.173" v="298"/>
          <ac:cxnSpMkLst>
            <pc:docMk/>
            <pc:sldMk cId="3819318977" sldId="336"/>
            <ac:cxnSpMk id="7" creationId="{854F5BB2-5E3C-4F8A-4394-3D7B3E9FA75A}"/>
          </ac:cxnSpMkLst>
        </pc:cxnChg>
        <pc:cxnChg chg="mod topLvl">
          <ac:chgData name="Deimonmi Nongrum [Chillibreeze]" userId="e937f645-8c95-42a9-a298-dfd645e9a76a" providerId="ADAL" clId="{750E9A50-ACEA-48D3-B2C6-355D5EC56876}" dt="2024-06-12T12:31:01.564" v="283"/>
          <ac:cxnSpMkLst>
            <pc:docMk/>
            <pc:sldMk cId="3819318977" sldId="336"/>
            <ac:cxnSpMk id="59" creationId="{DFF3F9A1-979D-1DD6-5102-1FED2AED91A4}"/>
          </ac:cxnSpMkLst>
        </pc:cxnChg>
        <pc:cxnChg chg="mod topLvl">
          <ac:chgData name="Deimonmi Nongrum [Chillibreeze]" userId="e937f645-8c95-42a9-a298-dfd645e9a76a" providerId="ADAL" clId="{750E9A50-ACEA-48D3-B2C6-355D5EC56876}" dt="2024-06-12T12:31:01.564" v="286"/>
          <ac:cxnSpMkLst>
            <pc:docMk/>
            <pc:sldMk cId="3819318977" sldId="336"/>
            <ac:cxnSpMk id="60" creationId="{B10B8EC9-2D7D-4B16-4630-E377B9F26285}"/>
          </ac:cxnSpMkLst>
        </pc:cxnChg>
        <pc:cxnChg chg="mod topLvl">
          <ac:chgData name="Deimonmi Nongrum [Chillibreeze]" userId="e937f645-8c95-42a9-a298-dfd645e9a76a" providerId="ADAL" clId="{750E9A50-ACEA-48D3-B2C6-355D5EC56876}" dt="2024-06-12T12:31:01.565" v="289"/>
          <ac:cxnSpMkLst>
            <pc:docMk/>
            <pc:sldMk cId="3819318977" sldId="336"/>
            <ac:cxnSpMk id="61" creationId="{DE06364D-7C5B-6EE1-1D86-D7A087ACA532}"/>
          </ac:cxnSpMkLst>
        </pc:cxnChg>
        <pc:cxnChg chg="mod topLvl">
          <ac:chgData name="Deimonmi Nongrum [Chillibreeze]" userId="e937f645-8c95-42a9-a298-dfd645e9a76a" providerId="ADAL" clId="{750E9A50-ACEA-48D3-B2C6-355D5EC56876}" dt="2024-06-12T12:30:56.551" v="280" actId="165"/>
          <ac:cxnSpMkLst>
            <pc:docMk/>
            <pc:sldMk cId="3819318977" sldId="336"/>
            <ac:cxnSpMk id="62" creationId="{886E3D94-D98E-6E65-3E2A-3A78CBEC9159}"/>
          </ac:cxnSpMkLst>
        </pc:cxnChg>
        <pc:cxnChg chg="mod topLvl">
          <ac:chgData name="Deimonmi Nongrum [Chillibreeze]" userId="e937f645-8c95-42a9-a298-dfd645e9a76a" providerId="ADAL" clId="{750E9A50-ACEA-48D3-B2C6-355D5EC56876}" dt="2024-06-12T12:31:08.174" v="301"/>
          <ac:cxnSpMkLst>
            <pc:docMk/>
            <pc:sldMk cId="3819318977" sldId="336"/>
            <ac:cxnSpMk id="4999" creationId="{539B194D-2296-FA6A-A19B-A5A502FA50C0}"/>
          </ac:cxnSpMkLst>
        </pc:cxnChg>
      </pc:sldChg>
      <pc:sldChg chg="addSp delSp modSp add mod">
        <pc:chgData name="Deimonmi Nongrum [Chillibreeze]" userId="e937f645-8c95-42a9-a298-dfd645e9a76a" providerId="ADAL" clId="{750E9A50-ACEA-48D3-B2C6-355D5EC56876}" dt="2024-06-12T12:58:26.450" v="329" actId="21"/>
        <pc:sldMkLst>
          <pc:docMk/>
          <pc:sldMk cId="3703766703" sldId="337"/>
        </pc:sldMkLst>
        <pc:spChg chg="add del mod">
          <ac:chgData name="Deimonmi Nongrum [Chillibreeze]" userId="e937f645-8c95-42a9-a298-dfd645e9a76a" providerId="ADAL" clId="{750E9A50-ACEA-48D3-B2C6-355D5EC56876}" dt="2024-06-12T12:58:26.450" v="329" actId="21"/>
          <ac:spMkLst>
            <pc:docMk/>
            <pc:sldMk cId="3703766703" sldId="337"/>
            <ac:spMk id="4" creationId="{14E13CDE-397A-6910-FA76-73C5E1033D13}"/>
          </ac:spMkLst>
        </pc:spChg>
        <pc:cxnChg chg="add del mod">
          <ac:chgData name="Deimonmi Nongrum [Chillibreeze]" userId="e937f645-8c95-42a9-a298-dfd645e9a76a" providerId="ADAL" clId="{750E9A50-ACEA-48D3-B2C6-355D5EC56876}" dt="2024-06-12T12:58:26.450" v="329" actId="21"/>
          <ac:cxnSpMkLst>
            <pc:docMk/>
            <pc:sldMk cId="3703766703" sldId="337"/>
            <ac:cxnSpMk id="3" creationId="{061C990D-85A2-8F7E-002F-4B4AEE7EA494}"/>
          </ac:cxnSpMkLst>
        </pc:cxnChg>
      </pc:sldChg>
      <pc:sldChg chg="add del">
        <pc:chgData name="Deimonmi Nongrum [Chillibreeze]" userId="e937f645-8c95-42a9-a298-dfd645e9a76a" providerId="ADAL" clId="{750E9A50-ACEA-48D3-B2C6-355D5EC56876}" dt="2024-06-12T12:57:52.010" v="325"/>
        <pc:sldMkLst>
          <pc:docMk/>
          <pc:sldMk cId="446127033" sldId="338"/>
        </pc:sldMkLst>
      </pc:sldChg>
      <pc:sldChg chg="add del">
        <pc:chgData name="Deimonmi Nongrum [Chillibreeze]" userId="e937f645-8c95-42a9-a298-dfd645e9a76a" providerId="ADAL" clId="{750E9A50-ACEA-48D3-B2C6-355D5EC56876}" dt="2024-06-12T12:58:11.471" v="327"/>
        <pc:sldMkLst>
          <pc:docMk/>
          <pc:sldMk cId="1527823740" sldId="338"/>
        </pc:sldMkLst>
      </pc:sldChg>
      <pc:sldChg chg="modSp del mod chgLayout">
        <pc:chgData name="Deimonmi Nongrum [Chillibreeze]" userId="e937f645-8c95-42a9-a298-dfd645e9a76a" providerId="ADAL" clId="{750E9A50-ACEA-48D3-B2C6-355D5EC56876}" dt="2024-06-12T04:24:10.840" v="62" actId="47"/>
        <pc:sldMkLst>
          <pc:docMk/>
          <pc:sldMk cId="0" sldId="342"/>
        </pc:sldMkLst>
        <pc:spChg chg="mod ord">
          <ac:chgData name="Deimonmi Nongrum [Chillibreeze]" userId="e937f645-8c95-42a9-a298-dfd645e9a76a" providerId="ADAL" clId="{750E9A50-ACEA-48D3-B2C6-355D5EC56876}" dt="2024-06-12T04:24:02.542" v="61" actId="700"/>
          <ac:spMkLst>
            <pc:docMk/>
            <pc:sldMk cId="0" sldId="342"/>
            <ac:spMk id="15" creationId="{47D8A317-A232-C480-7B24-5E6468D66A71}"/>
          </ac:spMkLst>
        </pc:spChg>
      </pc:sldChg>
      <pc:sldChg chg="addSp delSp modSp mod">
        <pc:chgData name="Deimonmi Nongrum [Chillibreeze]" userId="e937f645-8c95-42a9-a298-dfd645e9a76a" providerId="ADAL" clId="{750E9A50-ACEA-48D3-B2C6-355D5EC56876}" dt="2024-06-13T12:45:59.659" v="6129" actId="962"/>
        <pc:sldMkLst>
          <pc:docMk/>
          <pc:sldMk cId="2891892298" sldId="2147482409"/>
        </pc:sldMkLst>
        <pc:spChg chg="ord">
          <ac:chgData name="Deimonmi Nongrum [Chillibreeze]" userId="e937f645-8c95-42a9-a298-dfd645e9a76a" providerId="ADAL" clId="{750E9A50-ACEA-48D3-B2C6-355D5EC56876}" dt="2024-06-13T11:17:47.892" v="3401"/>
          <ac:spMkLst>
            <pc:docMk/>
            <pc:sldMk cId="2891892298" sldId="2147482409"/>
            <ac:spMk id="2" creationId="{2DB23B17-F64A-0EFE-4DA5-28C69BF15A10}"/>
          </ac:spMkLst>
        </pc:spChg>
        <pc:spChg chg="mod ord">
          <ac:chgData name="Deimonmi Nongrum [Chillibreeze]" userId="e937f645-8c95-42a9-a298-dfd645e9a76a" providerId="ADAL" clId="{750E9A50-ACEA-48D3-B2C6-355D5EC56876}" dt="2024-06-13T12:36:21.918" v="4855" actId="1035"/>
          <ac:spMkLst>
            <pc:docMk/>
            <pc:sldMk cId="2891892298" sldId="2147482409"/>
            <ac:spMk id="3" creationId="{C497994E-D307-0DE5-FE38-3D366BFC6B3C}"/>
          </ac:spMkLst>
        </pc:spChg>
        <pc:spChg chg="add mod ord">
          <ac:chgData name="Deimonmi Nongrum [Chillibreeze]" userId="e937f645-8c95-42a9-a298-dfd645e9a76a" providerId="ADAL" clId="{750E9A50-ACEA-48D3-B2C6-355D5EC56876}" dt="2024-06-13T12:43:59.251" v="5727" actId="167"/>
          <ac:spMkLst>
            <pc:docMk/>
            <pc:sldMk cId="2891892298" sldId="2147482409"/>
            <ac:spMk id="6" creationId="{359DCA5F-8814-AB39-2FD7-DF532E89F23A}"/>
          </ac:spMkLst>
        </pc:spChg>
        <pc:spChg chg="add del mod">
          <ac:chgData name="Deimonmi Nongrum [Chillibreeze]" userId="e937f645-8c95-42a9-a298-dfd645e9a76a" providerId="ADAL" clId="{750E9A50-ACEA-48D3-B2C6-355D5EC56876}" dt="2024-06-13T04:39:24.982" v="1207" actId="21"/>
          <ac:spMkLst>
            <pc:docMk/>
            <pc:sldMk cId="2891892298" sldId="2147482409"/>
            <ac:spMk id="9" creationId="{9B2C65F3-96D0-2469-FA93-055ED3E78A1D}"/>
          </ac:spMkLst>
        </pc:spChg>
        <pc:spChg chg="mod ord">
          <ac:chgData name="Deimonmi Nongrum [Chillibreeze]" userId="e937f645-8c95-42a9-a298-dfd645e9a76a" providerId="ADAL" clId="{750E9A50-ACEA-48D3-B2C6-355D5EC56876}" dt="2024-06-13T11:17:48.949" v="3402"/>
          <ac:spMkLst>
            <pc:docMk/>
            <pc:sldMk cId="2891892298" sldId="2147482409"/>
            <ac:spMk id="15" creationId="{DD3AA92E-6B5C-A519-9472-95A48FF7BA14}"/>
          </ac:spMkLst>
        </pc:spChg>
        <pc:spChg chg="mod ord">
          <ac:chgData name="Deimonmi Nongrum [Chillibreeze]" userId="e937f645-8c95-42a9-a298-dfd645e9a76a" providerId="ADAL" clId="{750E9A50-ACEA-48D3-B2C6-355D5EC56876}" dt="2024-06-13T12:43:59.251" v="5727" actId="167"/>
          <ac:spMkLst>
            <pc:docMk/>
            <pc:sldMk cId="2891892298" sldId="2147482409"/>
            <ac:spMk id="28" creationId="{6C50128D-C919-FB88-EE2D-AC33C0E327EF}"/>
          </ac:spMkLst>
        </pc:spChg>
        <pc:spChg chg="ord">
          <ac:chgData name="Deimonmi Nongrum [Chillibreeze]" userId="e937f645-8c95-42a9-a298-dfd645e9a76a" providerId="ADAL" clId="{750E9A50-ACEA-48D3-B2C6-355D5EC56876}" dt="2024-06-13T11:17:49.834" v="3403"/>
          <ac:spMkLst>
            <pc:docMk/>
            <pc:sldMk cId="2891892298" sldId="2147482409"/>
            <ac:spMk id="29" creationId="{33D5FCBA-0770-9194-2460-7FFFCD514EC4}"/>
          </ac:spMkLst>
        </pc:spChg>
        <pc:spChg chg="mod ord">
          <ac:chgData name="Deimonmi Nongrum [Chillibreeze]" userId="e937f645-8c95-42a9-a298-dfd645e9a76a" providerId="ADAL" clId="{750E9A50-ACEA-48D3-B2C6-355D5EC56876}" dt="2024-06-13T12:43:59.251" v="5727" actId="167"/>
          <ac:spMkLst>
            <pc:docMk/>
            <pc:sldMk cId="2891892298" sldId="2147482409"/>
            <ac:spMk id="30" creationId="{E2D77560-8DF6-88C7-5A8C-55159457305A}"/>
          </ac:spMkLst>
        </pc:spChg>
        <pc:spChg chg="mod ord">
          <ac:chgData name="Deimonmi Nongrum [Chillibreeze]" userId="e937f645-8c95-42a9-a298-dfd645e9a76a" providerId="ADAL" clId="{750E9A50-ACEA-48D3-B2C6-355D5EC56876}" dt="2024-06-13T12:43:30.311" v="5722" actId="20577"/>
          <ac:spMkLst>
            <pc:docMk/>
            <pc:sldMk cId="2891892298" sldId="2147482409"/>
            <ac:spMk id="32" creationId="{BE0D24BA-ED14-CEA8-298D-B3439676BAF4}"/>
          </ac:spMkLst>
        </pc:spChg>
        <pc:spChg chg="mod ord">
          <ac:chgData name="Deimonmi Nongrum [Chillibreeze]" userId="e937f645-8c95-42a9-a298-dfd645e9a76a" providerId="ADAL" clId="{750E9A50-ACEA-48D3-B2C6-355D5EC56876}" dt="2024-06-13T12:36:21.918" v="4855" actId="1035"/>
          <ac:spMkLst>
            <pc:docMk/>
            <pc:sldMk cId="2891892298" sldId="2147482409"/>
            <ac:spMk id="33" creationId="{C39309D3-5515-4D49-E3CD-DA5C459F18E6}"/>
          </ac:spMkLst>
        </pc:spChg>
        <pc:spChg chg="mod ord">
          <ac:chgData name="Deimonmi Nongrum [Chillibreeze]" userId="e937f645-8c95-42a9-a298-dfd645e9a76a" providerId="ADAL" clId="{750E9A50-ACEA-48D3-B2C6-355D5EC56876}" dt="2024-06-13T12:36:41.108" v="4861" actId="12788"/>
          <ac:spMkLst>
            <pc:docMk/>
            <pc:sldMk cId="2891892298" sldId="2147482409"/>
            <ac:spMk id="39" creationId="{FD6F9847-180D-7C2F-1862-4405BEAD431E}"/>
          </ac:spMkLst>
        </pc:spChg>
        <pc:spChg chg="ord">
          <ac:chgData name="Deimonmi Nongrum [Chillibreeze]" userId="e937f645-8c95-42a9-a298-dfd645e9a76a" providerId="ADAL" clId="{750E9A50-ACEA-48D3-B2C6-355D5EC56876}" dt="2024-06-13T11:17:52.741" v="3406"/>
          <ac:spMkLst>
            <pc:docMk/>
            <pc:sldMk cId="2891892298" sldId="2147482409"/>
            <ac:spMk id="40" creationId="{68D34E91-F82E-7B84-CD84-753859BC0B76}"/>
          </ac:spMkLst>
        </pc:spChg>
        <pc:spChg chg="mod ord">
          <ac:chgData name="Deimonmi Nongrum [Chillibreeze]" userId="e937f645-8c95-42a9-a298-dfd645e9a76a" providerId="ADAL" clId="{750E9A50-ACEA-48D3-B2C6-355D5EC56876}" dt="2024-06-13T12:36:41.108" v="4861" actId="12788"/>
          <ac:spMkLst>
            <pc:docMk/>
            <pc:sldMk cId="2891892298" sldId="2147482409"/>
            <ac:spMk id="41" creationId="{372A72D8-3C61-62FE-08A2-1BAE7946DF71}"/>
          </ac:spMkLst>
        </pc:spChg>
        <pc:grpChg chg="del">
          <ac:chgData name="Deimonmi Nongrum [Chillibreeze]" userId="e937f645-8c95-42a9-a298-dfd645e9a76a" providerId="ADAL" clId="{750E9A50-ACEA-48D3-B2C6-355D5EC56876}" dt="2024-06-13T04:39:00.485" v="1157" actId="478"/>
          <ac:grpSpMkLst>
            <pc:docMk/>
            <pc:sldMk cId="2891892298" sldId="2147482409"/>
            <ac:grpSpMk id="5" creationId="{72707788-DD47-B49E-E682-2F7E2CA8683B}"/>
          </ac:grpSpMkLst>
        </pc:grpChg>
        <pc:grpChg chg="mod ord">
          <ac:chgData name="Deimonmi Nongrum [Chillibreeze]" userId="e937f645-8c95-42a9-a298-dfd645e9a76a" providerId="ADAL" clId="{750E9A50-ACEA-48D3-B2C6-355D5EC56876}" dt="2024-06-13T11:17:37.682" v="3395" actId="167"/>
          <ac:grpSpMkLst>
            <pc:docMk/>
            <pc:sldMk cId="2891892298" sldId="2147482409"/>
            <ac:grpSpMk id="58" creationId="{E87D23CC-233C-DE21-A7A6-C0E9B89DCDDE}"/>
          </ac:grpSpMkLst>
        </pc:grpChg>
        <pc:picChg chg="mod ord">
          <ac:chgData name="Deimonmi Nongrum [Chillibreeze]" userId="e937f645-8c95-42a9-a298-dfd645e9a76a" providerId="ADAL" clId="{750E9A50-ACEA-48D3-B2C6-355D5EC56876}" dt="2024-06-13T12:45:59.659" v="6129" actId="962"/>
          <ac:picMkLst>
            <pc:docMk/>
            <pc:sldMk cId="2891892298" sldId="2147482409"/>
            <ac:picMk id="4" creationId="{1412017C-66A3-943F-B793-C9B28CFDE430}"/>
          </ac:picMkLst>
        </pc:picChg>
        <pc:picChg chg="add del mod">
          <ac:chgData name="Deimonmi Nongrum [Chillibreeze]" userId="e937f645-8c95-42a9-a298-dfd645e9a76a" providerId="ADAL" clId="{750E9A50-ACEA-48D3-B2C6-355D5EC56876}" dt="2024-06-13T12:43:18.818" v="5720" actId="478"/>
          <ac:picMkLst>
            <pc:docMk/>
            <pc:sldMk cId="2891892298" sldId="2147482409"/>
            <ac:picMk id="5" creationId="{4D7AC65B-D5DA-4AE4-7A7A-0D31F8988C5B}"/>
          </ac:picMkLst>
        </pc:picChg>
      </pc:sldChg>
      <pc:sldChg chg="addSp delSp modSp mod">
        <pc:chgData name="Deimonmi Nongrum [Chillibreeze]" userId="e937f645-8c95-42a9-a298-dfd645e9a76a" providerId="ADAL" clId="{750E9A50-ACEA-48D3-B2C6-355D5EC56876}" dt="2024-06-13T12:39:52.980" v="5262" actId="962"/>
        <pc:sldMkLst>
          <pc:docMk/>
          <pc:sldMk cId="1392855861" sldId="2147482410"/>
        </pc:sldMkLst>
        <pc:spChg chg="ord">
          <ac:chgData name="Deimonmi Nongrum [Chillibreeze]" userId="e937f645-8c95-42a9-a298-dfd645e9a76a" providerId="ADAL" clId="{750E9A50-ACEA-48D3-B2C6-355D5EC56876}" dt="2024-06-13T11:16:47.331" v="3364"/>
          <ac:spMkLst>
            <pc:docMk/>
            <pc:sldMk cId="1392855861" sldId="2147482410"/>
            <ac:spMk id="2" creationId="{2DB23B17-F64A-0EFE-4DA5-28C69BF15A10}"/>
          </ac:spMkLst>
        </pc:spChg>
        <pc:spChg chg="add del mod">
          <ac:chgData name="Deimonmi Nongrum [Chillibreeze]" userId="e937f645-8c95-42a9-a298-dfd645e9a76a" providerId="ADAL" clId="{750E9A50-ACEA-48D3-B2C6-355D5EC56876}" dt="2024-06-13T04:38:17.308" v="1095" actId="21"/>
          <ac:spMkLst>
            <pc:docMk/>
            <pc:sldMk cId="1392855861" sldId="2147482410"/>
            <ac:spMk id="3" creationId="{9B2C65F3-96D0-2469-FA93-055ED3E78A1D}"/>
          </ac:spMkLst>
        </pc:spChg>
        <pc:spChg chg="add mod">
          <ac:chgData name="Deimonmi Nongrum [Chillibreeze]" userId="e937f645-8c95-42a9-a298-dfd645e9a76a" providerId="ADAL" clId="{750E9A50-ACEA-48D3-B2C6-355D5EC56876}" dt="2024-06-13T12:38:22.322" v="4872" actId="962"/>
          <ac:spMkLst>
            <pc:docMk/>
            <pc:sldMk cId="1392855861" sldId="2147482410"/>
            <ac:spMk id="5" creationId="{59B77C5F-AD70-10AE-E7BE-427E7C9BA6D0}"/>
          </ac:spMkLst>
        </pc:spChg>
        <pc:spChg chg="mod ord">
          <ac:chgData name="Deimonmi Nongrum [Chillibreeze]" userId="e937f645-8c95-42a9-a298-dfd645e9a76a" providerId="ADAL" clId="{750E9A50-ACEA-48D3-B2C6-355D5EC56876}" dt="2024-06-13T12:36:03.557" v="4847" actId="1035"/>
          <ac:spMkLst>
            <pc:docMk/>
            <pc:sldMk cId="1392855861" sldId="2147482410"/>
            <ac:spMk id="9" creationId="{66E20856-2A7D-E8AC-50E3-753A187914AB}"/>
          </ac:spMkLst>
        </pc:spChg>
        <pc:spChg chg="mod ord">
          <ac:chgData name="Deimonmi Nongrum [Chillibreeze]" userId="e937f645-8c95-42a9-a298-dfd645e9a76a" providerId="ADAL" clId="{750E9A50-ACEA-48D3-B2C6-355D5EC56876}" dt="2024-06-13T11:16:48.541" v="3365"/>
          <ac:spMkLst>
            <pc:docMk/>
            <pc:sldMk cId="1392855861" sldId="2147482410"/>
            <ac:spMk id="15" creationId="{DD3AA92E-6B5C-A519-9472-95A48FF7BA14}"/>
          </ac:spMkLst>
        </pc:spChg>
        <pc:spChg chg="mod ord">
          <ac:chgData name="Deimonmi Nongrum [Chillibreeze]" userId="e937f645-8c95-42a9-a298-dfd645e9a76a" providerId="ADAL" clId="{750E9A50-ACEA-48D3-B2C6-355D5EC56876}" dt="2024-06-13T11:16:43.321" v="3356" actId="167"/>
          <ac:spMkLst>
            <pc:docMk/>
            <pc:sldMk cId="1392855861" sldId="2147482410"/>
            <ac:spMk id="28" creationId="{6C50128D-C919-FB88-EE2D-AC33C0E327EF}"/>
          </ac:spMkLst>
        </pc:spChg>
        <pc:spChg chg="ord">
          <ac:chgData name="Deimonmi Nongrum [Chillibreeze]" userId="e937f645-8c95-42a9-a298-dfd645e9a76a" providerId="ADAL" clId="{750E9A50-ACEA-48D3-B2C6-355D5EC56876}" dt="2024-06-13T11:16:49.891" v="3366"/>
          <ac:spMkLst>
            <pc:docMk/>
            <pc:sldMk cId="1392855861" sldId="2147482410"/>
            <ac:spMk id="29" creationId="{33D5FCBA-0770-9194-2460-7FFFCD514EC4}"/>
          </ac:spMkLst>
        </pc:spChg>
        <pc:spChg chg="mod ord">
          <ac:chgData name="Deimonmi Nongrum [Chillibreeze]" userId="e937f645-8c95-42a9-a298-dfd645e9a76a" providerId="ADAL" clId="{750E9A50-ACEA-48D3-B2C6-355D5EC56876}" dt="2024-06-13T11:16:43.321" v="3356" actId="167"/>
          <ac:spMkLst>
            <pc:docMk/>
            <pc:sldMk cId="1392855861" sldId="2147482410"/>
            <ac:spMk id="30" creationId="{E2D77560-8DF6-88C7-5A8C-55159457305A}"/>
          </ac:spMkLst>
        </pc:spChg>
        <pc:spChg chg="mod ord">
          <ac:chgData name="Deimonmi Nongrum [Chillibreeze]" userId="e937f645-8c95-42a9-a298-dfd645e9a76a" providerId="ADAL" clId="{750E9A50-ACEA-48D3-B2C6-355D5EC56876}" dt="2024-06-13T12:36:03.557" v="4847" actId="1035"/>
          <ac:spMkLst>
            <pc:docMk/>
            <pc:sldMk cId="1392855861" sldId="2147482410"/>
            <ac:spMk id="32" creationId="{BE0D24BA-ED14-CEA8-298D-B3439676BAF4}"/>
          </ac:spMkLst>
        </pc:spChg>
        <pc:spChg chg="mod ord">
          <ac:chgData name="Deimonmi Nongrum [Chillibreeze]" userId="e937f645-8c95-42a9-a298-dfd645e9a76a" providerId="ADAL" clId="{750E9A50-ACEA-48D3-B2C6-355D5EC56876}" dt="2024-06-13T12:36:03.557" v="4847" actId="1035"/>
          <ac:spMkLst>
            <pc:docMk/>
            <pc:sldMk cId="1392855861" sldId="2147482410"/>
            <ac:spMk id="33" creationId="{C39309D3-5515-4D49-E3CD-DA5C459F18E6}"/>
          </ac:spMkLst>
        </pc:spChg>
        <pc:spChg chg="mod ord">
          <ac:chgData name="Deimonmi Nongrum [Chillibreeze]" userId="e937f645-8c95-42a9-a298-dfd645e9a76a" providerId="ADAL" clId="{750E9A50-ACEA-48D3-B2C6-355D5EC56876}" dt="2024-06-13T11:16:43.321" v="3356" actId="167"/>
          <ac:spMkLst>
            <pc:docMk/>
            <pc:sldMk cId="1392855861" sldId="2147482410"/>
            <ac:spMk id="39" creationId="{FD6F9847-180D-7C2F-1862-4405BEAD431E}"/>
          </ac:spMkLst>
        </pc:spChg>
        <pc:spChg chg="ord">
          <ac:chgData name="Deimonmi Nongrum [Chillibreeze]" userId="e937f645-8c95-42a9-a298-dfd645e9a76a" providerId="ADAL" clId="{750E9A50-ACEA-48D3-B2C6-355D5EC56876}" dt="2024-06-13T11:16:52.610" v="3370"/>
          <ac:spMkLst>
            <pc:docMk/>
            <pc:sldMk cId="1392855861" sldId="2147482410"/>
            <ac:spMk id="40" creationId="{68D34E91-F82E-7B84-CD84-753859BC0B76}"/>
          </ac:spMkLst>
        </pc:spChg>
        <pc:spChg chg="mod ord">
          <ac:chgData name="Deimonmi Nongrum [Chillibreeze]" userId="e937f645-8c95-42a9-a298-dfd645e9a76a" providerId="ADAL" clId="{750E9A50-ACEA-48D3-B2C6-355D5EC56876}" dt="2024-06-13T11:16:43.321" v="3356" actId="167"/>
          <ac:spMkLst>
            <pc:docMk/>
            <pc:sldMk cId="1392855861" sldId="2147482410"/>
            <ac:spMk id="41" creationId="{372A72D8-3C61-62FE-08A2-1BAE7946DF71}"/>
          </ac:spMkLst>
        </pc:spChg>
        <pc:grpChg chg="del">
          <ac:chgData name="Deimonmi Nongrum [Chillibreeze]" userId="e937f645-8c95-42a9-a298-dfd645e9a76a" providerId="ADAL" clId="{750E9A50-ACEA-48D3-B2C6-355D5EC56876}" dt="2024-06-13T04:36:44.598" v="1066" actId="478"/>
          <ac:grpSpMkLst>
            <pc:docMk/>
            <pc:sldMk cId="1392855861" sldId="2147482410"/>
            <ac:grpSpMk id="5" creationId="{72707788-DD47-B49E-E682-2F7E2CA8683B}"/>
          </ac:grpSpMkLst>
        </pc:grpChg>
        <pc:grpChg chg="mod ord">
          <ac:chgData name="Deimonmi Nongrum [Chillibreeze]" userId="e937f645-8c95-42a9-a298-dfd645e9a76a" providerId="ADAL" clId="{750E9A50-ACEA-48D3-B2C6-355D5EC56876}" dt="2024-06-13T11:16:43.321" v="3356" actId="167"/>
          <ac:grpSpMkLst>
            <pc:docMk/>
            <pc:sldMk cId="1392855861" sldId="2147482410"/>
            <ac:grpSpMk id="58" creationId="{E87D23CC-233C-DE21-A7A6-C0E9B89DCDDE}"/>
          </ac:grpSpMkLst>
        </pc:grpChg>
        <pc:picChg chg="mod ord">
          <ac:chgData name="Deimonmi Nongrum [Chillibreeze]" userId="e937f645-8c95-42a9-a298-dfd645e9a76a" providerId="ADAL" clId="{750E9A50-ACEA-48D3-B2C6-355D5EC56876}" dt="2024-06-13T12:39:52.980" v="5262" actId="962"/>
          <ac:picMkLst>
            <pc:docMk/>
            <pc:sldMk cId="1392855861" sldId="2147482410"/>
            <ac:picMk id="10" creationId="{5D1ECE41-50DD-52F8-D3B3-B28214775EEB}"/>
          </ac:picMkLst>
        </pc:picChg>
        <pc:cxnChg chg="add del mod">
          <ac:chgData name="Deimonmi Nongrum [Chillibreeze]" userId="e937f645-8c95-42a9-a298-dfd645e9a76a" providerId="ADAL" clId="{750E9A50-ACEA-48D3-B2C6-355D5EC56876}" dt="2024-06-13T12:37:37.201" v="4863" actId="11529"/>
          <ac:cxnSpMkLst>
            <pc:docMk/>
            <pc:sldMk cId="1392855861" sldId="2147482410"/>
            <ac:cxnSpMk id="4" creationId="{FF8312F7-51CA-6CE1-AAC9-8EB6895662F4}"/>
          </ac:cxnSpMkLst>
        </pc:cxnChg>
      </pc:sldChg>
      <pc:sldChg chg="modSp mod">
        <pc:chgData name="Deimonmi Nongrum [Chillibreeze]" userId="e937f645-8c95-42a9-a298-dfd645e9a76a" providerId="ADAL" clId="{750E9A50-ACEA-48D3-B2C6-355D5EC56876}" dt="2024-06-13T11:02:13.372" v="3072" actId="1076"/>
        <pc:sldMkLst>
          <pc:docMk/>
          <pc:sldMk cId="0" sldId="2147482411"/>
        </pc:sldMkLst>
        <pc:picChg chg="mod">
          <ac:chgData name="Deimonmi Nongrum [Chillibreeze]" userId="e937f645-8c95-42a9-a298-dfd645e9a76a" providerId="ADAL" clId="{750E9A50-ACEA-48D3-B2C6-355D5EC56876}" dt="2024-06-13T11:02:13.372" v="3072" actId="1076"/>
          <ac:picMkLst>
            <pc:docMk/>
            <pc:sldMk cId="0" sldId="2147482411"/>
            <ac:picMk id="44" creationId="{12A5B2D8-4C4E-3EAC-4C65-5F945B50AC5B}"/>
          </ac:picMkLst>
        </pc:picChg>
      </pc:sldChg>
      <pc:sldChg chg="modSp">
        <pc:chgData name="Deimonmi Nongrum [Chillibreeze]" userId="e937f645-8c95-42a9-a298-dfd645e9a76a" providerId="ADAL" clId="{750E9A50-ACEA-48D3-B2C6-355D5EC56876}" dt="2024-06-13T12:03:57.227" v="4057" actId="20577"/>
        <pc:sldMkLst>
          <pc:docMk/>
          <pc:sldMk cId="0" sldId="2147482413"/>
        </pc:sldMkLst>
        <pc:spChg chg="mod">
          <ac:chgData name="Deimonmi Nongrum [Chillibreeze]" userId="e937f645-8c95-42a9-a298-dfd645e9a76a" providerId="ADAL" clId="{750E9A50-ACEA-48D3-B2C6-355D5EC56876}" dt="2024-06-13T12:03:57.227" v="4057" actId="20577"/>
          <ac:spMkLst>
            <pc:docMk/>
            <pc:sldMk cId="0" sldId="2147482413"/>
            <ac:spMk id="14" creationId="{F29C47E6-CB9D-DDD4-594D-94549AA72141}"/>
          </ac:spMkLst>
        </pc:spChg>
      </pc:sldChg>
      <pc:sldMasterChg chg="del delSldLayout">
        <pc:chgData name="Deimonmi Nongrum [Chillibreeze]" userId="e937f645-8c95-42a9-a298-dfd645e9a76a" providerId="ADAL" clId="{750E9A50-ACEA-48D3-B2C6-355D5EC56876}" dt="2024-06-12T03:52:28.320" v="1" actId="700"/>
        <pc:sldMasterMkLst>
          <pc:docMk/>
          <pc:sldMasterMk cId="0" sldId="2147484008"/>
        </pc:sldMasterMkLst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4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4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5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5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5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5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5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5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5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5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5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5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6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6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6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6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6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6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6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6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6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6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7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7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7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7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7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7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7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7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7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7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8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8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8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8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8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8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8"/>
            <pc:sldLayoutMk cId="0" sldId="2147483686"/>
          </pc:sldLayoutMkLst>
        </pc:sldLayoutChg>
      </pc:sldMasterChg>
      <pc:sldMasterChg chg="del delSldLayout">
        <pc:chgData name="Deimonmi Nongrum [Chillibreeze]" userId="e937f645-8c95-42a9-a298-dfd645e9a76a" providerId="ADAL" clId="{750E9A50-ACEA-48D3-B2C6-355D5EC56876}" dt="2024-06-12T03:52:28.320" v="1" actId="700"/>
        <pc:sldMasterMkLst>
          <pc:docMk/>
          <pc:sldMasterMk cId="0" sldId="2147484009"/>
        </pc:sldMasterMkLst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68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68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68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69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69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69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69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69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69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69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69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69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69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70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70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70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70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70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70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70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70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70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70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71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71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71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71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71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71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71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71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71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71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72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09"/>
            <pc:sldLayoutMk cId="0" sldId="2147483721"/>
          </pc:sldLayoutMkLst>
        </pc:sldLayoutChg>
      </pc:sldMasterChg>
      <pc:sldMasterChg chg="del delSldLayout">
        <pc:chgData name="Deimonmi Nongrum [Chillibreeze]" userId="e937f645-8c95-42a9-a298-dfd645e9a76a" providerId="ADAL" clId="{750E9A50-ACEA-48D3-B2C6-355D5EC56876}" dt="2024-06-12T03:52:28.320" v="1" actId="700"/>
        <pc:sldMasterMkLst>
          <pc:docMk/>
          <pc:sldMasterMk cId="0" sldId="2147484010"/>
        </pc:sldMasterMkLst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0"/>
            <pc:sldLayoutMk cId="0" sldId="214748372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0"/>
            <pc:sldLayoutMk cId="0" sldId="214748372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0"/>
            <pc:sldLayoutMk cId="0" sldId="214748372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0"/>
            <pc:sldLayoutMk cId="0" sldId="214748372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0"/>
            <pc:sldLayoutMk cId="0" sldId="214748372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0"/>
            <pc:sldLayoutMk cId="0" sldId="214748372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0"/>
            <pc:sldLayoutMk cId="0" sldId="214748372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0"/>
            <pc:sldLayoutMk cId="0" sldId="214748372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0"/>
            <pc:sldLayoutMk cId="0" sldId="214748373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0"/>
            <pc:sldLayoutMk cId="0" sldId="214748373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0"/>
            <pc:sldLayoutMk cId="0" sldId="214748373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0"/>
            <pc:sldLayoutMk cId="0" sldId="214748373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0"/>
            <pc:sldLayoutMk cId="0" sldId="214748373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0"/>
            <pc:sldLayoutMk cId="0" sldId="214748373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0"/>
            <pc:sldLayoutMk cId="0" sldId="214748373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0"/>
            <pc:sldLayoutMk cId="0" sldId="214748373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0"/>
            <pc:sldLayoutMk cId="0" sldId="214748373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0"/>
            <pc:sldLayoutMk cId="0" sldId="214748373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0"/>
            <pc:sldLayoutMk cId="0" sldId="214748374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0"/>
            <pc:sldLayoutMk cId="0" sldId="214748374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0"/>
            <pc:sldLayoutMk cId="0" sldId="214748374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0"/>
            <pc:sldLayoutMk cId="0" sldId="214748374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0"/>
            <pc:sldLayoutMk cId="0" sldId="214748374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0"/>
            <pc:sldLayoutMk cId="0" sldId="214748374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0"/>
            <pc:sldLayoutMk cId="0" sldId="214748374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0"/>
            <pc:sldLayoutMk cId="0" sldId="2147483747"/>
          </pc:sldLayoutMkLst>
        </pc:sldLayoutChg>
      </pc:sldMasterChg>
      <pc:sldMasterChg chg="del delSldLayout">
        <pc:chgData name="Deimonmi Nongrum [Chillibreeze]" userId="e937f645-8c95-42a9-a298-dfd645e9a76a" providerId="ADAL" clId="{750E9A50-ACEA-48D3-B2C6-355D5EC56876}" dt="2024-06-12T03:52:28.320" v="1" actId="700"/>
        <pc:sldMasterMkLst>
          <pc:docMk/>
          <pc:sldMasterMk cId="0" sldId="2147484011"/>
        </pc:sldMasterMkLst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4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4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5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5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5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5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5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5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5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5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5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5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6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6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6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6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6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6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6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6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6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6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7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7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7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7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7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7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7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7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7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7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8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8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8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1"/>
            <pc:sldLayoutMk cId="0" sldId="2147483783"/>
          </pc:sldLayoutMkLst>
        </pc:sldLayoutChg>
      </pc:sldMasterChg>
      <pc:sldMasterChg chg="del delSldLayout">
        <pc:chgData name="Deimonmi Nongrum [Chillibreeze]" userId="e937f645-8c95-42a9-a298-dfd645e9a76a" providerId="ADAL" clId="{750E9A50-ACEA-48D3-B2C6-355D5EC56876}" dt="2024-06-12T03:52:28.320" v="1" actId="700"/>
        <pc:sldMasterMkLst>
          <pc:docMk/>
          <pc:sldMasterMk cId="0" sldId="2147484012"/>
        </pc:sldMasterMkLst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78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78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78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78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78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78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79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79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79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79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79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79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79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79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79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79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80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80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80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80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80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80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80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80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80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80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81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81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81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81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81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81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81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81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81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81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82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82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82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82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82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2"/>
            <pc:sldLayoutMk cId="0" sldId="2147483825"/>
          </pc:sldLayoutMkLst>
        </pc:sldLayoutChg>
      </pc:sldMasterChg>
      <pc:sldMasterChg chg="del delSldLayout">
        <pc:chgData name="Deimonmi Nongrum [Chillibreeze]" userId="e937f645-8c95-42a9-a298-dfd645e9a76a" providerId="ADAL" clId="{750E9A50-ACEA-48D3-B2C6-355D5EC56876}" dt="2024-06-12T03:52:28.320" v="1" actId="700"/>
        <pc:sldMasterMkLst>
          <pc:docMk/>
          <pc:sldMasterMk cId="0" sldId="2147484013"/>
        </pc:sldMasterMkLst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2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2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2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2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3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3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3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3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3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3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3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3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3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3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4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4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4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4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4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4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4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4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4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4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5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5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5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5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5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5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5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5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5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5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6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6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6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6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6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6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3"/>
            <pc:sldLayoutMk cId="0" sldId="2147483866"/>
          </pc:sldLayoutMkLst>
        </pc:sldLayoutChg>
      </pc:sldMasterChg>
      <pc:sldMasterChg chg="del delSldLayout">
        <pc:chgData name="Deimonmi Nongrum [Chillibreeze]" userId="e937f645-8c95-42a9-a298-dfd645e9a76a" providerId="ADAL" clId="{750E9A50-ACEA-48D3-B2C6-355D5EC56876}" dt="2024-06-12T03:52:28.320" v="1" actId="700"/>
        <pc:sldMasterMkLst>
          <pc:docMk/>
          <pc:sldMasterMk cId="0" sldId="2147484014"/>
        </pc:sldMasterMkLst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4"/>
            <pc:sldLayoutMk cId="0" sldId="214748386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4"/>
            <pc:sldLayoutMk cId="0" sldId="214748386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4"/>
            <pc:sldLayoutMk cId="0" sldId="214748386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4"/>
            <pc:sldLayoutMk cId="0" sldId="214748387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4"/>
            <pc:sldLayoutMk cId="0" sldId="214748387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4"/>
            <pc:sldLayoutMk cId="0" sldId="214748387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4"/>
            <pc:sldLayoutMk cId="0" sldId="214748387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4"/>
            <pc:sldLayoutMk cId="0" sldId="214748387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4"/>
            <pc:sldLayoutMk cId="0" sldId="214748387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4"/>
            <pc:sldLayoutMk cId="0" sldId="214748387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4"/>
            <pc:sldLayoutMk cId="0" sldId="214748387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4"/>
            <pc:sldLayoutMk cId="0" sldId="214748387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4"/>
            <pc:sldLayoutMk cId="0" sldId="214748387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4"/>
            <pc:sldLayoutMk cId="0" sldId="214748388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4"/>
            <pc:sldLayoutMk cId="0" sldId="214748388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4"/>
            <pc:sldLayoutMk cId="0" sldId="214748388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4"/>
            <pc:sldLayoutMk cId="0" sldId="214748388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4"/>
            <pc:sldLayoutMk cId="0" sldId="214748388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4"/>
            <pc:sldLayoutMk cId="0" sldId="214748388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4"/>
            <pc:sldLayoutMk cId="0" sldId="214748388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4"/>
            <pc:sldLayoutMk cId="0" sldId="214748388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4"/>
            <pc:sldLayoutMk cId="0" sldId="214748388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4"/>
            <pc:sldLayoutMk cId="0" sldId="214748388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4"/>
            <pc:sldLayoutMk cId="0" sldId="214748389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4"/>
            <pc:sldLayoutMk cId="0" sldId="214748389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4"/>
            <pc:sldLayoutMk cId="0" sldId="2147483892"/>
          </pc:sldLayoutMkLst>
        </pc:sldLayoutChg>
      </pc:sldMasterChg>
      <pc:sldMasterChg chg="del delSldLayout">
        <pc:chgData name="Deimonmi Nongrum [Chillibreeze]" userId="e937f645-8c95-42a9-a298-dfd645e9a76a" providerId="ADAL" clId="{750E9A50-ACEA-48D3-B2C6-355D5EC56876}" dt="2024-06-12T03:52:28.320" v="1" actId="700"/>
        <pc:sldMasterMkLst>
          <pc:docMk/>
          <pc:sldMasterMk cId="0" sldId="2147484015"/>
        </pc:sldMasterMkLst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89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89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89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89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89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89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89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0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0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0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0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0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0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0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0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0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0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1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1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1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1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1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1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1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1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1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1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2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2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2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2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2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2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2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2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2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2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3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3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3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3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3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3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3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3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3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3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4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4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4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4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4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4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4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4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4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4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5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5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5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5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5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5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5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5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5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5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5"/>
            <pc:sldLayoutMk cId="0" sldId="2147483960"/>
          </pc:sldLayoutMkLst>
        </pc:sldLayoutChg>
      </pc:sldMasterChg>
      <pc:sldMasterChg chg="del delSldLayout">
        <pc:chgData name="Deimonmi Nongrum [Chillibreeze]" userId="e937f645-8c95-42a9-a298-dfd645e9a76a" providerId="ADAL" clId="{750E9A50-ACEA-48D3-B2C6-355D5EC56876}" dt="2024-06-12T03:52:28.320" v="1" actId="700"/>
        <pc:sldMasterMkLst>
          <pc:docMk/>
          <pc:sldMasterMk cId="0" sldId="2147484016"/>
        </pc:sldMasterMkLst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6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6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6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6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6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6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6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6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6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7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7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7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7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7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7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7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7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7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7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8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8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8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8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8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8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8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8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8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8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9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9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9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9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9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9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9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9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9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399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400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400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6"/>
            <pc:sldLayoutMk cId="0" sldId="2147484002"/>
          </pc:sldLayoutMkLst>
        </pc:sldLayoutChg>
      </pc:sldMasterChg>
      <pc:sldMasterChg chg="del delSldLayout">
        <pc:chgData name="Deimonmi Nongrum [Chillibreeze]" userId="e937f645-8c95-42a9-a298-dfd645e9a76a" providerId="ADAL" clId="{750E9A50-ACEA-48D3-B2C6-355D5EC56876}" dt="2024-06-12T03:52:28.320" v="1" actId="700"/>
        <pc:sldMasterMkLst>
          <pc:docMk/>
          <pc:sldMasterMk cId="0" sldId="2147484017"/>
        </pc:sldMasterMkLst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7"/>
            <pc:sldLayoutMk cId="0" sldId="214748400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7"/>
            <pc:sldLayoutMk cId="0" sldId="214748400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7"/>
            <pc:sldLayoutMk cId="0" sldId="214748400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7"/>
            <pc:sldLayoutMk cId="0" sldId="214748400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3:52:28.320" v="1" actId="700"/>
          <pc:sldLayoutMkLst>
            <pc:docMk/>
            <pc:sldMasterMk cId="0" sldId="2147484017"/>
            <pc:sldLayoutMk cId="0" sldId="2147484007"/>
          </pc:sldLayoutMkLst>
        </pc:sldLayoutChg>
      </pc:sldMasterChg>
      <pc:sldMasterChg chg="add del addSldLayout delSldLayout">
        <pc:chgData name="Deimonmi Nongrum [Chillibreeze]" userId="e937f645-8c95-42a9-a298-dfd645e9a76a" providerId="ADAL" clId="{750E9A50-ACEA-48D3-B2C6-355D5EC56876}" dt="2024-06-12T09:43:05.397" v="152" actId="2696"/>
        <pc:sldMasterMkLst>
          <pc:docMk/>
          <pc:sldMasterMk cId="3812057535" sldId="2147484018"/>
        </pc:sldMasterMkLst>
        <pc:sldLayoutChg chg="add del">
          <pc:chgData name="Deimonmi Nongrum [Chillibreeze]" userId="e937f645-8c95-42a9-a298-dfd645e9a76a" providerId="ADAL" clId="{750E9A50-ACEA-48D3-B2C6-355D5EC56876}" dt="2024-06-12T09:43:05.397" v="152" actId="2696"/>
          <pc:sldLayoutMkLst>
            <pc:docMk/>
            <pc:sldMasterMk cId="3812057535" sldId="2147484018"/>
            <pc:sldLayoutMk cId="3482249629" sldId="2147484019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388" v="151" actId="2696"/>
          <pc:sldLayoutMkLst>
            <pc:docMk/>
            <pc:sldMasterMk cId="3812057535" sldId="2147484018"/>
            <pc:sldLayoutMk cId="3292565261" sldId="2147484020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379" v="150" actId="2696"/>
          <pc:sldLayoutMkLst>
            <pc:docMk/>
            <pc:sldMasterMk cId="3812057535" sldId="2147484018"/>
            <pc:sldLayoutMk cId="4264116750" sldId="2147484021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369" v="149" actId="2696"/>
          <pc:sldLayoutMkLst>
            <pc:docMk/>
            <pc:sldMasterMk cId="3812057535" sldId="2147484018"/>
            <pc:sldLayoutMk cId="1350656632" sldId="2147484022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361" v="148" actId="2696"/>
          <pc:sldLayoutMkLst>
            <pc:docMk/>
            <pc:sldMasterMk cId="3812057535" sldId="2147484018"/>
            <pc:sldLayoutMk cId="3117772581" sldId="2147484023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351" v="147" actId="2696"/>
          <pc:sldLayoutMkLst>
            <pc:docMk/>
            <pc:sldMasterMk cId="3812057535" sldId="2147484018"/>
            <pc:sldLayoutMk cId="3015997156" sldId="2147484024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342" v="146" actId="2696"/>
          <pc:sldLayoutMkLst>
            <pc:docMk/>
            <pc:sldMasterMk cId="3812057535" sldId="2147484018"/>
            <pc:sldLayoutMk cId="4196489457" sldId="2147484025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333" v="145" actId="2696"/>
          <pc:sldLayoutMkLst>
            <pc:docMk/>
            <pc:sldMasterMk cId="3812057535" sldId="2147484018"/>
            <pc:sldLayoutMk cId="2748272975" sldId="2147484026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325" v="144" actId="2696"/>
          <pc:sldLayoutMkLst>
            <pc:docMk/>
            <pc:sldMasterMk cId="3812057535" sldId="2147484018"/>
            <pc:sldLayoutMk cId="1208067677" sldId="2147484027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318" v="143" actId="2696"/>
          <pc:sldLayoutMkLst>
            <pc:docMk/>
            <pc:sldMasterMk cId="3812057535" sldId="2147484018"/>
            <pc:sldLayoutMk cId="1811512467" sldId="2147484028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309" v="142" actId="2696"/>
          <pc:sldLayoutMkLst>
            <pc:docMk/>
            <pc:sldMasterMk cId="3812057535" sldId="2147484018"/>
            <pc:sldLayoutMk cId="2695042893" sldId="2147484029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301" v="141" actId="2696"/>
          <pc:sldLayoutMkLst>
            <pc:docMk/>
            <pc:sldMasterMk cId="3812057535" sldId="2147484018"/>
            <pc:sldLayoutMk cId="1275758053" sldId="2147484030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294" v="140" actId="2696"/>
          <pc:sldLayoutMkLst>
            <pc:docMk/>
            <pc:sldMasterMk cId="3812057535" sldId="2147484018"/>
            <pc:sldLayoutMk cId="2864545996" sldId="2147484031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284" v="139" actId="2696"/>
          <pc:sldLayoutMkLst>
            <pc:docMk/>
            <pc:sldMasterMk cId="3812057535" sldId="2147484018"/>
            <pc:sldLayoutMk cId="3361511337" sldId="2147484032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270" v="138" actId="2696"/>
          <pc:sldLayoutMkLst>
            <pc:docMk/>
            <pc:sldMasterMk cId="3812057535" sldId="2147484018"/>
            <pc:sldLayoutMk cId="1244413144" sldId="2147484033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263" v="137" actId="2696"/>
          <pc:sldLayoutMkLst>
            <pc:docMk/>
            <pc:sldMasterMk cId="3812057535" sldId="2147484018"/>
            <pc:sldLayoutMk cId="2286561846" sldId="2147484034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254" v="136" actId="2696"/>
          <pc:sldLayoutMkLst>
            <pc:docMk/>
            <pc:sldMasterMk cId="3812057535" sldId="2147484018"/>
            <pc:sldLayoutMk cId="3641159727" sldId="2147484035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245" v="135" actId="2696"/>
          <pc:sldLayoutMkLst>
            <pc:docMk/>
            <pc:sldMasterMk cId="3812057535" sldId="2147484018"/>
            <pc:sldLayoutMk cId="1867675469" sldId="2147484036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235" v="134" actId="2696"/>
          <pc:sldLayoutMkLst>
            <pc:docMk/>
            <pc:sldMasterMk cId="3812057535" sldId="2147484018"/>
            <pc:sldLayoutMk cId="2796224255" sldId="2147484037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225" v="133" actId="2696"/>
          <pc:sldLayoutMkLst>
            <pc:docMk/>
            <pc:sldMasterMk cId="3812057535" sldId="2147484018"/>
            <pc:sldLayoutMk cId="4053762180" sldId="2147484038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213" v="132" actId="2696"/>
          <pc:sldLayoutMkLst>
            <pc:docMk/>
            <pc:sldMasterMk cId="3812057535" sldId="2147484018"/>
            <pc:sldLayoutMk cId="3027980819" sldId="2147484039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204" v="131" actId="2696"/>
          <pc:sldLayoutMkLst>
            <pc:docMk/>
            <pc:sldMasterMk cId="3812057535" sldId="2147484018"/>
            <pc:sldLayoutMk cId="2319600669" sldId="2147484040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194" v="130" actId="2696"/>
          <pc:sldLayoutMkLst>
            <pc:docMk/>
            <pc:sldMasterMk cId="3812057535" sldId="2147484018"/>
            <pc:sldLayoutMk cId="1886113827" sldId="2147484041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186" v="129" actId="2696"/>
          <pc:sldLayoutMkLst>
            <pc:docMk/>
            <pc:sldMasterMk cId="3812057535" sldId="2147484018"/>
            <pc:sldLayoutMk cId="1985120072" sldId="2147484042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172" v="128" actId="2696"/>
          <pc:sldLayoutMkLst>
            <pc:docMk/>
            <pc:sldMasterMk cId="3812057535" sldId="2147484018"/>
            <pc:sldLayoutMk cId="3953394871" sldId="2147484043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165" v="127" actId="2696"/>
          <pc:sldLayoutMkLst>
            <pc:docMk/>
            <pc:sldMasterMk cId="3812057535" sldId="2147484018"/>
            <pc:sldLayoutMk cId="235860586" sldId="2147484044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155" v="126" actId="2696"/>
          <pc:sldLayoutMkLst>
            <pc:docMk/>
            <pc:sldMasterMk cId="3812057535" sldId="2147484018"/>
            <pc:sldLayoutMk cId="2022161862" sldId="2147484045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145" v="125" actId="2696"/>
          <pc:sldLayoutMkLst>
            <pc:docMk/>
            <pc:sldMasterMk cId="3812057535" sldId="2147484018"/>
            <pc:sldLayoutMk cId="905068513" sldId="2147484046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137" v="124" actId="2696"/>
          <pc:sldLayoutMkLst>
            <pc:docMk/>
            <pc:sldMasterMk cId="3812057535" sldId="2147484018"/>
            <pc:sldLayoutMk cId="2008444328" sldId="2147484047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130" v="123" actId="2696"/>
          <pc:sldLayoutMkLst>
            <pc:docMk/>
            <pc:sldMasterMk cId="3812057535" sldId="2147484018"/>
            <pc:sldLayoutMk cId="3379868355" sldId="2147484048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121" v="122" actId="2696"/>
          <pc:sldLayoutMkLst>
            <pc:docMk/>
            <pc:sldMasterMk cId="3812057535" sldId="2147484018"/>
            <pc:sldLayoutMk cId="3992879274" sldId="2147484049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114" v="121" actId="2696"/>
          <pc:sldLayoutMkLst>
            <pc:docMk/>
            <pc:sldMasterMk cId="3812057535" sldId="2147484018"/>
            <pc:sldLayoutMk cId="496359323" sldId="2147484050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104" v="120" actId="2696"/>
          <pc:sldLayoutMkLst>
            <pc:docMk/>
            <pc:sldMasterMk cId="3812057535" sldId="2147484018"/>
            <pc:sldLayoutMk cId="1842618785" sldId="2147484051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096" v="119" actId="2696"/>
          <pc:sldLayoutMkLst>
            <pc:docMk/>
            <pc:sldMasterMk cId="3812057535" sldId="2147484018"/>
            <pc:sldLayoutMk cId="1410505329" sldId="2147484052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089" v="118" actId="2696"/>
          <pc:sldLayoutMkLst>
            <pc:docMk/>
            <pc:sldMasterMk cId="3812057535" sldId="2147484018"/>
            <pc:sldLayoutMk cId="974283437" sldId="2147484053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081" v="117" actId="2696"/>
          <pc:sldLayoutMkLst>
            <pc:docMk/>
            <pc:sldMasterMk cId="3812057535" sldId="2147484018"/>
            <pc:sldLayoutMk cId="3249403308" sldId="2147484054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074" v="116" actId="2696"/>
          <pc:sldLayoutMkLst>
            <pc:docMk/>
            <pc:sldMasterMk cId="3812057535" sldId="2147484018"/>
            <pc:sldLayoutMk cId="261413606" sldId="2147484055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065" v="115" actId="2696"/>
          <pc:sldLayoutMkLst>
            <pc:docMk/>
            <pc:sldMasterMk cId="3812057535" sldId="2147484018"/>
            <pc:sldLayoutMk cId="126765350" sldId="2147484056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057" v="114" actId="2696"/>
          <pc:sldLayoutMkLst>
            <pc:docMk/>
            <pc:sldMasterMk cId="3812057535" sldId="2147484018"/>
            <pc:sldLayoutMk cId="1200780615" sldId="2147484057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051" v="113" actId="2696"/>
          <pc:sldLayoutMkLst>
            <pc:docMk/>
            <pc:sldMasterMk cId="3812057535" sldId="2147484018"/>
            <pc:sldLayoutMk cId="575176631" sldId="2147484058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045" v="112" actId="2696"/>
          <pc:sldLayoutMkLst>
            <pc:docMk/>
            <pc:sldMasterMk cId="3812057535" sldId="2147484018"/>
            <pc:sldLayoutMk cId="3875737997" sldId="2147484059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038" v="111" actId="2696"/>
          <pc:sldLayoutMkLst>
            <pc:docMk/>
            <pc:sldMasterMk cId="3812057535" sldId="2147484018"/>
            <pc:sldLayoutMk cId="478560044" sldId="2147484060"/>
          </pc:sldLayoutMkLst>
        </pc:sldLayoutChg>
        <pc:sldLayoutChg chg="add del">
          <pc:chgData name="Deimonmi Nongrum [Chillibreeze]" userId="e937f645-8c95-42a9-a298-dfd645e9a76a" providerId="ADAL" clId="{750E9A50-ACEA-48D3-B2C6-355D5EC56876}" dt="2024-06-12T09:43:05.032" v="110" actId="2696"/>
          <pc:sldLayoutMkLst>
            <pc:docMk/>
            <pc:sldMasterMk cId="3812057535" sldId="2147484018"/>
            <pc:sldLayoutMk cId="660871397" sldId="2147484061"/>
          </pc:sldLayoutMkLst>
        </pc:sldLayoutChg>
      </pc:sldMasterChg>
      <pc:sldMasterChg chg="del delSldLayout">
        <pc:chgData name="Deimonmi Nongrum [Chillibreeze]" userId="e937f645-8c95-42a9-a298-dfd645e9a76a" providerId="ADAL" clId="{750E9A50-ACEA-48D3-B2C6-355D5EC56876}" dt="2024-06-12T09:43:35.086" v="190" actId="2696"/>
        <pc:sldMasterMkLst>
          <pc:docMk/>
          <pc:sldMasterMk cId="2964937838" sldId="2147484062"/>
        </pc:sldMasterMkLst>
        <pc:sldLayoutChg chg="del">
          <pc:chgData name="Deimonmi Nongrum [Chillibreeze]" userId="e937f645-8c95-42a9-a298-dfd645e9a76a" providerId="ADAL" clId="{750E9A50-ACEA-48D3-B2C6-355D5EC56876}" dt="2024-06-12T09:43:34.921" v="154" actId="2696"/>
          <pc:sldLayoutMkLst>
            <pc:docMk/>
            <pc:sldMasterMk cId="2964937838" sldId="2147484062"/>
            <pc:sldLayoutMk cId="1381373779" sldId="214748406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4.923" v="155" actId="2696"/>
          <pc:sldLayoutMkLst>
            <pc:docMk/>
            <pc:sldMasterMk cId="2964937838" sldId="2147484062"/>
            <pc:sldLayoutMk cId="1875419482" sldId="214748406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4.931" v="156" actId="2696"/>
          <pc:sldLayoutMkLst>
            <pc:docMk/>
            <pc:sldMasterMk cId="2964937838" sldId="2147484062"/>
            <pc:sldLayoutMk cId="3214314803" sldId="214748406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4.936" v="157" actId="2696"/>
          <pc:sldLayoutMkLst>
            <pc:docMk/>
            <pc:sldMasterMk cId="2964937838" sldId="2147484062"/>
            <pc:sldLayoutMk cId="1437201424" sldId="214748406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4.939" v="158" actId="2696"/>
          <pc:sldLayoutMkLst>
            <pc:docMk/>
            <pc:sldMasterMk cId="2964937838" sldId="2147484062"/>
            <pc:sldLayoutMk cId="3846936439" sldId="214748406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4.944" v="159" actId="2696"/>
          <pc:sldLayoutMkLst>
            <pc:docMk/>
            <pc:sldMasterMk cId="2964937838" sldId="2147484062"/>
            <pc:sldLayoutMk cId="3158421598" sldId="214748406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4.949" v="160" actId="2696"/>
          <pc:sldLayoutMkLst>
            <pc:docMk/>
            <pc:sldMasterMk cId="2964937838" sldId="2147484062"/>
            <pc:sldLayoutMk cId="2707162579" sldId="214748406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4.952" v="161" actId="2696"/>
          <pc:sldLayoutMkLst>
            <pc:docMk/>
            <pc:sldMasterMk cId="2964937838" sldId="2147484062"/>
            <pc:sldLayoutMk cId="2804177952" sldId="214748407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4.956" v="162" actId="2696"/>
          <pc:sldLayoutMkLst>
            <pc:docMk/>
            <pc:sldMasterMk cId="2964937838" sldId="2147484062"/>
            <pc:sldLayoutMk cId="1503601159" sldId="214748407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4.961" v="163" actId="2696"/>
          <pc:sldLayoutMkLst>
            <pc:docMk/>
            <pc:sldMasterMk cId="2964937838" sldId="2147484062"/>
            <pc:sldLayoutMk cId="4128042598" sldId="214748407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4.965" v="164" actId="2696"/>
          <pc:sldLayoutMkLst>
            <pc:docMk/>
            <pc:sldMasterMk cId="2964937838" sldId="2147484062"/>
            <pc:sldLayoutMk cId="329184827" sldId="214748407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4.971" v="165" actId="2696"/>
          <pc:sldLayoutMkLst>
            <pc:docMk/>
            <pc:sldMasterMk cId="2964937838" sldId="2147484062"/>
            <pc:sldLayoutMk cId="2870884884" sldId="214748407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4.976" v="166" actId="2696"/>
          <pc:sldLayoutMkLst>
            <pc:docMk/>
            <pc:sldMasterMk cId="2964937838" sldId="2147484062"/>
            <pc:sldLayoutMk cId="4214759566" sldId="214748407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4.980" v="167" actId="2696"/>
          <pc:sldLayoutMkLst>
            <pc:docMk/>
            <pc:sldMasterMk cId="2964937838" sldId="2147484062"/>
            <pc:sldLayoutMk cId="760131207" sldId="214748407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4.984" v="168" actId="2696"/>
          <pc:sldLayoutMkLst>
            <pc:docMk/>
            <pc:sldMasterMk cId="2964937838" sldId="2147484062"/>
            <pc:sldLayoutMk cId="1167790356" sldId="214748407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4.990" v="169" actId="2696"/>
          <pc:sldLayoutMkLst>
            <pc:docMk/>
            <pc:sldMasterMk cId="2964937838" sldId="2147484062"/>
            <pc:sldLayoutMk cId="4017251554" sldId="214748407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4.995" v="170" actId="2696"/>
          <pc:sldLayoutMkLst>
            <pc:docMk/>
            <pc:sldMasterMk cId="2964937838" sldId="2147484062"/>
            <pc:sldLayoutMk cId="779222820" sldId="214748407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5" v="171" actId="2696"/>
          <pc:sldLayoutMkLst>
            <pc:docMk/>
            <pc:sldMasterMk cId="2964937838" sldId="2147484062"/>
            <pc:sldLayoutMk cId="2558463443" sldId="214748408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5.006" v="172" actId="2696"/>
          <pc:sldLayoutMkLst>
            <pc:docMk/>
            <pc:sldMasterMk cId="2964937838" sldId="2147484062"/>
            <pc:sldLayoutMk cId="3069378818" sldId="214748408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5.010" v="173" actId="2696"/>
          <pc:sldLayoutMkLst>
            <pc:docMk/>
            <pc:sldMasterMk cId="2964937838" sldId="2147484062"/>
            <pc:sldLayoutMk cId="11172775" sldId="214748408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5.018" v="174" actId="2696"/>
          <pc:sldLayoutMkLst>
            <pc:docMk/>
            <pc:sldMasterMk cId="2964937838" sldId="2147484062"/>
            <pc:sldLayoutMk cId="4028895926" sldId="214748408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5.026" v="175" actId="2696"/>
          <pc:sldLayoutMkLst>
            <pc:docMk/>
            <pc:sldMasterMk cId="2964937838" sldId="2147484062"/>
            <pc:sldLayoutMk cId="2483900680" sldId="214748408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5.030" v="176" actId="2696"/>
          <pc:sldLayoutMkLst>
            <pc:docMk/>
            <pc:sldMasterMk cId="2964937838" sldId="2147484062"/>
            <pc:sldLayoutMk cId="4049436289" sldId="214748408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5.034" v="177" actId="2696"/>
          <pc:sldLayoutMkLst>
            <pc:docMk/>
            <pc:sldMasterMk cId="2964937838" sldId="2147484062"/>
            <pc:sldLayoutMk cId="2445619747" sldId="214748408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5.038" v="178" actId="2696"/>
          <pc:sldLayoutMkLst>
            <pc:docMk/>
            <pc:sldMasterMk cId="2964937838" sldId="2147484062"/>
            <pc:sldLayoutMk cId="2114271125" sldId="214748408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5.042" v="179" actId="2696"/>
          <pc:sldLayoutMkLst>
            <pc:docMk/>
            <pc:sldMasterMk cId="2964937838" sldId="2147484062"/>
            <pc:sldLayoutMk cId="922759030" sldId="2147484088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5.047" v="180" actId="2696"/>
          <pc:sldLayoutMkLst>
            <pc:docMk/>
            <pc:sldMasterMk cId="2964937838" sldId="2147484062"/>
            <pc:sldLayoutMk cId="2916192774" sldId="2147484089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5.052" v="181" actId="2696"/>
          <pc:sldLayoutMkLst>
            <pc:docMk/>
            <pc:sldMasterMk cId="2964937838" sldId="2147484062"/>
            <pc:sldLayoutMk cId="2504489834" sldId="2147484090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5.056" v="182" actId="2696"/>
          <pc:sldLayoutMkLst>
            <pc:docMk/>
            <pc:sldMasterMk cId="2964937838" sldId="2147484062"/>
            <pc:sldLayoutMk cId="2476889276" sldId="2147484091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5.061" v="183" actId="2696"/>
          <pc:sldLayoutMkLst>
            <pc:docMk/>
            <pc:sldMasterMk cId="2964937838" sldId="2147484062"/>
            <pc:sldLayoutMk cId="4016959598" sldId="2147484092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5.066" v="184" actId="2696"/>
          <pc:sldLayoutMkLst>
            <pc:docMk/>
            <pc:sldMasterMk cId="2964937838" sldId="2147484062"/>
            <pc:sldLayoutMk cId="2160808623" sldId="2147484093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5.069" v="185" actId="2696"/>
          <pc:sldLayoutMkLst>
            <pc:docMk/>
            <pc:sldMasterMk cId="2964937838" sldId="2147484062"/>
            <pc:sldLayoutMk cId="1556322355" sldId="2147484094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5.074" v="186" actId="2696"/>
          <pc:sldLayoutMkLst>
            <pc:docMk/>
            <pc:sldMasterMk cId="2964937838" sldId="2147484062"/>
            <pc:sldLayoutMk cId="1918196264" sldId="2147484095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5.079" v="187" actId="2696"/>
          <pc:sldLayoutMkLst>
            <pc:docMk/>
            <pc:sldMasterMk cId="2964937838" sldId="2147484062"/>
            <pc:sldLayoutMk cId="519308442" sldId="2147484096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5.081" v="188" actId="2696"/>
          <pc:sldLayoutMkLst>
            <pc:docMk/>
            <pc:sldMasterMk cId="2964937838" sldId="2147484062"/>
            <pc:sldLayoutMk cId="1621686712" sldId="2147484097"/>
          </pc:sldLayoutMkLst>
        </pc:sldLayoutChg>
        <pc:sldLayoutChg chg="del">
          <pc:chgData name="Deimonmi Nongrum [Chillibreeze]" userId="e937f645-8c95-42a9-a298-dfd645e9a76a" providerId="ADAL" clId="{750E9A50-ACEA-48D3-B2C6-355D5EC56876}" dt="2024-06-12T09:43:35.084" v="189" actId="2696"/>
          <pc:sldLayoutMkLst>
            <pc:docMk/>
            <pc:sldMasterMk cId="2964937838" sldId="2147484062"/>
            <pc:sldLayoutMk cId="2371374851" sldId="2147484098"/>
          </pc:sldLayoutMkLst>
        </pc:sldLayoutChg>
      </pc:sldMasterChg>
    </pc:docChg>
  </pc:docChgLst>
  <pc:docChgLst>
    <pc:chgData name="Caleb McKee" userId="5a6dfe94-f938-499f-b9b1-1fbff3bab15f" providerId="ADAL" clId="{1F0571D6-2DDD-4272-AC1C-E5BCE58596DD}"/>
    <pc:docChg chg="undo custSel addSld delSld modSld sldOrd">
      <pc:chgData name="Caleb McKee" userId="5a6dfe94-f938-499f-b9b1-1fbff3bab15f" providerId="ADAL" clId="{1F0571D6-2DDD-4272-AC1C-E5BCE58596DD}" dt="2024-06-13T19:15:32.498" v="33"/>
      <pc:docMkLst>
        <pc:docMk/>
      </pc:docMkLst>
      <pc:sldChg chg="mod modShow">
        <pc:chgData name="Caleb McKee" userId="5a6dfe94-f938-499f-b9b1-1fbff3bab15f" providerId="ADAL" clId="{1F0571D6-2DDD-4272-AC1C-E5BCE58596DD}" dt="2024-06-13T19:11:36.964" v="0" actId="729"/>
        <pc:sldMkLst>
          <pc:docMk/>
          <pc:sldMk cId="0" sldId="256"/>
        </pc:sldMkLst>
      </pc:sldChg>
      <pc:sldChg chg="del">
        <pc:chgData name="Caleb McKee" userId="5a6dfe94-f938-499f-b9b1-1fbff3bab15f" providerId="ADAL" clId="{1F0571D6-2DDD-4272-AC1C-E5BCE58596DD}" dt="2024-06-13T19:14:44.572" v="9" actId="47"/>
        <pc:sldMkLst>
          <pc:docMk/>
          <pc:sldMk cId="0" sldId="270"/>
        </pc:sldMkLst>
      </pc:sldChg>
      <pc:sldChg chg="mod ord modShow">
        <pc:chgData name="Caleb McKee" userId="5a6dfe94-f938-499f-b9b1-1fbff3bab15f" providerId="ADAL" clId="{1F0571D6-2DDD-4272-AC1C-E5BCE58596DD}" dt="2024-06-13T19:15:32.498" v="33"/>
        <pc:sldMkLst>
          <pc:docMk/>
          <pc:sldMk cId="0" sldId="288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289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290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292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294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295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296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297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298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299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300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301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302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303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304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305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306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307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308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309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310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311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313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315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316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318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319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320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321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322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323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324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325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326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327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328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329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330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331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332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333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3819318977" sldId="336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2891892298" sldId="2147482409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1392855861" sldId="2147482410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2147482411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2147482413"/>
        </pc:sldMkLst>
      </pc:sldChg>
      <pc:sldChg chg="mod modShow">
        <pc:chgData name="Caleb McKee" userId="5a6dfe94-f938-499f-b9b1-1fbff3bab15f" providerId="ADAL" clId="{1F0571D6-2DDD-4272-AC1C-E5BCE58596DD}" dt="2024-06-13T19:12:12.424" v="1" actId="729"/>
        <pc:sldMkLst>
          <pc:docMk/>
          <pc:sldMk cId="0" sldId="2147482415"/>
        </pc:sldMkLst>
      </pc:sldChg>
      <pc:sldChg chg="addSp delSp modSp add mod delAnim modAnim modNotesTx">
        <pc:chgData name="Caleb McKee" userId="5a6dfe94-f938-499f-b9b1-1fbff3bab15f" providerId="ADAL" clId="{1F0571D6-2DDD-4272-AC1C-E5BCE58596DD}" dt="2024-06-13T19:14:54.348" v="30"/>
        <pc:sldMkLst>
          <pc:docMk/>
          <pc:sldMk cId="3597253023" sldId="2147482416"/>
        </pc:sldMkLst>
        <pc:picChg chg="add mod">
          <ac:chgData name="Caleb McKee" userId="5a6dfe94-f938-499f-b9b1-1fbff3bab15f" providerId="ADAL" clId="{1F0571D6-2DDD-4272-AC1C-E5BCE58596DD}" dt="2024-06-13T19:14:38.569" v="8" actId="14100"/>
          <ac:picMkLst>
            <pc:docMk/>
            <pc:sldMk cId="3597253023" sldId="2147482416"/>
            <ac:picMk id="3" creationId="{1E834D43-620B-FD71-C3C5-6FF5A2CD1078}"/>
          </ac:picMkLst>
        </pc:picChg>
        <pc:picChg chg="del">
          <ac:chgData name="Caleb McKee" userId="5a6dfe94-f938-499f-b9b1-1fbff3bab15f" providerId="ADAL" clId="{1F0571D6-2DDD-4272-AC1C-E5BCE58596DD}" dt="2024-06-13T19:13:50.030" v="3" actId="478"/>
          <ac:picMkLst>
            <pc:docMk/>
            <pc:sldMk cId="3597253023" sldId="2147482416"/>
            <ac:picMk id="4309" creationId="{00000000-0000-0000-0000-000000000000}"/>
          </ac:picMkLst>
        </pc:picChg>
      </pc:sldChg>
    </pc:docChg>
  </pc:docChgLst>
  <pc:docChgLst>
    <pc:chgData name="Daniel Scott-Raynsford" userId="395a309a-7b10-4aa8-83ab-4f4dbcf29616" providerId="ADAL" clId="{2192F7D9-343C-4A52-A5F4-EA89840F7BA6}"/>
    <pc:docChg chg="undo custSel delSld modSld modMainMaster">
      <pc:chgData name="Daniel Scott-Raynsford" userId="395a309a-7b10-4aa8-83ab-4f4dbcf29616" providerId="ADAL" clId="{2192F7D9-343C-4A52-A5F4-EA89840F7BA6}" dt="2024-07-31T19:58:30.356" v="2629" actId="6549"/>
      <pc:docMkLst>
        <pc:docMk/>
      </pc:docMkLst>
      <pc:sldChg chg="modSp mod modNotesTx">
        <pc:chgData name="Daniel Scott-Raynsford" userId="395a309a-7b10-4aa8-83ab-4f4dbcf29616" providerId="ADAL" clId="{2192F7D9-343C-4A52-A5F4-EA89840F7BA6}" dt="2024-07-31T19:58:30.356" v="2629" actId="6549"/>
        <pc:sldMkLst>
          <pc:docMk/>
          <pc:sldMk cId="0" sldId="257"/>
        </pc:sldMkLst>
        <pc:spChg chg="mod">
          <ac:chgData name="Daniel Scott-Raynsford" userId="395a309a-7b10-4aa8-83ab-4f4dbcf29616" providerId="ADAL" clId="{2192F7D9-343C-4A52-A5F4-EA89840F7BA6}" dt="2024-07-31T02:21:17.532" v="2416" actId="20577"/>
          <ac:spMkLst>
            <pc:docMk/>
            <pc:sldMk cId="0" sldId="257"/>
            <ac:spMk id="4116" creationId="{00000000-0000-0000-0000-000000000000}"/>
          </ac:spMkLst>
        </pc:spChg>
      </pc:sldChg>
      <pc:sldChg chg="modSp mod modNotesTx">
        <pc:chgData name="Daniel Scott-Raynsford" userId="395a309a-7b10-4aa8-83ab-4f4dbcf29616" providerId="ADAL" clId="{2192F7D9-343C-4A52-A5F4-EA89840F7BA6}" dt="2024-07-31T19:58:23.090" v="2627" actId="6549"/>
        <pc:sldMkLst>
          <pc:docMk/>
          <pc:sldMk cId="0" sldId="262"/>
        </pc:sldMkLst>
        <pc:spChg chg="mod">
          <ac:chgData name="Daniel Scott-Raynsford" userId="395a309a-7b10-4aa8-83ab-4f4dbcf29616" providerId="ADAL" clId="{2192F7D9-343C-4A52-A5F4-EA89840F7BA6}" dt="2024-07-29T05:30:21.048" v="450" actId="20577"/>
          <ac:spMkLst>
            <pc:docMk/>
            <pc:sldMk cId="0" sldId="262"/>
            <ac:spMk id="28" creationId="{408814FD-FEE3-C827-3230-74C1A0381A90}"/>
          </ac:spMkLst>
        </pc:spChg>
        <pc:spChg chg="mod">
          <ac:chgData name="Daniel Scott-Raynsford" userId="395a309a-7b10-4aa8-83ab-4f4dbcf29616" providerId="ADAL" clId="{2192F7D9-343C-4A52-A5F4-EA89840F7BA6}" dt="2024-07-29T05:32:20.104" v="545" actId="400"/>
          <ac:spMkLst>
            <pc:docMk/>
            <pc:sldMk cId="0" sldId="262"/>
            <ac:spMk id="29" creationId="{967CA259-169C-DBB0-064C-0FE32DF80DE1}"/>
          </ac:spMkLst>
        </pc:spChg>
        <pc:spChg chg="mod">
          <ac:chgData name="Daniel Scott-Raynsford" userId="395a309a-7b10-4aa8-83ab-4f4dbcf29616" providerId="ADAL" clId="{2192F7D9-343C-4A52-A5F4-EA89840F7BA6}" dt="2024-07-29T05:32:29.651" v="560" actId="400"/>
          <ac:spMkLst>
            <pc:docMk/>
            <pc:sldMk cId="0" sldId="262"/>
            <ac:spMk id="30" creationId="{1DB098C4-A74B-890A-0066-7400016D2C5A}"/>
          </ac:spMkLst>
        </pc:spChg>
        <pc:spChg chg="mod">
          <ac:chgData name="Daniel Scott-Raynsford" userId="395a309a-7b10-4aa8-83ab-4f4dbcf29616" providerId="ADAL" clId="{2192F7D9-343C-4A52-A5F4-EA89840F7BA6}" dt="2024-07-29T05:31:36.545" v="474" actId="400"/>
          <ac:spMkLst>
            <pc:docMk/>
            <pc:sldMk cId="0" sldId="262"/>
            <ac:spMk id="31" creationId="{28D20417-FB8A-D832-4E8D-F2EBBB04179E}"/>
          </ac:spMkLst>
        </pc:spChg>
      </pc:sldChg>
      <pc:sldChg chg="modSp del mod">
        <pc:chgData name="Daniel Scott-Raynsford" userId="395a309a-7b10-4aa8-83ab-4f4dbcf29616" providerId="ADAL" clId="{2192F7D9-343C-4A52-A5F4-EA89840F7BA6}" dt="2024-07-31T02:21:30.902" v="2417" actId="47"/>
        <pc:sldMkLst>
          <pc:docMk/>
          <pc:sldMk cId="0" sldId="267"/>
        </pc:sldMkLst>
        <pc:spChg chg="mod">
          <ac:chgData name="Daniel Scott-Raynsford" userId="395a309a-7b10-4aa8-83ab-4f4dbcf29616" providerId="ADAL" clId="{2192F7D9-343C-4A52-A5F4-EA89840F7BA6}" dt="2024-07-29T05:33:29.845" v="582" actId="400"/>
          <ac:spMkLst>
            <pc:docMk/>
            <pc:sldMk cId="0" sldId="267"/>
            <ac:spMk id="4" creationId="{3A905B9A-1C16-7D81-B63D-293C091A379E}"/>
          </ac:spMkLst>
        </pc:spChg>
      </pc:sldChg>
      <pc:sldChg chg="addSp delSp modSp mod modNotesTx">
        <pc:chgData name="Daniel Scott-Raynsford" userId="395a309a-7b10-4aa8-83ab-4f4dbcf29616" providerId="ADAL" clId="{2192F7D9-343C-4A52-A5F4-EA89840F7BA6}" dt="2024-07-31T19:58:15.273" v="2626" actId="6549"/>
        <pc:sldMkLst>
          <pc:docMk/>
          <pc:sldMk cId="0" sldId="269"/>
        </pc:sldMkLst>
        <pc:spChg chg="mod">
          <ac:chgData name="Daniel Scott-Raynsford" userId="395a309a-7b10-4aa8-83ab-4f4dbcf29616" providerId="ADAL" clId="{2192F7D9-343C-4A52-A5F4-EA89840F7BA6}" dt="2024-07-29T06:25:07.563" v="780" actId="20577"/>
          <ac:spMkLst>
            <pc:docMk/>
            <pc:sldMk cId="0" sldId="269"/>
            <ac:spMk id="2" creationId="{10C539A3-27FF-EA13-5F24-FEF9C836D9A7}"/>
          </ac:spMkLst>
        </pc:spChg>
        <pc:spChg chg="add del mod">
          <ac:chgData name="Daniel Scott-Raynsford" userId="395a309a-7b10-4aa8-83ab-4f4dbcf29616" providerId="ADAL" clId="{2192F7D9-343C-4A52-A5F4-EA89840F7BA6}" dt="2024-07-29T06:25:59.605" v="801" actId="478"/>
          <ac:spMkLst>
            <pc:docMk/>
            <pc:sldMk cId="0" sldId="269"/>
            <ac:spMk id="4" creationId="{69A0FA94-6DBC-69AB-DC74-0AFF52EDDCDE}"/>
          </ac:spMkLst>
        </pc:spChg>
        <pc:spChg chg="add del mod">
          <ac:chgData name="Daniel Scott-Raynsford" userId="395a309a-7b10-4aa8-83ab-4f4dbcf29616" providerId="ADAL" clId="{2192F7D9-343C-4A52-A5F4-EA89840F7BA6}" dt="2024-07-29T06:26:45.366" v="813" actId="478"/>
          <ac:spMkLst>
            <pc:docMk/>
            <pc:sldMk cId="0" sldId="269"/>
            <ac:spMk id="6" creationId="{C9516BB5-1F69-17AE-329B-95CD88CF497A}"/>
          </ac:spMkLst>
        </pc:spChg>
        <pc:spChg chg="add mod">
          <ac:chgData name="Daniel Scott-Raynsford" userId="395a309a-7b10-4aa8-83ab-4f4dbcf29616" providerId="ADAL" clId="{2192F7D9-343C-4A52-A5F4-EA89840F7BA6}" dt="2024-07-31T03:19:35.988" v="2620" actId="20577"/>
          <ac:spMkLst>
            <pc:docMk/>
            <pc:sldMk cId="0" sldId="269"/>
            <ac:spMk id="7" creationId="{374A4066-8CA9-83F9-A4FC-7B80622E365A}"/>
          </ac:spMkLst>
        </pc:spChg>
      </pc:sldChg>
      <pc:sldChg chg="del">
        <pc:chgData name="Daniel Scott-Raynsford" userId="395a309a-7b10-4aa8-83ab-4f4dbcf29616" providerId="ADAL" clId="{2192F7D9-343C-4A52-A5F4-EA89840F7BA6}" dt="2024-07-29T05:32:52.356" v="561" actId="47"/>
        <pc:sldMkLst>
          <pc:docMk/>
          <pc:sldMk cId="0" sldId="270"/>
        </pc:sldMkLst>
      </pc:sldChg>
      <pc:sldChg chg="modSp mod modNotesTx">
        <pc:chgData name="Daniel Scott-Raynsford" userId="395a309a-7b10-4aa8-83ab-4f4dbcf29616" providerId="ADAL" clId="{2192F7D9-343C-4A52-A5F4-EA89840F7BA6}" dt="2024-07-31T19:58:11.785" v="2625" actId="6549"/>
        <pc:sldMkLst>
          <pc:docMk/>
          <pc:sldMk cId="0" sldId="272"/>
        </pc:sldMkLst>
        <pc:spChg chg="mod">
          <ac:chgData name="Daniel Scott-Raynsford" userId="395a309a-7b10-4aa8-83ab-4f4dbcf29616" providerId="ADAL" clId="{2192F7D9-343C-4A52-A5F4-EA89840F7BA6}" dt="2024-07-29T06:05:24.351" v="725" actId="20577"/>
          <ac:spMkLst>
            <pc:docMk/>
            <pc:sldMk cId="0" sldId="272"/>
            <ac:spMk id="23" creationId="{0E4728A5-16FD-C34C-E09C-E0BA96504093}"/>
          </ac:spMkLst>
        </pc:spChg>
        <pc:spChg chg="mod">
          <ac:chgData name="Daniel Scott-Raynsford" userId="395a309a-7b10-4aa8-83ab-4f4dbcf29616" providerId="ADAL" clId="{2192F7D9-343C-4A52-A5F4-EA89840F7BA6}" dt="2024-07-29T06:32:51.413" v="1708" actId="20577"/>
          <ac:spMkLst>
            <pc:docMk/>
            <pc:sldMk cId="0" sldId="272"/>
            <ac:spMk id="25" creationId="{0B6EC0B6-6AFF-60C2-2588-BAAFE2E914CB}"/>
          </ac:spMkLst>
        </pc:spChg>
        <pc:spChg chg="mod">
          <ac:chgData name="Daniel Scott-Raynsford" userId="395a309a-7b10-4aa8-83ab-4f4dbcf29616" providerId="ADAL" clId="{2192F7D9-343C-4A52-A5F4-EA89840F7BA6}" dt="2024-07-29T06:32:31.615" v="1607" actId="20577"/>
          <ac:spMkLst>
            <pc:docMk/>
            <pc:sldMk cId="0" sldId="272"/>
            <ac:spMk id="27" creationId="{FD16F402-68DA-F58C-9F0E-769F9F8C5E3D}"/>
          </ac:spMkLst>
        </pc:spChg>
        <pc:spChg chg="mod">
          <ac:chgData name="Daniel Scott-Raynsford" userId="395a309a-7b10-4aa8-83ab-4f4dbcf29616" providerId="ADAL" clId="{2192F7D9-343C-4A52-A5F4-EA89840F7BA6}" dt="2024-07-29T06:04:44.798" v="606" actId="20577"/>
          <ac:spMkLst>
            <pc:docMk/>
            <pc:sldMk cId="0" sldId="272"/>
            <ac:spMk id="4329" creationId="{00000000-0000-0000-0000-000000000000}"/>
          </ac:spMkLst>
        </pc:spChg>
      </pc:sldChg>
      <pc:sldChg chg="modSp mod modNotesTx">
        <pc:chgData name="Daniel Scott-Raynsford" userId="395a309a-7b10-4aa8-83ab-4f4dbcf29616" providerId="ADAL" clId="{2192F7D9-343C-4A52-A5F4-EA89840F7BA6}" dt="2024-07-31T19:58:08.480" v="2624" actId="6549"/>
        <pc:sldMkLst>
          <pc:docMk/>
          <pc:sldMk cId="0" sldId="273"/>
        </pc:sldMkLst>
        <pc:spChg chg="mod">
          <ac:chgData name="Daniel Scott-Raynsford" userId="395a309a-7b10-4aa8-83ab-4f4dbcf29616" providerId="ADAL" clId="{2192F7D9-343C-4A52-A5F4-EA89840F7BA6}" dt="2024-07-29T06:49:37.484" v="1817" actId="20577"/>
          <ac:spMkLst>
            <pc:docMk/>
            <pc:sldMk cId="0" sldId="273"/>
            <ac:spMk id="22" creationId="{32AD5E2B-C181-76FC-B891-62A0D61216BA}"/>
          </ac:spMkLst>
        </pc:spChg>
        <pc:spChg chg="mod">
          <ac:chgData name="Daniel Scott-Raynsford" userId="395a309a-7b10-4aa8-83ab-4f4dbcf29616" providerId="ADAL" clId="{2192F7D9-343C-4A52-A5F4-EA89840F7BA6}" dt="2024-07-29T06:49:53.047" v="1848" actId="20577"/>
          <ac:spMkLst>
            <pc:docMk/>
            <pc:sldMk cId="0" sldId="273"/>
            <ac:spMk id="24" creationId="{A02275A3-43F4-C1B0-FA0F-119DD5E7E4BC}"/>
          </ac:spMkLst>
        </pc:spChg>
        <pc:spChg chg="mod">
          <ac:chgData name="Daniel Scott-Raynsford" userId="395a309a-7b10-4aa8-83ab-4f4dbcf29616" providerId="ADAL" clId="{2192F7D9-343C-4A52-A5F4-EA89840F7BA6}" dt="2024-07-29T06:50:09.817" v="1874" actId="20577"/>
          <ac:spMkLst>
            <pc:docMk/>
            <pc:sldMk cId="0" sldId="273"/>
            <ac:spMk id="26" creationId="{D6276BF8-536D-BB9A-9035-0ED08023CB94}"/>
          </ac:spMkLst>
        </pc:spChg>
      </pc:sldChg>
      <pc:sldChg chg="modSp mod">
        <pc:chgData name="Daniel Scott-Raynsford" userId="395a309a-7b10-4aa8-83ab-4f4dbcf29616" providerId="ADAL" clId="{2192F7D9-343C-4A52-A5F4-EA89840F7BA6}" dt="2024-07-29T08:09:17.730" v="2293" actId="20577"/>
        <pc:sldMkLst>
          <pc:docMk/>
          <pc:sldMk cId="0" sldId="274"/>
        </pc:sldMkLst>
        <pc:spChg chg="mod">
          <ac:chgData name="Daniel Scott-Raynsford" userId="395a309a-7b10-4aa8-83ab-4f4dbcf29616" providerId="ADAL" clId="{2192F7D9-343C-4A52-A5F4-EA89840F7BA6}" dt="2024-07-29T08:08:59.055" v="2260" actId="20577"/>
          <ac:spMkLst>
            <pc:docMk/>
            <pc:sldMk cId="0" sldId="274"/>
            <ac:spMk id="19" creationId="{BFA08FBA-239B-801A-AD6A-61CBA835731B}"/>
          </ac:spMkLst>
        </pc:spChg>
        <pc:spChg chg="mod">
          <ac:chgData name="Daniel Scott-Raynsford" userId="395a309a-7b10-4aa8-83ab-4f4dbcf29616" providerId="ADAL" clId="{2192F7D9-343C-4A52-A5F4-EA89840F7BA6}" dt="2024-07-29T08:09:17.730" v="2293" actId="20577"/>
          <ac:spMkLst>
            <pc:docMk/>
            <pc:sldMk cId="0" sldId="274"/>
            <ac:spMk id="21" creationId="{C7D8F65D-63E4-ADB0-6A08-4D9C3B84C2C9}"/>
          </ac:spMkLst>
        </pc:spChg>
        <pc:spChg chg="mod">
          <ac:chgData name="Daniel Scott-Raynsford" userId="395a309a-7b10-4aa8-83ab-4f4dbcf29616" providerId="ADAL" clId="{2192F7D9-343C-4A52-A5F4-EA89840F7BA6}" dt="2024-07-29T01:50:21.629" v="11" actId="20577"/>
          <ac:spMkLst>
            <pc:docMk/>
            <pc:sldMk cId="0" sldId="274"/>
            <ac:spMk id="4371" creationId="{00000000-0000-0000-0000-000000000000}"/>
          </ac:spMkLst>
        </pc:spChg>
      </pc:sldChg>
      <pc:sldChg chg="modSp mod modNotesTx">
        <pc:chgData name="Daniel Scott-Raynsford" userId="395a309a-7b10-4aa8-83ab-4f4dbcf29616" providerId="ADAL" clId="{2192F7D9-343C-4A52-A5F4-EA89840F7BA6}" dt="2024-07-31T19:58:02.186" v="2622" actId="6549"/>
        <pc:sldMkLst>
          <pc:docMk/>
          <pc:sldMk cId="0" sldId="275"/>
        </pc:sldMkLst>
        <pc:spChg chg="mod">
          <ac:chgData name="Daniel Scott-Raynsford" userId="395a309a-7b10-4aa8-83ab-4f4dbcf29616" providerId="ADAL" clId="{2192F7D9-343C-4A52-A5F4-EA89840F7BA6}" dt="2024-07-29T05:19:02.603" v="246" actId="20577"/>
          <ac:spMkLst>
            <pc:docMk/>
            <pc:sldMk cId="0" sldId="275"/>
            <ac:spMk id="21" creationId="{D54A3F86-B4C1-4B89-296D-4673ACEE75B2}"/>
          </ac:spMkLst>
        </pc:spChg>
        <pc:spChg chg="mod">
          <ac:chgData name="Daniel Scott-Raynsford" userId="395a309a-7b10-4aa8-83ab-4f4dbcf29616" providerId="ADAL" clId="{2192F7D9-343C-4A52-A5F4-EA89840F7BA6}" dt="2024-07-29T05:18:59.542" v="239" actId="20577"/>
          <ac:spMkLst>
            <pc:docMk/>
            <pc:sldMk cId="0" sldId="275"/>
            <ac:spMk id="23" creationId="{4E60C547-5F2F-F2AC-89F8-C3F38C39C371}"/>
          </ac:spMkLst>
        </pc:spChg>
        <pc:spChg chg="mod">
          <ac:chgData name="Daniel Scott-Raynsford" userId="395a309a-7b10-4aa8-83ab-4f4dbcf29616" providerId="ADAL" clId="{2192F7D9-343C-4A52-A5F4-EA89840F7BA6}" dt="2024-07-29T05:19:28.135" v="321" actId="20577"/>
          <ac:spMkLst>
            <pc:docMk/>
            <pc:sldMk cId="0" sldId="275"/>
            <ac:spMk id="25" creationId="{917728EC-468C-282D-F731-9B7D45FF1324}"/>
          </ac:spMkLst>
        </pc:spChg>
        <pc:spChg chg="mod">
          <ac:chgData name="Daniel Scott-Raynsford" userId="395a309a-7b10-4aa8-83ab-4f4dbcf29616" providerId="ADAL" clId="{2192F7D9-343C-4A52-A5F4-EA89840F7BA6}" dt="2024-07-29T02:00:18.357" v="51" actId="20577"/>
          <ac:spMkLst>
            <pc:docMk/>
            <pc:sldMk cId="0" sldId="275"/>
            <ac:spMk id="4387" creationId="{00000000-0000-0000-0000-000000000000}"/>
          </ac:spMkLst>
        </pc:spChg>
      </pc:sldChg>
      <pc:sldChg chg="modSp mod modNotesTx">
        <pc:chgData name="Daniel Scott-Raynsford" userId="395a309a-7b10-4aa8-83ab-4f4dbcf29616" providerId="ADAL" clId="{2192F7D9-343C-4A52-A5F4-EA89840F7BA6}" dt="2024-07-31T19:57:59.209" v="2621" actId="6549"/>
        <pc:sldMkLst>
          <pc:docMk/>
          <pc:sldMk cId="0" sldId="276"/>
        </pc:sldMkLst>
        <pc:spChg chg="mod">
          <ac:chgData name="Daniel Scott-Raynsford" userId="395a309a-7b10-4aa8-83ab-4f4dbcf29616" providerId="ADAL" clId="{2192F7D9-343C-4A52-A5F4-EA89840F7BA6}" dt="2024-07-29T07:19:25.197" v="2144" actId="20577"/>
          <ac:spMkLst>
            <pc:docMk/>
            <pc:sldMk cId="0" sldId="276"/>
            <ac:spMk id="22" creationId="{FBAB4168-4C4B-6A45-D8B1-6296D8CC1A6D}"/>
          </ac:spMkLst>
        </pc:spChg>
        <pc:spChg chg="mod">
          <ac:chgData name="Daniel Scott-Raynsford" userId="395a309a-7b10-4aa8-83ab-4f4dbcf29616" providerId="ADAL" clId="{2192F7D9-343C-4A52-A5F4-EA89840F7BA6}" dt="2024-07-29T07:19:35.290" v="2181" actId="20577"/>
          <ac:spMkLst>
            <pc:docMk/>
            <pc:sldMk cId="0" sldId="276"/>
            <ac:spMk id="24" creationId="{68EF589D-2C6E-24C0-E153-D5A0FC28C9F6}"/>
          </ac:spMkLst>
        </pc:spChg>
        <pc:spChg chg="mod">
          <ac:chgData name="Daniel Scott-Raynsford" userId="395a309a-7b10-4aa8-83ab-4f4dbcf29616" providerId="ADAL" clId="{2192F7D9-343C-4A52-A5F4-EA89840F7BA6}" dt="2024-07-29T07:20:03.256" v="2235" actId="20577"/>
          <ac:spMkLst>
            <pc:docMk/>
            <pc:sldMk cId="0" sldId="276"/>
            <ac:spMk id="26" creationId="{1842809F-1918-3430-6A8A-78C0D5DCA954}"/>
          </ac:spMkLst>
        </pc:spChg>
      </pc:sldChg>
      <pc:sldChg chg="modNotesTx">
        <pc:chgData name="Daniel Scott-Raynsford" userId="395a309a-7b10-4aa8-83ab-4f4dbcf29616" providerId="ADAL" clId="{2192F7D9-343C-4A52-A5F4-EA89840F7BA6}" dt="2024-07-31T19:58:26.364" v="2628" actId="6549"/>
        <pc:sldMkLst>
          <pc:docMk/>
          <pc:sldMk cId="4156249660" sldId="2147482414"/>
        </pc:sldMkLst>
      </pc:sldChg>
      <pc:sldChg chg="modNotesTx">
        <pc:chgData name="Daniel Scott-Raynsford" userId="395a309a-7b10-4aa8-83ab-4f4dbcf29616" providerId="ADAL" clId="{2192F7D9-343C-4A52-A5F4-EA89840F7BA6}" dt="2024-07-31T19:58:05.358" v="2623" actId="6549"/>
        <pc:sldMkLst>
          <pc:docMk/>
          <pc:sldMk cId="0" sldId="2147482415"/>
        </pc:sldMkLst>
      </pc:sldChg>
      <pc:sldMasterChg chg="delSldLayout modSldLayout">
        <pc:chgData name="Daniel Scott-Raynsford" userId="395a309a-7b10-4aa8-83ab-4f4dbcf29616" providerId="ADAL" clId="{2192F7D9-343C-4A52-A5F4-EA89840F7BA6}" dt="2024-07-29T05:32:52.356" v="561" actId="47"/>
        <pc:sldMasterMkLst>
          <pc:docMk/>
          <pc:sldMasterMk cId="3812057535" sldId="2147484018"/>
        </pc:sldMasterMkLst>
        <pc:sldLayoutChg chg="modSp mod">
          <pc:chgData name="Daniel Scott-Raynsford" userId="395a309a-7b10-4aa8-83ab-4f4dbcf29616" providerId="ADAL" clId="{2192F7D9-343C-4A52-A5F4-EA89840F7BA6}" dt="2024-07-29T05:25:22.325" v="408" actId="313"/>
          <pc:sldLayoutMkLst>
            <pc:docMk/>
            <pc:sldMasterMk cId="3812057535" sldId="2147484018"/>
            <pc:sldLayoutMk cId="3482249629" sldId="2147484019"/>
          </pc:sldLayoutMkLst>
          <pc:spChg chg="mod">
            <ac:chgData name="Daniel Scott-Raynsford" userId="395a309a-7b10-4aa8-83ab-4f4dbcf29616" providerId="ADAL" clId="{2192F7D9-343C-4A52-A5F4-EA89840F7BA6}" dt="2024-07-29T05:25:22.325" v="408" actId="313"/>
            <ac:spMkLst>
              <pc:docMk/>
              <pc:sldMasterMk cId="3812057535" sldId="2147484018"/>
              <pc:sldLayoutMk cId="3482249629" sldId="2147484019"/>
              <ac:spMk id="5" creationId="{519F9B0E-F62D-141D-2335-2DFC7094ED60}"/>
            </ac:spMkLst>
          </pc:spChg>
        </pc:sldLayoutChg>
        <pc:sldLayoutChg chg="modSp mod">
          <pc:chgData name="Daniel Scott-Raynsford" userId="395a309a-7b10-4aa8-83ab-4f4dbcf29616" providerId="ADAL" clId="{2192F7D9-343C-4A52-A5F4-EA89840F7BA6}" dt="2024-07-29T05:23:45.137" v="383"/>
          <pc:sldLayoutMkLst>
            <pc:docMk/>
            <pc:sldMasterMk cId="3812057535" sldId="2147484018"/>
            <pc:sldLayoutMk cId="3292565261" sldId="2147484020"/>
          </pc:sldLayoutMkLst>
          <pc:spChg chg="mod">
            <ac:chgData name="Daniel Scott-Raynsford" userId="395a309a-7b10-4aa8-83ab-4f4dbcf29616" providerId="ADAL" clId="{2192F7D9-343C-4A52-A5F4-EA89840F7BA6}" dt="2024-07-29T05:23:45.137" v="383"/>
            <ac:spMkLst>
              <pc:docMk/>
              <pc:sldMasterMk cId="3812057535" sldId="2147484018"/>
              <pc:sldLayoutMk cId="3292565261" sldId="2147484020"/>
              <ac:spMk id="4" creationId="{C1A0999D-C387-2BCD-D277-3334818CA1DD}"/>
            </ac:spMkLst>
          </pc:spChg>
        </pc:sldLayoutChg>
        <pc:sldLayoutChg chg="modSp mod">
          <pc:chgData name="Daniel Scott-Raynsford" userId="395a309a-7b10-4aa8-83ab-4f4dbcf29616" providerId="ADAL" clId="{2192F7D9-343C-4A52-A5F4-EA89840F7BA6}" dt="2024-07-29T05:23:53.196" v="384"/>
          <pc:sldLayoutMkLst>
            <pc:docMk/>
            <pc:sldMasterMk cId="3812057535" sldId="2147484018"/>
            <pc:sldLayoutMk cId="3117772581" sldId="2147484023"/>
          </pc:sldLayoutMkLst>
          <pc:spChg chg="mod">
            <ac:chgData name="Daniel Scott-Raynsford" userId="395a309a-7b10-4aa8-83ab-4f4dbcf29616" providerId="ADAL" clId="{2192F7D9-343C-4A52-A5F4-EA89840F7BA6}" dt="2024-07-29T05:23:53.196" v="384"/>
            <ac:spMkLst>
              <pc:docMk/>
              <pc:sldMasterMk cId="3812057535" sldId="2147484018"/>
              <pc:sldLayoutMk cId="3117772581" sldId="2147484023"/>
              <ac:spMk id="4" creationId="{BA63017C-38CB-3F51-ABB8-23002D836FD8}"/>
            </ac:spMkLst>
          </pc:spChg>
        </pc:sldLayoutChg>
        <pc:sldLayoutChg chg="modSp mod">
          <pc:chgData name="Daniel Scott-Raynsford" userId="395a309a-7b10-4aa8-83ab-4f4dbcf29616" providerId="ADAL" clId="{2192F7D9-343C-4A52-A5F4-EA89840F7BA6}" dt="2024-07-29T05:24:00.279" v="385"/>
          <pc:sldLayoutMkLst>
            <pc:docMk/>
            <pc:sldMasterMk cId="3812057535" sldId="2147484018"/>
            <pc:sldLayoutMk cId="4196489457" sldId="2147484025"/>
          </pc:sldLayoutMkLst>
          <pc:spChg chg="mod">
            <ac:chgData name="Daniel Scott-Raynsford" userId="395a309a-7b10-4aa8-83ab-4f4dbcf29616" providerId="ADAL" clId="{2192F7D9-343C-4A52-A5F4-EA89840F7BA6}" dt="2024-07-29T05:24:00.279" v="385"/>
            <ac:spMkLst>
              <pc:docMk/>
              <pc:sldMasterMk cId="3812057535" sldId="2147484018"/>
              <pc:sldLayoutMk cId="4196489457" sldId="2147484025"/>
              <ac:spMk id="10" creationId="{14FCF1BD-1522-066A-B286-D9CF0FE26986}"/>
            </ac:spMkLst>
          </pc:spChg>
        </pc:sldLayoutChg>
        <pc:sldLayoutChg chg="modSp mod">
          <pc:chgData name="Daniel Scott-Raynsford" userId="395a309a-7b10-4aa8-83ab-4f4dbcf29616" providerId="ADAL" clId="{2192F7D9-343C-4A52-A5F4-EA89840F7BA6}" dt="2024-07-29T05:24:04.331" v="386"/>
          <pc:sldLayoutMkLst>
            <pc:docMk/>
            <pc:sldMasterMk cId="3812057535" sldId="2147484018"/>
            <pc:sldLayoutMk cId="2748272975" sldId="2147484026"/>
          </pc:sldLayoutMkLst>
          <pc:spChg chg="mod">
            <ac:chgData name="Daniel Scott-Raynsford" userId="395a309a-7b10-4aa8-83ab-4f4dbcf29616" providerId="ADAL" clId="{2192F7D9-343C-4A52-A5F4-EA89840F7BA6}" dt="2024-07-29T05:24:04.331" v="386"/>
            <ac:spMkLst>
              <pc:docMk/>
              <pc:sldMasterMk cId="3812057535" sldId="2147484018"/>
              <pc:sldLayoutMk cId="2748272975" sldId="2147484026"/>
              <ac:spMk id="5" creationId="{7162BEEA-94BC-E709-B33E-D895422DA576}"/>
            </ac:spMkLst>
          </pc:spChg>
        </pc:sldLayoutChg>
        <pc:sldLayoutChg chg="modSp mod">
          <pc:chgData name="Daniel Scott-Raynsford" userId="395a309a-7b10-4aa8-83ab-4f4dbcf29616" providerId="ADAL" clId="{2192F7D9-343C-4A52-A5F4-EA89840F7BA6}" dt="2024-07-29T05:24:12.512" v="387"/>
          <pc:sldLayoutMkLst>
            <pc:docMk/>
            <pc:sldMasterMk cId="3812057535" sldId="2147484018"/>
            <pc:sldLayoutMk cId="1275758053" sldId="2147484030"/>
          </pc:sldLayoutMkLst>
          <pc:spChg chg="mod">
            <ac:chgData name="Daniel Scott-Raynsford" userId="395a309a-7b10-4aa8-83ab-4f4dbcf29616" providerId="ADAL" clId="{2192F7D9-343C-4A52-A5F4-EA89840F7BA6}" dt="2024-07-29T05:24:12.512" v="387"/>
            <ac:spMkLst>
              <pc:docMk/>
              <pc:sldMasterMk cId="3812057535" sldId="2147484018"/>
              <pc:sldLayoutMk cId="1275758053" sldId="2147484030"/>
              <ac:spMk id="4" creationId="{1B6A75D1-35C8-2B9A-FDED-48E11FC6D663}"/>
            </ac:spMkLst>
          </pc:spChg>
        </pc:sldLayoutChg>
        <pc:sldLayoutChg chg="modSp mod">
          <pc:chgData name="Daniel Scott-Raynsford" userId="395a309a-7b10-4aa8-83ab-4f4dbcf29616" providerId="ADAL" clId="{2192F7D9-343C-4A52-A5F4-EA89840F7BA6}" dt="2024-07-29T05:24:17.516" v="388"/>
          <pc:sldLayoutMkLst>
            <pc:docMk/>
            <pc:sldMasterMk cId="3812057535" sldId="2147484018"/>
            <pc:sldLayoutMk cId="2864545996" sldId="2147484031"/>
          </pc:sldLayoutMkLst>
          <pc:spChg chg="mod">
            <ac:chgData name="Daniel Scott-Raynsford" userId="395a309a-7b10-4aa8-83ab-4f4dbcf29616" providerId="ADAL" clId="{2192F7D9-343C-4A52-A5F4-EA89840F7BA6}" dt="2024-07-29T05:24:17.516" v="388"/>
            <ac:spMkLst>
              <pc:docMk/>
              <pc:sldMasterMk cId="3812057535" sldId="2147484018"/>
              <pc:sldLayoutMk cId="2864545996" sldId="2147484031"/>
              <ac:spMk id="4" creationId="{1D54916A-22ED-34D5-44AB-42437CB6E35E}"/>
            </ac:spMkLst>
          </pc:spChg>
        </pc:sldLayoutChg>
        <pc:sldLayoutChg chg="modSp mod">
          <pc:chgData name="Daniel Scott-Raynsford" userId="395a309a-7b10-4aa8-83ab-4f4dbcf29616" providerId="ADAL" clId="{2192F7D9-343C-4A52-A5F4-EA89840F7BA6}" dt="2024-07-29T05:24:21.407" v="389"/>
          <pc:sldLayoutMkLst>
            <pc:docMk/>
            <pc:sldMasterMk cId="3812057535" sldId="2147484018"/>
            <pc:sldLayoutMk cId="3361511337" sldId="2147484032"/>
          </pc:sldLayoutMkLst>
          <pc:spChg chg="mod">
            <ac:chgData name="Daniel Scott-Raynsford" userId="395a309a-7b10-4aa8-83ab-4f4dbcf29616" providerId="ADAL" clId="{2192F7D9-343C-4A52-A5F4-EA89840F7BA6}" dt="2024-07-29T05:24:21.407" v="389"/>
            <ac:spMkLst>
              <pc:docMk/>
              <pc:sldMasterMk cId="3812057535" sldId="2147484018"/>
              <pc:sldLayoutMk cId="3361511337" sldId="2147484032"/>
              <ac:spMk id="4" creationId="{C4F47B07-ED3F-0867-7DC7-4324E0593C93}"/>
            </ac:spMkLst>
          </pc:spChg>
        </pc:sldLayoutChg>
        <pc:sldLayoutChg chg="modSp mod">
          <pc:chgData name="Daniel Scott-Raynsford" userId="395a309a-7b10-4aa8-83ab-4f4dbcf29616" providerId="ADAL" clId="{2192F7D9-343C-4A52-A5F4-EA89840F7BA6}" dt="2024-07-29T05:24:25.864" v="390"/>
          <pc:sldLayoutMkLst>
            <pc:docMk/>
            <pc:sldMasterMk cId="3812057535" sldId="2147484018"/>
            <pc:sldLayoutMk cId="1244413144" sldId="2147484033"/>
          </pc:sldLayoutMkLst>
          <pc:spChg chg="mod">
            <ac:chgData name="Daniel Scott-Raynsford" userId="395a309a-7b10-4aa8-83ab-4f4dbcf29616" providerId="ADAL" clId="{2192F7D9-343C-4A52-A5F4-EA89840F7BA6}" dt="2024-07-29T05:24:25.864" v="390"/>
            <ac:spMkLst>
              <pc:docMk/>
              <pc:sldMasterMk cId="3812057535" sldId="2147484018"/>
              <pc:sldLayoutMk cId="1244413144" sldId="2147484033"/>
              <ac:spMk id="4" creationId="{127BCCB3-72B7-5AFF-D9E5-A122414E5D5B}"/>
            </ac:spMkLst>
          </pc:spChg>
        </pc:sldLayoutChg>
        <pc:sldLayoutChg chg="modSp mod">
          <pc:chgData name="Daniel Scott-Raynsford" userId="395a309a-7b10-4aa8-83ab-4f4dbcf29616" providerId="ADAL" clId="{2192F7D9-343C-4A52-A5F4-EA89840F7BA6}" dt="2024-07-29T05:24:30.047" v="391"/>
          <pc:sldLayoutMkLst>
            <pc:docMk/>
            <pc:sldMasterMk cId="3812057535" sldId="2147484018"/>
            <pc:sldLayoutMk cId="2286561846" sldId="2147484034"/>
          </pc:sldLayoutMkLst>
          <pc:spChg chg="mod">
            <ac:chgData name="Daniel Scott-Raynsford" userId="395a309a-7b10-4aa8-83ab-4f4dbcf29616" providerId="ADAL" clId="{2192F7D9-343C-4A52-A5F4-EA89840F7BA6}" dt="2024-07-29T05:24:30.047" v="391"/>
            <ac:spMkLst>
              <pc:docMk/>
              <pc:sldMasterMk cId="3812057535" sldId="2147484018"/>
              <pc:sldLayoutMk cId="2286561846" sldId="2147484034"/>
              <ac:spMk id="5" creationId="{D9C46BBC-5EB9-A58B-BC2D-2372B1C5DCD0}"/>
            </ac:spMkLst>
          </pc:spChg>
        </pc:sldLayoutChg>
        <pc:sldLayoutChg chg="modSp mod">
          <pc:chgData name="Daniel Scott-Raynsford" userId="395a309a-7b10-4aa8-83ab-4f4dbcf29616" providerId="ADAL" clId="{2192F7D9-343C-4A52-A5F4-EA89840F7BA6}" dt="2024-07-29T05:24:33.344" v="392"/>
          <pc:sldLayoutMkLst>
            <pc:docMk/>
            <pc:sldMasterMk cId="3812057535" sldId="2147484018"/>
            <pc:sldLayoutMk cId="3641159727" sldId="2147484035"/>
          </pc:sldLayoutMkLst>
          <pc:spChg chg="mod">
            <ac:chgData name="Daniel Scott-Raynsford" userId="395a309a-7b10-4aa8-83ab-4f4dbcf29616" providerId="ADAL" clId="{2192F7D9-343C-4A52-A5F4-EA89840F7BA6}" dt="2024-07-29T05:24:33.344" v="392"/>
            <ac:spMkLst>
              <pc:docMk/>
              <pc:sldMasterMk cId="3812057535" sldId="2147484018"/>
              <pc:sldLayoutMk cId="3641159727" sldId="2147484035"/>
              <ac:spMk id="6" creationId="{56089DBF-2BF4-B80B-0B64-5B2BB7060F77}"/>
            </ac:spMkLst>
          </pc:spChg>
        </pc:sldLayoutChg>
        <pc:sldLayoutChg chg="modSp mod">
          <pc:chgData name="Daniel Scott-Raynsford" userId="395a309a-7b10-4aa8-83ab-4f4dbcf29616" providerId="ADAL" clId="{2192F7D9-343C-4A52-A5F4-EA89840F7BA6}" dt="2024-07-29T05:24:39.046" v="393"/>
          <pc:sldLayoutMkLst>
            <pc:docMk/>
            <pc:sldMasterMk cId="3812057535" sldId="2147484018"/>
            <pc:sldLayoutMk cId="1867675469" sldId="2147484036"/>
          </pc:sldLayoutMkLst>
          <pc:spChg chg="mod">
            <ac:chgData name="Daniel Scott-Raynsford" userId="395a309a-7b10-4aa8-83ab-4f4dbcf29616" providerId="ADAL" clId="{2192F7D9-343C-4A52-A5F4-EA89840F7BA6}" dt="2024-07-29T05:24:39.046" v="393"/>
            <ac:spMkLst>
              <pc:docMk/>
              <pc:sldMasterMk cId="3812057535" sldId="2147484018"/>
              <pc:sldLayoutMk cId="1867675469" sldId="2147484036"/>
              <ac:spMk id="4" creationId="{A4D9178B-30EB-8B35-3C43-8452DFF8C13E}"/>
            </ac:spMkLst>
          </pc:spChg>
        </pc:sldLayoutChg>
        <pc:sldLayoutChg chg="modSp mod">
          <pc:chgData name="Daniel Scott-Raynsford" userId="395a309a-7b10-4aa8-83ab-4f4dbcf29616" providerId="ADAL" clId="{2192F7D9-343C-4A52-A5F4-EA89840F7BA6}" dt="2024-07-29T05:24:42.984" v="394"/>
          <pc:sldLayoutMkLst>
            <pc:docMk/>
            <pc:sldMasterMk cId="3812057535" sldId="2147484018"/>
            <pc:sldLayoutMk cId="2796224255" sldId="2147484037"/>
          </pc:sldLayoutMkLst>
          <pc:spChg chg="mod">
            <ac:chgData name="Daniel Scott-Raynsford" userId="395a309a-7b10-4aa8-83ab-4f4dbcf29616" providerId="ADAL" clId="{2192F7D9-343C-4A52-A5F4-EA89840F7BA6}" dt="2024-07-29T05:24:42.984" v="394"/>
            <ac:spMkLst>
              <pc:docMk/>
              <pc:sldMasterMk cId="3812057535" sldId="2147484018"/>
              <pc:sldLayoutMk cId="2796224255" sldId="2147484037"/>
              <ac:spMk id="5" creationId="{DDBBE63A-9504-C4B8-18F0-191A120AAF03}"/>
            </ac:spMkLst>
          </pc:spChg>
        </pc:sldLayoutChg>
        <pc:sldLayoutChg chg="modSp mod">
          <pc:chgData name="Daniel Scott-Raynsford" userId="395a309a-7b10-4aa8-83ab-4f4dbcf29616" providerId="ADAL" clId="{2192F7D9-343C-4A52-A5F4-EA89840F7BA6}" dt="2024-07-29T05:24:46.613" v="395"/>
          <pc:sldLayoutMkLst>
            <pc:docMk/>
            <pc:sldMasterMk cId="3812057535" sldId="2147484018"/>
            <pc:sldLayoutMk cId="4053762180" sldId="2147484038"/>
          </pc:sldLayoutMkLst>
          <pc:spChg chg="mod">
            <ac:chgData name="Daniel Scott-Raynsford" userId="395a309a-7b10-4aa8-83ab-4f4dbcf29616" providerId="ADAL" clId="{2192F7D9-343C-4A52-A5F4-EA89840F7BA6}" dt="2024-07-29T05:24:46.613" v="395"/>
            <ac:spMkLst>
              <pc:docMk/>
              <pc:sldMasterMk cId="3812057535" sldId="2147484018"/>
              <pc:sldLayoutMk cId="4053762180" sldId="2147484038"/>
              <ac:spMk id="4" creationId="{07505CAA-47F5-E8FD-7862-DFC5015FBB3D}"/>
            </ac:spMkLst>
          </pc:spChg>
        </pc:sldLayoutChg>
        <pc:sldLayoutChg chg="modSp mod">
          <pc:chgData name="Daniel Scott-Raynsford" userId="395a309a-7b10-4aa8-83ab-4f4dbcf29616" providerId="ADAL" clId="{2192F7D9-343C-4A52-A5F4-EA89840F7BA6}" dt="2024-07-29T05:24:50.096" v="396"/>
          <pc:sldLayoutMkLst>
            <pc:docMk/>
            <pc:sldMasterMk cId="3812057535" sldId="2147484018"/>
            <pc:sldLayoutMk cId="3027980819" sldId="2147484039"/>
          </pc:sldLayoutMkLst>
          <pc:spChg chg="mod">
            <ac:chgData name="Daniel Scott-Raynsford" userId="395a309a-7b10-4aa8-83ab-4f4dbcf29616" providerId="ADAL" clId="{2192F7D9-343C-4A52-A5F4-EA89840F7BA6}" dt="2024-07-29T05:24:50.096" v="396"/>
            <ac:spMkLst>
              <pc:docMk/>
              <pc:sldMasterMk cId="3812057535" sldId="2147484018"/>
              <pc:sldLayoutMk cId="3027980819" sldId="2147484039"/>
              <ac:spMk id="4" creationId="{2CFCBD88-F97A-E685-B111-FAE95DFB7AE0}"/>
            </ac:spMkLst>
          </pc:spChg>
        </pc:sldLayoutChg>
        <pc:sldLayoutChg chg="modSp mod">
          <pc:chgData name="Daniel Scott-Raynsford" userId="395a309a-7b10-4aa8-83ab-4f4dbcf29616" providerId="ADAL" clId="{2192F7D9-343C-4A52-A5F4-EA89840F7BA6}" dt="2024-07-29T05:25:08.387" v="397" actId="313"/>
          <pc:sldLayoutMkLst>
            <pc:docMk/>
            <pc:sldMasterMk cId="3812057535" sldId="2147484018"/>
            <pc:sldLayoutMk cId="2319600669" sldId="2147484040"/>
          </pc:sldLayoutMkLst>
          <pc:spChg chg="mod">
            <ac:chgData name="Daniel Scott-Raynsford" userId="395a309a-7b10-4aa8-83ab-4f4dbcf29616" providerId="ADAL" clId="{2192F7D9-343C-4A52-A5F4-EA89840F7BA6}" dt="2024-07-29T05:25:08.387" v="397" actId="313"/>
            <ac:spMkLst>
              <pc:docMk/>
              <pc:sldMasterMk cId="3812057535" sldId="2147484018"/>
              <pc:sldLayoutMk cId="2319600669" sldId="2147484040"/>
              <ac:spMk id="4" creationId="{EFCD2360-4CEE-1BD7-162E-771C0375C19E}"/>
            </ac:spMkLst>
          </pc:spChg>
        </pc:sldLayoutChg>
        <pc:sldLayoutChg chg="modSp mod">
          <pc:chgData name="Daniel Scott-Raynsford" userId="395a309a-7b10-4aa8-83ab-4f4dbcf29616" providerId="ADAL" clId="{2192F7D9-343C-4A52-A5F4-EA89840F7BA6}" dt="2024-07-29T05:25:09.509" v="398" actId="313"/>
          <pc:sldLayoutMkLst>
            <pc:docMk/>
            <pc:sldMasterMk cId="3812057535" sldId="2147484018"/>
            <pc:sldLayoutMk cId="1886113827" sldId="2147484041"/>
          </pc:sldLayoutMkLst>
          <pc:spChg chg="mod">
            <ac:chgData name="Daniel Scott-Raynsford" userId="395a309a-7b10-4aa8-83ab-4f4dbcf29616" providerId="ADAL" clId="{2192F7D9-343C-4A52-A5F4-EA89840F7BA6}" dt="2024-07-29T05:25:09.509" v="398" actId="313"/>
            <ac:spMkLst>
              <pc:docMk/>
              <pc:sldMasterMk cId="3812057535" sldId="2147484018"/>
              <pc:sldLayoutMk cId="1886113827" sldId="2147484041"/>
              <ac:spMk id="7" creationId="{7C5E121F-E474-9200-CEF0-871A807275D4}"/>
            </ac:spMkLst>
          </pc:spChg>
        </pc:sldLayoutChg>
        <pc:sldLayoutChg chg="modSp mod">
          <pc:chgData name="Daniel Scott-Raynsford" userId="395a309a-7b10-4aa8-83ab-4f4dbcf29616" providerId="ADAL" clId="{2192F7D9-343C-4A52-A5F4-EA89840F7BA6}" dt="2024-07-29T05:25:10.652" v="399" actId="313"/>
          <pc:sldLayoutMkLst>
            <pc:docMk/>
            <pc:sldMasterMk cId="3812057535" sldId="2147484018"/>
            <pc:sldLayoutMk cId="1985120072" sldId="2147484042"/>
          </pc:sldLayoutMkLst>
          <pc:spChg chg="mod">
            <ac:chgData name="Daniel Scott-Raynsford" userId="395a309a-7b10-4aa8-83ab-4f4dbcf29616" providerId="ADAL" clId="{2192F7D9-343C-4A52-A5F4-EA89840F7BA6}" dt="2024-07-29T05:25:10.652" v="399" actId="313"/>
            <ac:spMkLst>
              <pc:docMk/>
              <pc:sldMasterMk cId="3812057535" sldId="2147484018"/>
              <pc:sldLayoutMk cId="1985120072" sldId="2147484042"/>
              <ac:spMk id="4" creationId="{AFD725F6-6736-7D83-02C4-FF4EF7E2D4BB}"/>
            </ac:spMkLst>
          </pc:spChg>
        </pc:sldLayoutChg>
        <pc:sldLayoutChg chg="modSp mod">
          <pc:chgData name="Daniel Scott-Raynsford" userId="395a309a-7b10-4aa8-83ab-4f4dbcf29616" providerId="ADAL" clId="{2192F7D9-343C-4A52-A5F4-EA89840F7BA6}" dt="2024-07-29T05:25:11.315" v="400" actId="313"/>
          <pc:sldLayoutMkLst>
            <pc:docMk/>
            <pc:sldMasterMk cId="3812057535" sldId="2147484018"/>
            <pc:sldLayoutMk cId="3953394871" sldId="2147484043"/>
          </pc:sldLayoutMkLst>
          <pc:spChg chg="mod">
            <ac:chgData name="Daniel Scott-Raynsford" userId="395a309a-7b10-4aa8-83ab-4f4dbcf29616" providerId="ADAL" clId="{2192F7D9-343C-4A52-A5F4-EA89840F7BA6}" dt="2024-07-29T05:25:11.315" v="400" actId="313"/>
            <ac:spMkLst>
              <pc:docMk/>
              <pc:sldMasterMk cId="3812057535" sldId="2147484018"/>
              <pc:sldLayoutMk cId="3953394871" sldId="2147484043"/>
              <ac:spMk id="4" creationId="{E5265A25-E1A3-4972-F79A-51CDE8008CFD}"/>
            </ac:spMkLst>
          </pc:spChg>
        </pc:sldLayoutChg>
        <pc:sldLayoutChg chg="modSp mod">
          <pc:chgData name="Daniel Scott-Raynsford" userId="395a309a-7b10-4aa8-83ab-4f4dbcf29616" providerId="ADAL" clId="{2192F7D9-343C-4A52-A5F4-EA89840F7BA6}" dt="2024-07-29T05:25:12.160" v="401" actId="313"/>
          <pc:sldLayoutMkLst>
            <pc:docMk/>
            <pc:sldMasterMk cId="3812057535" sldId="2147484018"/>
            <pc:sldLayoutMk cId="235860586" sldId="2147484044"/>
          </pc:sldLayoutMkLst>
          <pc:spChg chg="mod">
            <ac:chgData name="Daniel Scott-Raynsford" userId="395a309a-7b10-4aa8-83ab-4f4dbcf29616" providerId="ADAL" clId="{2192F7D9-343C-4A52-A5F4-EA89840F7BA6}" dt="2024-07-29T05:25:12.160" v="401" actId="313"/>
            <ac:spMkLst>
              <pc:docMk/>
              <pc:sldMasterMk cId="3812057535" sldId="2147484018"/>
              <pc:sldLayoutMk cId="235860586" sldId="2147484044"/>
              <ac:spMk id="4" creationId="{922C0D98-9A2F-F06C-82D8-537112C8D3BF}"/>
            </ac:spMkLst>
          </pc:spChg>
        </pc:sldLayoutChg>
        <pc:sldLayoutChg chg="modSp mod">
          <pc:chgData name="Daniel Scott-Raynsford" userId="395a309a-7b10-4aa8-83ab-4f4dbcf29616" providerId="ADAL" clId="{2192F7D9-343C-4A52-A5F4-EA89840F7BA6}" dt="2024-07-29T05:25:12.926" v="402" actId="313"/>
          <pc:sldLayoutMkLst>
            <pc:docMk/>
            <pc:sldMasterMk cId="3812057535" sldId="2147484018"/>
            <pc:sldLayoutMk cId="3379868355" sldId="2147484048"/>
          </pc:sldLayoutMkLst>
          <pc:spChg chg="mod">
            <ac:chgData name="Daniel Scott-Raynsford" userId="395a309a-7b10-4aa8-83ab-4f4dbcf29616" providerId="ADAL" clId="{2192F7D9-343C-4A52-A5F4-EA89840F7BA6}" dt="2024-07-29T05:25:12.926" v="402" actId="313"/>
            <ac:spMkLst>
              <pc:docMk/>
              <pc:sldMasterMk cId="3812057535" sldId="2147484018"/>
              <pc:sldLayoutMk cId="3379868355" sldId="2147484048"/>
              <ac:spMk id="12" creationId="{ACB2318D-94DB-19B6-B54B-13788E6B7EF0}"/>
            </ac:spMkLst>
          </pc:spChg>
        </pc:sldLayoutChg>
        <pc:sldLayoutChg chg="modSp mod">
          <pc:chgData name="Daniel Scott-Raynsford" userId="395a309a-7b10-4aa8-83ab-4f4dbcf29616" providerId="ADAL" clId="{2192F7D9-343C-4A52-A5F4-EA89840F7BA6}" dt="2024-07-29T05:25:13.913" v="403" actId="313"/>
          <pc:sldLayoutMkLst>
            <pc:docMk/>
            <pc:sldMasterMk cId="3812057535" sldId="2147484018"/>
            <pc:sldLayoutMk cId="3992879274" sldId="2147484049"/>
          </pc:sldLayoutMkLst>
          <pc:spChg chg="mod">
            <ac:chgData name="Daniel Scott-Raynsford" userId="395a309a-7b10-4aa8-83ab-4f4dbcf29616" providerId="ADAL" clId="{2192F7D9-343C-4A52-A5F4-EA89840F7BA6}" dt="2024-07-29T05:25:13.913" v="403" actId="313"/>
            <ac:spMkLst>
              <pc:docMk/>
              <pc:sldMasterMk cId="3812057535" sldId="2147484018"/>
              <pc:sldLayoutMk cId="3992879274" sldId="2147484049"/>
              <ac:spMk id="11" creationId="{65F596C1-3843-160B-8093-45179ACE9582}"/>
            </ac:spMkLst>
          </pc:spChg>
        </pc:sldLayoutChg>
        <pc:sldLayoutChg chg="modSp mod">
          <pc:chgData name="Daniel Scott-Raynsford" userId="395a309a-7b10-4aa8-83ab-4f4dbcf29616" providerId="ADAL" clId="{2192F7D9-343C-4A52-A5F4-EA89840F7BA6}" dt="2024-07-29T05:25:14.584" v="404" actId="313"/>
          <pc:sldLayoutMkLst>
            <pc:docMk/>
            <pc:sldMasterMk cId="3812057535" sldId="2147484018"/>
            <pc:sldLayoutMk cId="496359323" sldId="2147484050"/>
          </pc:sldLayoutMkLst>
          <pc:spChg chg="mod">
            <ac:chgData name="Daniel Scott-Raynsford" userId="395a309a-7b10-4aa8-83ab-4f4dbcf29616" providerId="ADAL" clId="{2192F7D9-343C-4A52-A5F4-EA89840F7BA6}" dt="2024-07-29T05:25:14.584" v="404" actId="313"/>
            <ac:spMkLst>
              <pc:docMk/>
              <pc:sldMasterMk cId="3812057535" sldId="2147484018"/>
              <pc:sldLayoutMk cId="496359323" sldId="2147484050"/>
              <ac:spMk id="11" creationId="{78DE2667-1FD5-3DD2-C5D5-FD239113DE0D}"/>
            </ac:spMkLst>
          </pc:spChg>
        </pc:sldLayoutChg>
        <pc:sldLayoutChg chg="modSp mod">
          <pc:chgData name="Daniel Scott-Raynsford" userId="395a309a-7b10-4aa8-83ab-4f4dbcf29616" providerId="ADAL" clId="{2192F7D9-343C-4A52-A5F4-EA89840F7BA6}" dt="2024-07-29T05:25:15.572" v="405" actId="313"/>
          <pc:sldLayoutMkLst>
            <pc:docMk/>
            <pc:sldMasterMk cId="3812057535" sldId="2147484018"/>
            <pc:sldLayoutMk cId="1410505329" sldId="2147484052"/>
          </pc:sldLayoutMkLst>
          <pc:spChg chg="mod">
            <ac:chgData name="Daniel Scott-Raynsford" userId="395a309a-7b10-4aa8-83ab-4f4dbcf29616" providerId="ADAL" clId="{2192F7D9-343C-4A52-A5F4-EA89840F7BA6}" dt="2024-07-29T05:25:15.572" v="405" actId="313"/>
            <ac:spMkLst>
              <pc:docMk/>
              <pc:sldMasterMk cId="3812057535" sldId="2147484018"/>
              <pc:sldLayoutMk cId="1410505329" sldId="2147484052"/>
              <ac:spMk id="5" creationId="{97015E0A-0BD8-CC93-1A20-04AB16B770FE}"/>
            </ac:spMkLst>
          </pc:spChg>
        </pc:sldLayoutChg>
        <pc:sldLayoutChg chg="modSp mod">
          <pc:chgData name="Daniel Scott-Raynsford" userId="395a309a-7b10-4aa8-83ab-4f4dbcf29616" providerId="ADAL" clId="{2192F7D9-343C-4A52-A5F4-EA89840F7BA6}" dt="2024-07-29T05:25:16.790" v="406" actId="313"/>
          <pc:sldLayoutMkLst>
            <pc:docMk/>
            <pc:sldMasterMk cId="3812057535" sldId="2147484018"/>
            <pc:sldLayoutMk cId="974283437" sldId="2147484053"/>
          </pc:sldLayoutMkLst>
          <pc:spChg chg="mod">
            <ac:chgData name="Daniel Scott-Raynsford" userId="395a309a-7b10-4aa8-83ab-4f4dbcf29616" providerId="ADAL" clId="{2192F7D9-343C-4A52-A5F4-EA89840F7BA6}" dt="2024-07-29T05:25:16.790" v="406" actId="313"/>
            <ac:spMkLst>
              <pc:docMk/>
              <pc:sldMasterMk cId="3812057535" sldId="2147484018"/>
              <pc:sldLayoutMk cId="974283437" sldId="2147484053"/>
              <ac:spMk id="8" creationId="{A275F348-DB06-A37D-DCB2-48B37128CFD6}"/>
            </ac:spMkLst>
          </pc:spChg>
        </pc:sldLayoutChg>
        <pc:sldLayoutChg chg="modSp mod">
          <pc:chgData name="Daniel Scott-Raynsford" userId="395a309a-7b10-4aa8-83ab-4f4dbcf29616" providerId="ADAL" clId="{2192F7D9-343C-4A52-A5F4-EA89840F7BA6}" dt="2024-07-29T05:25:18.412" v="407" actId="313"/>
          <pc:sldLayoutMkLst>
            <pc:docMk/>
            <pc:sldMasterMk cId="3812057535" sldId="2147484018"/>
            <pc:sldLayoutMk cId="3249403308" sldId="2147484054"/>
          </pc:sldLayoutMkLst>
          <pc:spChg chg="mod">
            <ac:chgData name="Daniel Scott-Raynsford" userId="395a309a-7b10-4aa8-83ab-4f4dbcf29616" providerId="ADAL" clId="{2192F7D9-343C-4A52-A5F4-EA89840F7BA6}" dt="2024-07-29T05:25:18.412" v="407" actId="313"/>
            <ac:spMkLst>
              <pc:docMk/>
              <pc:sldMasterMk cId="3812057535" sldId="2147484018"/>
              <pc:sldLayoutMk cId="3249403308" sldId="2147484054"/>
              <ac:spMk id="6" creationId="{6CCCAE11-EA85-B4D1-0D8C-65F7DD7B3569}"/>
            </ac:spMkLst>
          </pc:spChg>
        </pc:sldLayoutChg>
        <pc:sldLayoutChg chg="modSp mod">
          <pc:chgData name="Daniel Scott-Raynsford" userId="395a309a-7b10-4aa8-83ab-4f4dbcf29616" providerId="ADAL" clId="{2192F7D9-343C-4A52-A5F4-EA89840F7BA6}" dt="2024-07-29T05:22:52.203" v="377" actId="20577"/>
          <pc:sldLayoutMkLst>
            <pc:docMk/>
            <pc:sldMasterMk cId="3812057535" sldId="2147484018"/>
            <pc:sldLayoutMk cId="261413606" sldId="2147484055"/>
          </pc:sldLayoutMkLst>
          <pc:spChg chg="mod">
            <ac:chgData name="Daniel Scott-Raynsford" userId="395a309a-7b10-4aa8-83ab-4f4dbcf29616" providerId="ADAL" clId="{2192F7D9-343C-4A52-A5F4-EA89840F7BA6}" dt="2024-07-29T05:22:52.203" v="377" actId="20577"/>
            <ac:spMkLst>
              <pc:docMk/>
              <pc:sldMasterMk cId="3812057535" sldId="2147484018"/>
              <pc:sldLayoutMk cId="261413606" sldId="2147484055"/>
              <ac:spMk id="7" creationId="{6165F1FD-16D2-0388-9E42-CF2500D25329}"/>
            </ac:spMkLst>
          </pc:spChg>
        </pc:sldLayoutChg>
        <pc:sldLayoutChg chg="modSp mod">
          <pc:chgData name="Daniel Scott-Raynsford" userId="395a309a-7b10-4aa8-83ab-4f4dbcf29616" providerId="ADAL" clId="{2192F7D9-343C-4A52-A5F4-EA89840F7BA6}" dt="2024-07-29T05:23:03.269" v="378"/>
          <pc:sldLayoutMkLst>
            <pc:docMk/>
            <pc:sldMasterMk cId="3812057535" sldId="2147484018"/>
            <pc:sldLayoutMk cId="126765350" sldId="2147484056"/>
          </pc:sldLayoutMkLst>
          <pc:spChg chg="mod">
            <ac:chgData name="Daniel Scott-Raynsford" userId="395a309a-7b10-4aa8-83ab-4f4dbcf29616" providerId="ADAL" clId="{2192F7D9-343C-4A52-A5F4-EA89840F7BA6}" dt="2024-07-29T05:23:03.269" v="378"/>
            <ac:spMkLst>
              <pc:docMk/>
              <pc:sldMasterMk cId="3812057535" sldId="2147484018"/>
              <pc:sldLayoutMk cId="126765350" sldId="2147484056"/>
              <ac:spMk id="9" creationId="{EC7FFF08-00C0-62BF-A658-292A19623559}"/>
            </ac:spMkLst>
          </pc:spChg>
        </pc:sldLayoutChg>
        <pc:sldLayoutChg chg="modSp mod">
          <pc:chgData name="Daniel Scott-Raynsford" userId="395a309a-7b10-4aa8-83ab-4f4dbcf29616" providerId="ADAL" clId="{2192F7D9-343C-4A52-A5F4-EA89840F7BA6}" dt="2024-07-29T05:23:09.633" v="381"/>
          <pc:sldLayoutMkLst>
            <pc:docMk/>
            <pc:sldMasterMk cId="3812057535" sldId="2147484018"/>
            <pc:sldLayoutMk cId="1200780615" sldId="2147484057"/>
          </pc:sldLayoutMkLst>
          <pc:spChg chg="mod">
            <ac:chgData name="Daniel Scott-Raynsford" userId="395a309a-7b10-4aa8-83ab-4f4dbcf29616" providerId="ADAL" clId="{2192F7D9-343C-4A52-A5F4-EA89840F7BA6}" dt="2024-07-29T05:23:09.633" v="381"/>
            <ac:spMkLst>
              <pc:docMk/>
              <pc:sldMasterMk cId="3812057535" sldId="2147484018"/>
              <pc:sldLayoutMk cId="1200780615" sldId="2147484057"/>
              <ac:spMk id="8" creationId="{41E0DF4D-CA5E-C176-1A0B-E0873400F64F}"/>
            </ac:spMkLst>
          </pc:spChg>
        </pc:sldLayoutChg>
        <pc:sldLayoutChg chg="modSp mod">
          <pc:chgData name="Daniel Scott-Raynsford" userId="395a309a-7b10-4aa8-83ab-4f4dbcf29616" providerId="ADAL" clId="{2192F7D9-343C-4A52-A5F4-EA89840F7BA6}" dt="2024-07-29T05:23:16.088" v="382"/>
          <pc:sldLayoutMkLst>
            <pc:docMk/>
            <pc:sldMasterMk cId="3812057535" sldId="2147484018"/>
            <pc:sldLayoutMk cId="478560044" sldId="2147484060"/>
          </pc:sldLayoutMkLst>
          <pc:spChg chg="mod">
            <ac:chgData name="Daniel Scott-Raynsford" userId="395a309a-7b10-4aa8-83ab-4f4dbcf29616" providerId="ADAL" clId="{2192F7D9-343C-4A52-A5F4-EA89840F7BA6}" dt="2024-07-29T05:23:16.088" v="382"/>
            <ac:spMkLst>
              <pc:docMk/>
              <pc:sldMasterMk cId="3812057535" sldId="2147484018"/>
              <pc:sldLayoutMk cId="478560044" sldId="2147484060"/>
              <ac:spMk id="9" creationId="{B28069BC-18A4-78C4-5AD2-10077AD39C05}"/>
            </ac:spMkLst>
          </pc:spChg>
        </pc:sldLayoutChg>
        <pc:sldLayoutChg chg="del">
          <pc:chgData name="Daniel Scott-Raynsford" userId="395a309a-7b10-4aa8-83ab-4f4dbcf29616" providerId="ADAL" clId="{2192F7D9-343C-4A52-A5F4-EA89840F7BA6}" dt="2024-07-29T05:32:52.356" v="561" actId="47"/>
          <pc:sldLayoutMkLst>
            <pc:docMk/>
            <pc:sldMasterMk cId="3812057535" sldId="2147484018"/>
            <pc:sldLayoutMk cId="2296372778" sldId="2147484063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3" name="Google Shape;4113;g240b30836ee_1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114" name="Google Shape;4114;g240b30836ee_1_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5" name="Google Shape;4405;g2716a076101_1_167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406" name="Google Shape;4406;g2716a076101_1_167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4" name="Google Shape;3044;g29382dfc146_11_68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45" name="Google Shape;3045;g29382dfc146_11_68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>
              <a:solidFill>
                <a:schemeClr val="dk1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9" name="Google Shape;2589;g1e5203478e0_0_346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90" name="Google Shape;2590;g1e5203478e0_0_346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28425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74" name="Google Shape;4174;g1e5e548c1c1_1_10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175" name="Google Shape;4175;g1e5e548c1c1_1_10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21973564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" name="Google Shape;4300;g27da855ae68_1_10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301" name="Google Shape;4301;g27da855ae68_1_10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26" name="Google Shape;4326;g27c75833408_0_39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327" name="Google Shape;4327;g27c75833408_0_39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dk1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5" name="Google Shape;4345;g27c75833408_0_1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346" name="Google Shape;4346;g27c75833408_0_13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6" name="Google Shape;4366;g27c75833408_0_2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367" name="Google Shape;4367;g27c75833408_0_22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>
                <a:solidFill>
                  <a:schemeClr val="dk1"/>
                </a:solidFill>
              </a:rPr>
              <a:t>GitHub Copilot is able to provide assistance right in the terminal. Need help with multi-step shell commands and scripting? Just explain what you want to do and Copilot is there to help. </a:t>
            </a:r>
            <a:endParaRPr sz="1200">
              <a:solidFill>
                <a:schemeClr val="dk1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83" name="Google Shape;4383;g2716a076101_1_183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384" name="Google Shape;4384;g2716a076101_1_1833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dk1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0.pn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ubsection Cover B" preserve="1">
  <p:cSld name="Subsection Cover B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1"/>
            <a:ext cx="9144000" cy="5143500"/>
          </a:xfrm>
          <a:prstGeom prst="rect">
            <a:avLst/>
          </a:prstGeom>
          <a:gradFill>
            <a:gsLst>
              <a:gs pos="0">
                <a:srgbClr val="161828"/>
              </a:gs>
              <a:gs pos="15000">
                <a:srgbClr val="161828"/>
              </a:gs>
              <a:gs pos="67000">
                <a:srgbClr val="1B1D30">
                  <a:alpha val="57647"/>
                </a:srgbClr>
              </a:gs>
              <a:gs pos="100000">
                <a:srgbClr val="2E3252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42900" tIns="21450" rIns="42900" bIns="214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 b="0" i="0" u="none" strike="noStrike" cap="none">
              <a:solidFill>
                <a:schemeClr val="lt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cxnSp>
        <p:nvCxnSpPr>
          <p:cNvPr id="4" name="Google Shape;67;p15">
            <a:extLst>
              <a:ext uri="{FF2B5EF4-FFF2-40B4-BE49-F238E27FC236}">
                <a16:creationId xmlns:a16="http://schemas.microsoft.com/office/drawing/2014/main" id="{643AD4BE-3E8F-DDFC-8825-C35A7215C2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" name="Google Shape;63;p14"/>
          <p:cNvSpPr txBox="1">
            <a:spLocks noGrp="1"/>
          </p:cNvSpPr>
          <p:nvPr>
            <p:ph type="title"/>
          </p:nvPr>
        </p:nvSpPr>
        <p:spPr>
          <a:xfrm>
            <a:off x="1225300" y="1720400"/>
            <a:ext cx="4023300" cy="22026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400"/>
              <a:buNone/>
              <a:defRPr b="1" i="0">
                <a:latin typeface="Helvetica" pitchFamily="2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A469B42-A5A6-8FDC-E184-39B0840E81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3163830" y="250"/>
            <a:ext cx="4235930" cy="4452684"/>
            <a:chOff x="-3163830" y="250"/>
            <a:chExt cx="4235930" cy="4452684"/>
          </a:xfrm>
        </p:grpSpPr>
        <p:pic>
          <p:nvPicPr>
            <p:cNvPr id="60" name="Google Shape;60;p14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 rotWithShape="1">
            <a:blip r:embed="rId2">
              <a:alphaModFix amt="30000"/>
            </a:blip>
            <a:srcRect/>
            <a:stretch/>
          </p:blipFill>
          <p:spPr>
            <a:xfrm>
              <a:off x="-3163830" y="690565"/>
              <a:ext cx="3762369" cy="376236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62" name="Google Shape;62;p14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 rot="10800000">
              <a:off x="998900" y="250"/>
              <a:ext cx="73200" cy="3401700"/>
            </a:xfrm>
            <a:prstGeom prst="rect">
              <a:avLst/>
            </a:prstGeom>
            <a:gradFill>
              <a:gsLst>
                <a:gs pos="0">
                  <a:srgbClr val="D59DFF"/>
                </a:gs>
                <a:gs pos="100000">
                  <a:srgbClr val="28AFEA"/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i="0">
                <a:latin typeface="Helvetica" pitchFamily="2" charset="0"/>
              </a:endParaRPr>
            </a:p>
          </p:txBody>
        </p:sp>
      </p:grpSp>
      <p:sp>
        <p:nvSpPr>
          <p:cNvPr id="64" name="Google Shape;64;p14"/>
          <p:cNvSpPr txBox="1">
            <a:spLocks noGrp="1"/>
          </p:cNvSpPr>
          <p:nvPr>
            <p:ph type="subTitle" idx="1"/>
          </p:nvPr>
        </p:nvSpPr>
        <p:spPr>
          <a:xfrm>
            <a:off x="1225296" y="1028702"/>
            <a:ext cx="3026700" cy="416002"/>
          </a:xfrm>
          <a:prstGeom prst="rect">
            <a:avLst/>
          </a:prstGeom>
        </p:spPr>
        <p:txBody>
          <a:bodyPr spcFirstLastPara="1" wrap="square" lIns="45700" tIns="18275" rIns="45700" bIns="18275" anchor="b" anchorCtr="0">
            <a:noAutofit/>
          </a:bodyPr>
          <a:lstStyle>
            <a:lvl1pPr>
              <a:defRPr sz="1600" dirty="0">
                <a:solidFill>
                  <a:schemeClr val="lt1"/>
                </a:solidFill>
              </a:defRPr>
            </a:lvl1pPr>
          </a:lstStyle>
          <a:p>
            <a:pPr marL="0" lvl="0">
              <a:buClr>
                <a:schemeClr val="lt1"/>
              </a:buClr>
              <a:buSzPts val="800"/>
              <a:buNone/>
            </a:pPr>
            <a:endParaRPr/>
          </a:p>
        </p:txBody>
      </p:sp>
      <p:cxnSp>
        <p:nvCxnSpPr>
          <p:cNvPr id="59" name="Google Shape;59;p1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1264320" y="1478529"/>
            <a:ext cx="2070300" cy="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61" name="Google Shape;61;p1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r="891"/>
          <a:stretch/>
        </p:blipFill>
        <p:spPr>
          <a:xfrm>
            <a:off x="3866225" y="0"/>
            <a:ext cx="5277775" cy="5143498"/>
          </a:xfrm>
          <a:prstGeom prst="rect">
            <a:avLst/>
          </a:prstGeom>
          <a:noFill/>
          <a:ln>
            <a:noFill/>
          </a:ln>
        </p:spPr>
      </p:pic>
      <p:sp>
        <p:nvSpPr>
          <p:cNvPr id="58" name="Google Shape;58;p1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450166" y="4900823"/>
            <a:ext cx="3595800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500" b="0" i="0">
                <a:solidFill>
                  <a:schemeClr val="lt1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1</a:t>
            </a:r>
            <a:endParaRPr sz="700" b="0" i="0">
              <a:latin typeface="Helvetica" pitchFamily="2" charset="0"/>
            </a:endParaRPr>
          </a:p>
        </p:txBody>
      </p:sp>
      <p:sp>
        <p:nvSpPr>
          <p:cNvPr id="57" name="Google Shape;57;p1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450166" y="4900823"/>
            <a:ext cx="3595800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500" b="0" i="0" u="none" strike="noStrike" cap="none">
                <a:solidFill>
                  <a:schemeClr val="lt1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‹#›</a:t>
            </a:fld>
            <a:endParaRPr sz="500" b="0" i="0" u="none" strike="noStrike" cap="none">
              <a:solidFill>
                <a:schemeClr val="lt1"/>
              </a:solidFill>
              <a:latin typeface="Helvetica" pitchFamily="2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5" name="Google Shape;56;p14">
            <a:extLst>
              <a:ext uri="{FF2B5EF4-FFF2-40B4-BE49-F238E27FC236}">
                <a16:creationId xmlns:a16="http://schemas.microsoft.com/office/drawing/2014/main" id="{519F9B0E-F62D-141D-2335-2DFC7094ED60}"/>
              </a:ext>
            </a:extLst>
          </p:cNvPr>
          <p:cNvSpPr/>
          <p:nvPr userDrawn="1"/>
        </p:nvSpPr>
        <p:spPr>
          <a:xfrm>
            <a:off x="569084" y="4900823"/>
            <a:ext cx="5212080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 dirty="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5 THINGS YOU CAN DO WITH GITHUB COPILOT</a:t>
            </a:r>
            <a:endParaRPr lang="en-US" sz="500" b="0" i="0" u="none" strike="noStrike" kern="1200" cap="none" spc="600" dirty="0">
              <a:solidFill>
                <a:srgbClr val="627597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22496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ubsection Cover F" preserve="1" userDrawn="1">
  <p:cSld name="Subsection Cover F"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48916E6B-130A-702E-A467-CC8CFED680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166259" y="-1223050"/>
            <a:ext cx="11838183" cy="8913807"/>
            <a:chOff x="-1166259" y="-1223050"/>
            <a:chExt cx="11838183" cy="8913807"/>
          </a:xfrm>
        </p:grpSpPr>
        <p:pic>
          <p:nvPicPr>
            <p:cNvPr id="199" name="Google Shape;199;p22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-1166259" y="-1223050"/>
              <a:ext cx="5138468" cy="5143501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00" name="Google Shape;200;p22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-331227" y="647439"/>
              <a:ext cx="6414300" cy="6404400"/>
            </a:xfrm>
            <a:prstGeom prst="ellipse">
              <a:avLst/>
            </a:prstGeom>
            <a:gradFill>
              <a:gsLst>
                <a:gs pos="0">
                  <a:srgbClr val="1F9CF0"/>
                </a:gs>
                <a:gs pos="72000">
                  <a:srgbClr val="007ACC">
                    <a:alpha val="23529"/>
                  </a:srgbClr>
                </a:gs>
                <a:gs pos="100000">
                  <a:srgbClr val="007ACC">
                    <a:alpha val="23529"/>
                  </a:srgbClr>
                </a:gs>
              </a:gsLst>
              <a:lin ang="2700006" scaled="0"/>
            </a:gra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01" name="Google Shape;201;p22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 rotWithShape="1">
            <a:blip r:embed="rId3">
              <a:alphaModFix amt="30000"/>
            </a:blip>
            <a:srcRect/>
            <a:stretch/>
          </p:blipFill>
          <p:spPr>
            <a:xfrm>
              <a:off x="6909555" y="1122319"/>
              <a:ext cx="3762369" cy="376236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2" name="Google Shape;202;p22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 rotWithShape="1">
            <a:blip r:embed="rId3">
              <a:alphaModFix amt="30000"/>
            </a:blip>
            <a:srcRect/>
            <a:stretch/>
          </p:blipFill>
          <p:spPr>
            <a:xfrm>
              <a:off x="1022198" y="3928388"/>
              <a:ext cx="3762369" cy="376236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03" name="Google Shape;203;p22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-345041" y="230188"/>
              <a:ext cx="1103700" cy="1102200"/>
            </a:xfrm>
            <a:prstGeom prst="ellipse">
              <a:avLst/>
            </a:prstGeom>
            <a:gradFill>
              <a:gsLst>
                <a:gs pos="0">
                  <a:srgbClr val="D59DFF">
                    <a:alpha val="21960"/>
                  </a:srgbClr>
                </a:gs>
                <a:gs pos="100000">
                  <a:srgbClr val="161828">
                    <a:alpha val="55294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04" name="Google Shape;204;p22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>
            <a:blip r:embed="rId4">
              <a:alphaModFix/>
            </a:blip>
            <a:stretch>
              <a:fillRect/>
            </a:stretch>
          </p:blipFill>
          <p:spPr>
            <a:xfrm>
              <a:off x="4744082" y="2640400"/>
              <a:ext cx="1610051" cy="1985751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05" name="Google Shape;205;p22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 rot="10800000">
              <a:off x="998900" y="100"/>
              <a:ext cx="73200" cy="34095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i="0">
                <a:latin typeface="Helvetica" pitchFamily="2" charset="0"/>
              </a:endParaRPr>
            </a:p>
          </p:txBody>
        </p:sp>
        <p:cxnSp>
          <p:nvCxnSpPr>
            <p:cNvPr id="206" name="Google Shape;206;p22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>
            <a:xfrm>
              <a:off x="1264320" y="1478529"/>
              <a:ext cx="2070300" cy="0"/>
            </a:xfrm>
            <a:prstGeom prst="straightConnector1">
              <a:avLst/>
            </a:prstGeom>
            <a:noFill/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12" name="Google Shape;196;p21">
            <a:extLst>
              <a:ext uri="{FF2B5EF4-FFF2-40B4-BE49-F238E27FC236}">
                <a16:creationId xmlns:a16="http://schemas.microsoft.com/office/drawing/2014/main" id="{21617290-5BA6-E043-927A-954A333996E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25300" y="1720400"/>
            <a:ext cx="4023300" cy="22026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400"/>
              <a:buNone/>
              <a:defRPr b="1" i="0">
                <a:latin typeface="Helvetica" pitchFamily="2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197;p21">
            <a:extLst>
              <a:ext uri="{FF2B5EF4-FFF2-40B4-BE49-F238E27FC236}">
                <a16:creationId xmlns:a16="http://schemas.microsoft.com/office/drawing/2014/main" id="{2198EE9C-6D95-BE49-B93E-3C11A582D724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1225295" y="857250"/>
            <a:ext cx="4023299" cy="587454"/>
          </a:xfrm>
          <a:prstGeom prst="rect">
            <a:avLst/>
          </a:prstGeom>
        </p:spPr>
        <p:txBody>
          <a:bodyPr spcFirstLastPara="1" wrap="square" lIns="45700" tIns="18275" rIns="45700" bIns="18275" anchor="b" anchorCtr="0">
            <a:noAutofit/>
          </a:bodyPr>
          <a:lstStyle>
            <a:lvl1pPr>
              <a:defRPr sz="1600" dirty="0">
                <a:solidFill>
                  <a:schemeClr val="lt1"/>
                </a:solidFill>
              </a:defRPr>
            </a:lvl1pPr>
          </a:lstStyle>
          <a:p>
            <a:pPr marL="0" lvl="0">
              <a:buClr>
                <a:schemeClr val="lt1"/>
              </a:buClr>
              <a:buSzPts val="8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115124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ubsection Cover D" preserve="1" userDrawn="1">
  <p:cSld name="Subsection Cover D"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12FD604D-9926-8834-9CD8-C9BCCDD13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2134788" y="-630488"/>
            <a:ext cx="12806712" cy="8321245"/>
            <a:chOff x="-2134788" y="-630488"/>
            <a:chExt cx="12806712" cy="8321245"/>
          </a:xfrm>
        </p:grpSpPr>
        <p:sp>
          <p:nvSpPr>
            <p:cNvPr id="210" name="Google Shape;210;p23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-2134788" y="232333"/>
              <a:ext cx="6089700" cy="6080400"/>
            </a:xfrm>
            <a:prstGeom prst="ellipse">
              <a:avLst/>
            </a:prstGeom>
            <a:gradFill>
              <a:gsLst>
                <a:gs pos="0">
                  <a:srgbClr val="8661C5">
                    <a:alpha val="0"/>
                  </a:srgbClr>
                </a:gs>
                <a:gs pos="100000">
                  <a:srgbClr val="161828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" name="Google Shape;211;p23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-331227" y="-630488"/>
              <a:ext cx="6414300" cy="6404400"/>
            </a:xfrm>
            <a:prstGeom prst="ellipse">
              <a:avLst/>
            </a:prstGeom>
            <a:gradFill>
              <a:gsLst>
                <a:gs pos="0">
                  <a:schemeClr val="accent4"/>
                </a:gs>
                <a:gs pos="72000">
                  <a:srgbClr val="9477E2">
                    <a:alpha val="50196"/>
                  </a:srgbClr>
                </a:gs>
                <a:gs pos="100000">
                  <a:srgbClr val="9477E2">
                    <a:alpha val="50196"/>
                  </a:srgbClr>
                </a:gs>
              </a:gsLst>
              <a:lin ang="2700006" scaled="0"/>
            </a:gra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12" name="Google Shape;212;p23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 rotWithShape="1">
            <a:blip r:embed="rId2">
              <a:alphaModFix amt="30000"/>
            </a:blip>
            <a:srcRect/>
            <a:stretch/>
          </p:blipFill>
          <p:spPr>
            <a:xfrm>
              <a:off x="6909555" y="1122319"/>
              <a:ext cx="3762369" cy="376236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13" name="Google Shape;213;p23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894296" y="370372"/>
              <a:ext cx="1612500" cy="1609800"/>
            </a:xfrm>
            <a:prstGeom prst="ellipse">
              <a:avLst/>
            </a:prstGeom>
            <a:gradFill>
              <a:gsLst>
                <a:gs pos="0">
                  <a:srgbClr val="8661C5">
                    <a:alpha val="0"/>
                  </a:srgbClr>
                </a:gs>
                <a:gs pos="100000">
                  <a:srgbClr val="161828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14" name="Google Shape;214;p23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 rotWithShape="1">
            <a:blip r:embed="rId2">
              <a:alphaModFix amt="30000"/>
            </a:blip>
            <a:srcRect/>
            <a:stretch/>
          </p:blipFill>
          <p:spPr>
            <a:xfrm>
              <a:off x="1022198" y="3928388"/>
              <a:ext cx="3762369" cy="376236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15" name="Google Shape;215;p23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175884" y="292420"/>
              <a:ext cx="608700" cy="607800"/>
            </a:xfrm>
            <a:prstGeom prst="ellipse">
              <a:avLst/>
            </a:prstGeom>
            <a:gradFill>
              <a:gsLst>
                <a:gs pos="0">
                  <a:srgbClr val="007ACC">
                    <a:alpha val="14901"/>
                  </a:srgbClr>
                </a:gs>
                <a:gs pos="100000">
                  <a:srgbClr val="1F9CF0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6" name="Google Shape;216;p23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 rot="10800000">
              <a:off x="998900" y="100"/>
              <a:ext cx="73200" cy="34095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i="0">
                <a:latin typeface="Helvetica" pitchFamily="2" charset="0"/>
              </a:endParaRPr>
            </a:p>
          </p:txBody>
        </p:sp>
        <p:cxnSp>
          <p:nvCxnSpPr>
            <p:cNvPr id="217" name="Google Shape;217;p23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>
            <a:xfrm>
              <a:off x="1264320" y="1478529"/>
              <a:ext cx="2070300" cy="0"/>
            </a:xfrm>
            <a:prstGeom prst="straightConnector1">
              <a:avLst/>
            </a:prstGeom>
            <a:noFill/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12" name="Google Shape;196;p21">
            <a:extLst>
              <a:ext uri="{FF2B5EF4-FFF2-40B4-BE49-F238E27FC236}">
                <a16:creationId xmlns:a16="http://schemas.microsoft.com/office/drawing/2014/main" id="{0D5A692D-5E2C-3545-9A63-90E5192CEDE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25300" y="1720400"/>
            <a:ext cx="4023300" cy="22026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400"/>
              <a:buNone/>
              <a:defRPr b="1" i="0">
                <a:latin typeface="Helvetica" pitchFamily="2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197;p21">
            <a:extLst>
              <a:ext uri="{FF2B5EF4-FFF2-40B4-BE49-F238E27FC236}">
                <a16:creationId xmlns:a16="http://schemas.microsoft.com/office/drawing/2014/main" id="{50A9DFC3-AEA3-C846-8DCB-4FA6A6FC54E9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1225296" y="900219"/>
            <a:ext cx="4023300" cy="544485"/>
          </a:xfrm>
          <a:prstGeom prst="rect">
            <a:avLst/>
          </a:prstGeom>
        </p:spPr>
        <p:txBody>
          <a:bodyPr spcFirstLastPara="1" wrap="square" lIns="45700" tIns="18275" rIns="45700" bIns="18275" anchor="b" anchorCtr="0">
            <a:noAutofit/>
          </a:bodyPr>
          <a:lstStyle>
            <a:lvl1pPr marL="0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1600" b="0" i="0">
                <a:solidFill>
                  <a:schemeClr val="lt1"/>
                </a:solidFill>
                <a:latin typeface="Helvetica" pitchFamily="2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950428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ubsection Cover A" preserve="1" userDrawn="1">
  <p:cSld name="Subsection Cover A">
    <p:spTree>
      <p:nvGrpSpPr>
        <p:cNvPr id="1" name="Shape 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oogle Shape;67;p15">
            <a:extLst>
              <a:ext uri="{FF2B5EF4-FFF2-40B4-BE49-F238E27FC236}">
                <a16:creationId xmlns:a16="http://schemas.microsoft.com/office/drawing/2014/main" id="{86E285BC-2CED-9881-227F-4B436A5356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860C5A5C-CF9A-B033-D286-24B1068EA9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3163830" y="0"/>
            <a:ext cx="12307830" cy="5143501"/>
            <a:chOff x="-3163830" y="0"/>
            <a:chExt cx="12307830" cy="5143501"/>
          </a:xfrm>
        </p:grpSpPr>
        <p:pic>
          <p:nvPicPr>
            <p:cNvPr id="221" name="Google Shape;221;p24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820700" y="0"/>
              <a:ext cx="6323300" cy="514350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22" name="Google Shape;222;p24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 rotWithShape="1">
            <a:blip r:embed="rId3">
              <a:alphaModFix amt="30000"/>
            </a:blip>
            <a:srcRect/>
            <a:stretch/>
          </p:blipFill>
          <p:spPr>
            <a:xfrm>
              <a:off x="-3163830" y="690565"/>
              <a:ext cx="3762369" cy="3762369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223" name="Google Shape;223;p24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>
            <a:xfrm>
              <a:off x="1264320" y="1478529"/>
              <a:ext cx="2070300" cy="0"/>
            </a:xfrm>
            <a:prstGeom prst="straightConnector1">
              <a:avLst/>
            </a:prstGeom>
            <a:noFill/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24" name="Google Shape;224;p24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 rot="10800000">
              <a:off x="998900" y="50"/>
              <a:ext cx="73200" cy="3394500"/>
            </a:xfrm>
            <a:prstGeom prst="rect">
              <a:avLst/>
            </a:prstGeom>
            <a:gradFill>
              <a:gsLst>
                <a:gs pos="0">
                  <a:srgbClr val="D59DFF"/>
                </a:gs>
                <a:gs pos="100000">
                  <a:srgbClr val="28AFEA"/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i="0">
                <a:latin typeface="Helvetica" pitchFamily="2" charset="0"/>
              </a:endParaRPr>
            </a:p>
          </p:txBody>
        </p:sp>
      </p:grpSp>
      <p:sp>
        <p:nvSpPr>
          <p:cNvPr id="8" name="Google Shape;196;p21">
            <a:extLst>
              <a:ext uri="{FF2B5EF4-FFF2-40B4-BE49-F238E27FC236}">
                <a16:creationId xmlns:a16="http://schemas.microsoft.com/office/drawing/2014/main" id="{DD23A2E5-7DF9-3E42-8FF7-1F52FA94B03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25300" y="1720400"/>
            <a:ext cx="4023300" cy="22026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400"/>
              <a:buNone/>
              <a:defRPr b="1" i="0">
                <a:latin typeface="Helvetica" pitchFamily="2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" name="Google Shape;197;p21">
            <a:extLst>
              <a:ext uri="{FF2B5EF4-FFF2-40B4-BE49-F238E27FC236}">
                <a16:creationId xmlns:a16="http://schemas.microsoft.com/office/drawing/2014/main" id="{E86E1330-9ED2-2645-B516-145C6EB98F8A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1225296" y="895350"/>
            <a:ext cx="4023300" cy="549354"/>
          </a:xfrm>
          <a:prstGeom prst="rect">
            <a:avLst/>
          </a:prstGeom>
        </p:spPr>
        <p:txBody>
          <a:bodyPr spcFirstLastPara="1" wrap="square" lIns="45700" tIns="18275" rIns="45700" bIns="18275" anchor="b" anchorCtr="0">
            <a:noAutofit/>
          </a:bodyPr>
          <a:lstStyle>
            <a:lvl1pPr>
              <a:defRPr sz="1600">
                <a:solidFill>
                  <a:schemeClr val="lt1"/>
                </a:solidFill>
              </a:defRPr>
            </a:lvl1pPr>
          </a:lstStyle>
          <a:p>
            <a:pPr marL="0" lvl="0">
              <a:buClr>
                <a:schemeClr val="lt1"/>
              </a:buClr>
              <a:buSzPts val="800"/>
              <a:buNone/>
            </a:pPr>
            <a:endParaRPr/>
          </a:p>
        </p:txBody>
      </p:sp>
      <p:sp>
        <p:nvSpPr>
          <p:cNvPr id="4" name="Google Shape;56;p14">
            <a:extLst>
              <a:ext uri="{FF2B5EF4-FFF2-40B4-BE49-F238E27FC236}">
                <a16:creationId xmlns:a16="http://schemas.microsoft.com/office/drawing/2014/main" id="{1B6A75D1-35C8-2B9A-FDED-48E11FC6D663}"/>
              </a:ext>
            </a:extLst>
          </p:cNvPr>
          <p:cNvSpPr/>
          <p:nvPr userDrawn="1"/>
        </p:nvSpPr>
        <p:spPr>
          <a:xfrm>
            <a:off x="569084" y="4900823"/>
            <a:ext cx="5054476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 dirty="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5 THINGS YOU CAN DO WITH GITHUB COPILOT</a:t>
            </a:r>
            <a:endParaRPr lang="en-US" sz="500" b="0" i="0" u="none" strike="noStrike" kern="1200" cap="none" spc="600" dirty="0">
              <a:solidFill>
                <a:srgbClr val="627597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57580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ubsection Cover C" preserve="1" userDrawn="1">
  <p:cSld name="Subsection Cover C">
    <p:spTree>
      <p:nvGrpSpPr>
        <p:cNvPr id="1" name="Shape 6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oogle Shape;67;p15">
            <a:extLst>
              <a:ext uri="{FF2B5EF4-FFF2-40B4-BE49-F238E27FC236}">
                <a16:creationId xmlns:a16="http://schemas.microsoft.com/office/drawing/2014/main" id="{D194C61F-12CC-AB41-079A-DF8C352241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6EDDDB32-C31D-CB0C-9C98-E26065D274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3163830" y="0"/>
            <a:ext cx="12298113" cy="5143502"/>
            <a:chOff x="-3163830" y="0"/>
            <a:chExt cx="12298113" cy="5143502"/>
          </a:xfrm>
        </p:grpSpPr>
        <p:sp>
          <p:nvSpPr>
            <p:cNvPr id="608" name="Google Shape;608;p40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450166" y="4900823"/>
              <a:ext cx="3595800" cy="124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2900" tIns="21450" rIns="42900" bIns="21450" anchor="t" anchorCtr="0">
              <a:noAutofit/>
            </a:bodyPr>
            <a:lstStyle/>
            <a:p>
              <a:pPr marL="0" marR="0" lvl="0" indent="0" algn="r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fld id="{00000000-1234-1234-1234-123412341234}" type="slidenum">
                <a:rPr lang="en" sz="500" b="0" i="0">
                  <a:solidFill>
                    <a:schemeClr val="lt1"/>
                  </a:solidFill>
                  <a:latin typeface="Helvetica" pitchFamily="2" charset="0"/>
                  <a:ea typeface="Helvetica Neue"/>
                  <a:cs typeface="Helvetica Neue"/>
                  <a:sym typeface="Helvetica Neue"/>
                </a:rPr>
                <a:t>‹#›</a:t>
              </a:fld>
              <a:endParaRPr sz="500" b="0" i="0">
                <a:solidFill>
                  <a:schemeClr val="lt1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endParaRPr>
            </a:p>
          </p:txBody>
        </p:sp>
        <p:cxnSp>
          <p:nvCxnSpPr>
            <p:cNvPr id="609" name="Google Shape;609;p40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>
            <a:xfrm>
              <a:off x="1264320" y="1478529"/>
              <a:ext cx="2070300" cy="0"/>
            </a:xfrm>
            <a:prstGeom prst="straightConnector1">
              <a:avLst/>
            </a:prstGeom>
            <a:noFill/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pic>
          <p:nvPicPr>
            <p:cNvPr id="610" name="Google Shape;610;p40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 rotWithShape="1">
            <a:blip r:embed="rId2">
              <a:alphaModFix/>
            </a:blip>
            <a:srcRect t="901" r="941"/>
            <a:stretch/>
          </p:blipFill>
          <p:spPr>
            <a:xfrm>
              <a:off x="2858495" y="0"/>
              <a:ext cx="6275788" cy="514350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11" name="Google Shape;611;p40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 rotWithShape="1">
            <a:blip r:embed="rId3">
              <a:alphaModFix amt="30000"/>
            </a:blip>
            <a:srcRect/>
            <a:stretch/>
          </p:blipFill>
          <p:spPr>
            <a:xfrm>
              <a:off x="-3163830" y="690565"/>
              <a:ext cx="3762369" cy="376236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614" name="Google Shape;614;p40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 rot="10800000">
              <a:off x="998900" y="250"/>
              <a:ext cx="73200" cy="3401700"/>
            </a:xfrm>
            <a:prstGeom prst="rect">
              <a:avLst/>
            </a:prstGeom>
            <a:gradFill>
              <a:gsLst>
                <a:gs pos="0">
                  <a:srgbClr val="D59DFF"/>
                </a:gs>
                <a:gs pos="100000">
                  <a:srgbClr val="28AFEA"/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i="0">
                <a:latin typeface="Helvetica" pitchFamily="2" charset="0"/>
              </a:endParaRPr>
            </a:p>
          </p:txBody>
        </p:sp>
      </p:grpSp>
      <p:sp>
        <p:nvSpPr>
          <p:cNvPr id="11" name="Google Shape;196;p21">
            <a:extLst>
              <a:ext uri="{FF2B5EF4-FFF2-40B4-BE49-F238E27FC236}">
                <a16:creationId xmlns:a16="http://schemas.microsoft.com/office/drawing/2014/main" id="{6FAE51A8-BD8E-3E44-B52C-3D0D2FEA3A8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25300" y="1720400"/>
            <a:ext cx="4023300" cy="22026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400"/>
              <a:buNone/>
              <a:defRPr b="1" i="0">
                <a:latin typeface="Helvetica" pitchFamily="2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" name="Google Shape;197;p21">
            <a:extLst>
              <a:ext uri="{FF2B5EF4-FFF2-40B4-BE49-F238E27FC236}">
                <a16:creationId xmlns:a16="http://schemas.microsoft.com/office/drawing/2014/main" id="{7547AEDB-C4CC-B049-8D2A-220A88AC2505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1225296" y="943202"/>
            <a:ext cx="4023300" cy="501502"/>
          </a:xfrm>
          <a:prstGeom prst="rect">
            <a:avLst/>
          </a:prstGeom>
        </p:spPr>
        <p:txBody>
          <a:bodyPr spcFirstLastPara="1" wrap="square" lIns="45700" tIns="18275" rIns="45700" bIns="18275" anchor="b" anchorCtr="0">
            <a:noAutofit/>
          </a:bodyPr>
          <a:lstStyle>
            <a:lvl1pPr>
              <a:defRPr lang="en-US" sz="1600">
                <a:solidFill>
                  <a:schemeClr val="lt1"/>
                </a:solidFill>
              </a:defRPr>
            </a:lvl1pPr>
          </a:lstStyle>
          <a:p>
            <a:pPr marL="0" lvl="0">
              <a:buClr>
                <a:schemeClr val="lt1"/>
              </a:buClr>
              <a:buSzPts val="800"/>
              <a:buNone/>
            </a:pPr>
            <a:endParaRPr lang="en-US"/>
          </a:p>
        </p:txBody>
      </p:sp>
      <p:sp>
        <p:nvSpPr>
          <p:cNvPr id="4" name="Google Shape;56;p14">
            <a:extLst>
              <a:ext uri="{FF2B5EF4-FFF2-40B4-BE49-F238E27FC236}">
                <a16:creationId xmlns:a16="http://schemas.microsoft.com/office/drawing/2014/main" id="{1D54916A-22ED-34D5-44AB-42437CB6E35E}"/>
              </a:ext>
            </a:extLst>
          </p:cNvPr>
          <p:cNvSpPr/>
          <p:nvPr userDrawn="1"/>
        </p:nvSpPr>
        <p:spPr>
          <a:xfrm>
            <a:off x="569084" y="4900823"/>
            <a:ext cx="5054476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 dirty="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5 THINGS YOU CAN DO WITH GITHUB COPILOT</a:t>
            </a:r>
            <a:endParaRPr lang="en-US" sz="500" b="0" i="0" u="none" strike="noStrike" kern="1200" cap="none" spc="600" dirty="0">
              <a:solidFill>
                <a:srgbClr val="627597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45459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eople-LinkedIn (4)" preserve="1" userDrawn="1">
  <p:cSld name="1_People-LinkedIn (4)"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oogle Shape;67;p15">
            <a:extLst>
              <a:ext uri="{FF2B5EF4-FFF2-40B4-BE49-F238E27FC236}">
                <a16:creationId xmlns:a16="http://schemas.microsoft.com/office/drawing/2014/main" id="{3C7B52D9-D729-FC45-6AFF-DBD4CD2FDF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9BE78F2B-7ADC-0958-7AA6-24B6884E1F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3265048" y="0"/>
            <a:ext cx="12407421" cy="5143501"/>
            <a:chOff x="-3265048" y="0"/>
            <a:chExt cx="12407421" cy="5143501"/>
          </a:xfrm>
        </p:grpSpPr>
        <p:pic>
          <p:nvPicPr>
            <p:cNvPr id="228" name="Google Shape;228;p25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 rotWithShape="1">
            <a:blip r:embed="rId2">
              <a:alphaModFix amt="50000"/>
            </a:blip>
            <a:srcRect/>
            <a:stretch/>
          </p:blipFill>
          <p:spPr>
            <a:xfrm flipH="1">
              <a:off x="3257360" y="0"/>
              <a:ext cx="5885013" cy="514350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29" name="Google Shape;229;p25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 rotWithShape="1">
            <a:blip r:embed="rId3">
              <a:alphaModFix amt="30000"/>
            </a:blip>
            <a:srcRect/>
            <a:stretch/>
          </p:blipFill>
          <p:spPr>
            <a:xfrm>
              <a:off x="-3265048" y="1082633"/>
              <a:ext cx="3762369" cy="376236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30" name="Google Shape;230;p25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569512" y="2393959"/>
              <a:ext cx="1889100" cy="2172300"/>
            </a:xfrm>
            <a:prstGeom prst="rect">
              <a:avLst/>
            </a:prstGeom>
            <a:gradFill>
              <a:gsLst>
                <a:gs pos="0">
                  <a:srgbClr val="8661C5"/>
                </a:gs>
                <a:gs pos="100000">
                  <a:srgbClr val="9477E2">
                    <a:alpha val="50196"/>
                  </a:srgbClr>
                </a:gs>
              </a:gsLst>
              <a:lin ang="2700006" scaled="0"/>
            </a:gra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1" name="Google Shape;231;p25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615351" y="2393958"/>
              <a:ext cx="1889100" cy="2172300"/>
            </a:xfrm>
            <a:prstGeom prst="rect">
              <a:avLst/>
            </a:prstGeom>
            <a:gradFill>
              <a:gsLst>
                <a:gs pos="0">
                  <a:srgbClr val="D59DFF"/>
                </a:gs>
                <a:gs pos="100000">
                  <a:srgbClr val="9477E2">
                    <a:alpha val="50196"/>
                  </a:srgbClr>
                </a:gs>
              </a:gsLst>
              <a:lin ang="2700006" scaled="0"/>
            </a:gra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2" name="Google Shape;232;p25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2649705" y="2393958"/>
              <a:ext cx="1889100" cy="2172300"/>
            </a:xfrm>
            <a:prstGeom prst="rect">
              <a:avLst/>
            </a:prstGeom>
            <a:gradFill>
              <a:gsLst>
                <a:gs pos="0">
                  <a:srgbClr val="1F9CF0"/>
                </a:gs>
                <a:gs pos="100000">
                  <a:srgbClr val="9477E2">
                    <a:alpha val="49803"/>
                  </a:srgbClr>
                </a:gs>
              </a:gsLst>
              <a:lin ang="2700006" scaled="0"/>
            </a:gra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3" name="Google Shape;233;p25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85473" y="2393958"/>
              <a:ext cx="1889100" cy="2172300"/>
            </a:xfrm>
            <a:prstGeom prst="rect">
              <a:avLst/>
            </a:prstGeom>
            <a:gradFill>
              <a:gsLst>
                <a:gs pos="0">
                  <a:srgbClr val="28AFEA"/>
                </a:gs>
                <a:gs pos="100000">
                  <a:srgbClr val="9477E2">
                    <a:alpha val="49803"/>
                  </a:srgbClr>
                </a:gs>
              </a:gsLst>
              <a:lin ang="2700006" scaled="0"/>
            </a:gra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4" name="Google Shape;234;p25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2649740" y="4182769"/>
              <a:ext cx="1889100" cy="385800"/>
            </a:xfrm>
            <a:prstGeom prst="roundRect">
              <a:avLst>
                <a:gd name="adj" fmla="val 371"/>
              </a:avLst>
            </a:prstGeom>
            <a:solidFill>
              <a:srgbClr val="161828">
                <a:alpha val="80000"/>
              </a:srgbClr>
            </a:solidFill>
            <a:ln>
              <a:noFill/>
            </a:ln>
            <a:effectLst>
              <a:outerShdw blurRad="1270000" dist="2540000" dir="7800000" sx="90000" sy="90000" algn="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6" name="Google Shape;236;p25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615463" y="4184951"/>
              <a:ext cx="1889080" cy="381697"/>
            </a:xfrm>
            <a:prstGeom prst="roundRect">
              <a:avLst>
                <a:gd name="adj" fmla="val 371"/>
              </a:avLst>
            </a:prstGeom>
            <a:solidFill>
              <a:srgbClr val="161828">
                <a:alpha val="80000"/>
              </a:srgbClr>
            </a:solidFill>
            <a:ln>
              <a:noFill/>
            </a:ln>
            <a:effectLst>
              <a:outerShdw blurRad="1270000" dist="2540000" dir="7800000" sx="90000" sy="90000" algn="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8" name="Google Shape;238;p25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569547" y="4186978"/>
              <a:ext cx="1889080" cy="379728"/>
            </a:xfrm>
            <a:prstGeom prst="roundRect">
              <a:avLst>
                <a:gd name="adj" fmla="val 371"/>
              </a:avLst>
            </a:prstGeom>
            <a:solidFill>
              <a:srgbClr val="161828">
                <a:alpha val="80000"/>
              </a:srgbClr>
            </a:solidFill>
            <a:ln>
              <a:noFill/>
            </a:ln>
            <a:effectLst>
              <a:outerShdw blurRad="1270000" dist="2540000" dir="7800000" sx="90000" sy="90000" algn="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6" name="Google Shape;246;p25"/>
            <p:cNvSpPr/>
            <p:nvPr/>
          </p:nvSpPr>
          <p:spPr>
            <a:xfrm>
              <a:off x="684095" y="4180741"/>
              <a:ext cx="1892461" cy="385916"/>
            </a:xfrm>
            <a:prstGeom prst="roundRect">
              <a:avLst>
                <a:gd name="adj" fmla="val 371"/>
              </a:avLst>
            </a:prstGeom>
            <a:solidFill>
              <a:srgbClr val="161828">
                <a:alpha val="80000"/>
              </a:srgbClr>
            </a:solidFill>
            <a:ln>
              <a:noFill/>
            </a:ln>
            <a:effectLst>
              <a:outerShdw blurRad="1270000" dist="2540000" dir="7800000" sx="90000" sy="90000" algn="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261;p26">
              <a:extLst>
                <a:ext uri="{FF2B5EF4-FFF2-40B4-BE49-F238E27FC236}">
                  <a16:creationId xmlns:a16="http://schemas.microsoft.com/office/drawing/2014/main" id="{F4ACC8A5-BEBF-CE52-5438-EF2C0F9B123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 rot="10800000">
              <a:off x="998900" y="0"/>
              <a:ext cx="73200" cy="1280160"/>
            </a:xfrm>
            <a:prstGeom prst="rect">
              <a:avLst/>
            </a:prstGeom>
            <a:gradFill>
              <a:gsLst>
                <a:gs pos="0">
                  <a:srgbClr val="D59DFF"/>
                </a:gs>
                <a:gs pos="100000">
                  <a:srgbClr val="28AFEA"/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i="0">
                <a:latin typeface="Helvetica" pitchFamily="2" charset="0"/>
              </a:endParaRPr>
            </a:p>
          </p:txBody>
        </p:sp>
      </p:grpSp>
      <p:sp>
        <p:nvSpPr>
          <p:cNvPr id="33" name="Google Shape;262;p26">
            <a:extLst>
              <a:ext uri="{FF2B5EF4-FFF2-40B4-BE49-F238E27FC236}">
                <a16:creationId xmlns:a16="http://schemas.microsoft.com/office/drawing/2014/main" id="{4CD789D4-8522-B2D3-95F4-34B3B0D7B26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25300" y="68974"/>
            <a:ext cx="4023300" cy="1280161"/>
          </a:xfrm>
          <a:prstGeom prst="rect">
            <a:avLst/>
          </a:prstGeom>
        </p:spPr>
        <p:txBody>
          <a:bodyPr spcFirstLastPara="1" wrap="square" lIns="45700" tIns="18275" rIns="45700" bIns="1827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400"/>
              <a:buNone/>
              <a:defRPr b="1" i="0">
                <a:latin typeface="Helvetica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1" name="Google Shape;241;p25"/>
          <p:cNvSpPr>
            <a:spLocks noGrp="1"/>
          </p:cNvSpPr>
          <p:nvPr>
            <p:ph type="pic" idx="2"/>
          </p:nvPr>
        </p:nvSpPr>
        <p:spPr>
          <a:xfrm>
            <a:off x="795528" y="1569143"/>
            <a:ext cx="1655100" cy="16551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240" name="Google Shape;240;p25"/>
          <p:cNvSpPr txBox="1">
            <a:spLocks noGrp="1"/>
          </p:cNvSpPr>
          <p:nvPr>
            <p:ph type="body" idx="1"/>
          </p:nvPr>
        </p:nvSpPr>
        <p:spPr>
          <a:xfrm>
            <a:off x="685800" y="3397943"/>
            <a:ext cx="1892700" cy="567000"/>
          </a:xfrm>
          <a:prstGeom prst="rect">
            <a:avLst/>
          </a:prstGeom>
        </p:spPr>
        <p:txBody>
          <a:bodyPr spcFirstLastPara="1" wrap="square" lIns="82275" tIns="18275" rIns="45700" bIns="18275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None/>
              <a:defRPr sz="1100" b="0" i="0">
                <a:solidFill>
                  <a:schemeClr val="lt1"/>
                </a:solidFill>
                <a:latin typeface="Helvetica" pitchFamily="2" charset="0"/>
              </a:defRPr>
            </a:lvl1pPr>
            <a:lvl2pPr marL="914400" lvl="1" indent="-298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○"/>
              <a:defRPr sz="1100">
                <a:solidFill>
                  <a:schemeClr val="lt1"/>
                </a:solidFill>
              </a:defRPr>
            </a:lvl2pPr>
            <a:lvl3pPr marL="1371600" lvl="2" indent="-298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■"/>
              <a:defRPr sz="1100">
                <a:solidFill>
                  <a:schemeClr val="lt1"/>
                </a:solidFill>
              </a:defRPr>
            </a:lvl3pPr>
            <a:lvl4pPr marL="1828800" lvl="3" indent="-298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●"/>
              <a:defRPr sz="1100">
                <a:solidFill>
                  <a:schemeClr val="lt1"/>
                </a:solidFill>
              </a:defRPr>
            </a:lvl4pPr>
            <a:lvl5pPr marL="2286000" lvl="4" indent="-298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○"/>
              <a:defRPr sz="1100">
                <a:solidFill>
                  <a:schemeClr val="lt1"/>
                </a:solidFill>
              </a:defRPr>
            </a:lvl5pPr>
            <a:lvl6pPr marL="2743200" lvl="5" indent="-298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■"/>
              <a:defRPr sz="1100">
                <a:solidFill>
                  <a:schemeClr val="lt1"/>
                </a:solidFill>
              </a:defRPr>
            </a:lvl6pPr>
            <a:lvl7pPr marL="3200400" lvl="6" indent="-298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●"/>
              <a:defRPr sz="1100">
                <a:solidFill>
                  <a:schemeClr val="lt1"/>
                </a:solidFill>
              </a:defRPr>
            </a:lvl7pPr>
            <a:lvl8pPr marL="3657600" lvl="7" indent="-298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○"/>
              <a:defRPr sz="1100">
                <a:solidFill>
                  <a:schemeClr val="lt1"/>
                </a:solidFill>
              </a:defRPr>
            </a:lvl8pPr>
            <a:lvl9pPr marL="4114800" lvl="8" indent="-298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■"/>
              <a:defRPr sz="11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pic>
        <p:nvPicPr>
          <p:cNvPr id="247" name="Google Shape;247;p25" descr="LinkedIn logo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99077" y="4300047"/>
            <a:ext cx="151601" cy="151375"/>
          </a:xfrm>
          <a:prstGeom prst="rect">
            <a:avLst/>
          </a:prstGeom>
          <a:noFill/>
          <a:ln>
            <a:noFill/>
          </a:ln>
        </p:spPr>
      </p:pic>
      <p:sp>
        <p:nvSpPr>
          <p:cNvPr id="248" name="Google Shape;248;p25"/>
          <p:cNvSpPr txBox="1">
            <a:spLocks noGrp="1"/>
          </p:cNvSpPr>
          <p:nvPr>
            <p:ph type="body" idx="6"/>
          </p:nvPr>
        </p:nvSpPr>
        <p:spPr>
          <a:xfrm>
            <a:off x="1033272" y="4284911"/>
            <a:ext cx="1435500" cy="1830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 b="0" i="0">
                <a:solidFill>
                  <a:schemeClr val="lt1"/>
                </a:solidFill>
                <a:latin typeface="Helvetica" pitchFamily="2" charset="0"/>
              </a:defRPr>
            </a:lvl1pPr>
            <a:lvl2pPr marL="914400" lvl="1" indent="-2794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Char char="○"/>
              <a:defRPr sz="800">
                <a:solidFill>
                  <a:schemeClr val="lt1"/>
                </a:solidFill>
              </a:defRPr>
            </a:lvl2pPr>
            <a:lvl3pPr marL="1371600" lvl="2" indent="-2794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Char char="■"/>
              <a:defRPr sz="800">
                <a:solidFill>
                  <a:schemeClr val="lt1"/>
                </a:solidFill>
              </a:defRPr>
            </a:lvl3pPr>
            <a:lvl4pPr marL="1828800" lvl="3" indent="-2794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Char char="●"/>
              <a:defRPr sz="800">
                <a:solidFill>
                  <a:schemeClr val="lt1"/>
                </a:solidFill>
              </a:defRPr>
            </a:lvl4pPr>
            <a:lvl5pPr marL="2286000" lvl="4" indent="-2794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Char char="○"/>
              <a:defRPr sz="800">
                <a:solidFill>
                  <a:schemeClr val="lt1"/>
                </a:solidFill>
              </a:defRPr>
            </a:lvl5pPr>
            <a:lvl6pPr marL="2743200" lvl="5" indent="-2794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Char char="■"/>
              <a:defRPr sz="800">
                <a:solidFill>
                  <a:schemeClr val="lt1"/>
                </a:solidFill>
              </a:defRPr>
            </a:lvl6pPr>
            <a:lvl7pPr marL="3200400" lvl="6" indent="-2794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Char char="●"/>
              <a:defRPr sz="800">
                <a:solidFill>
                  <a:schemeClr val="lt1"/>
                </a:solidFill>
              </a:defRPr>
            </a:lvl7pPr>
            <a:lvl8pPr marL="3657600" lvl="7" indent="-2794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Char char="○"/>
              <a:defRPr sz="800">
                <a:solidFill>
                  <a:schemeClr val="lt1"/>
                </a:solidFill>
              </a:defRPr>
            </a:lvl8pPr>
            <a:lvl9pPr marL="4114800" lvl="8" indent="-2794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Char char="■"/>
              <a:defRPr sz="8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9" name="Google Shape;241;p25">
            <a:extLst>
              <a:ext uri="{FF2B5EF4-FFF2-40B4-BE49-F238E27FC236}">
                <a16:creationId xmlns:a16="http://schemas.microsoft.com/office/drawing/2014/main" id="{142531D6-B640-1B4A-ACA4-7F77C49FF2CB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2766705" y="1569143"/>
            <a:ext cx="1655100" cy="16551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252" name="Google Shape;252;p25"/>
          <p:cNvSpPr txBox="1">
            <a:spLocks noGrp="1"/>
          </p:cNvSpPr>
          <p:nvPr>
            <p:ph type="body" idx="13"/>
          </p:nvPr>
        </p:nvSpPr>
        <p:spPr>
          <a:xfrm>
            <a:off x="2651760" y="3397943"/>
            <a:ext cx="1892700" cy="567000"/>
          </a:xfrm>
          <a:prstGeom prst="rect">
            <a:avLst/>
          </a:prstGeom>
        </p:spPr>
        <p:txBody>
          <a:bodyPr spcFirstLastPara="1" wrap="square" lIns="82275" tIns="18275" rIns="45700" bIns="18275" anchor="t" anchorCtr="0">
            <a:noAutofit/>
          </a:bodyPr>
          <a:lstStyle>
            <a:lvl1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None/>
              <a:defRPr sz="1100" b="0" i="0">
                <a:solidFill>
                  <a:schemeClr val="lt1"/>
                </a:solidFill>
                <a:latin typeface="Helvetica" pitchFamily="2" charset="0"/>
              </a:defRPr>
            </a:lvl1pPr>
            <a:lvl2pPr marL="914400" lvl="1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○"/>
              <a:defRPr sz="1100">
                <a:solidFill>
                  <a:schemeClr val="lt1"/>
                </a:solidFill>
              </a:defRPr>
            </a:lvl2pPr>
            <a:lvl3pPr marL="1371600" lvl="2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■"/>
              <a:defRPr sz="1100">
                <a:solidFill>
                  <a:schemeClr val="lt1"/>
                </a:solidFill>
              </a:defRPr>
            </a:lvl3pPr>
            <a:lvl4pPr marL="1828800" lvl="3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●"/>
              <a:defRPr sz="1100">
                <a:solidFill>
                  <a:schemeClr val="lt1"/>
                </a:solidFill>
              </a:defRPr>
            </a:lvl4pPr>
            <a:lvl5pPr marL="2286000" lvl="4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○"/>
              <a:defRPr sz="1100">
                <a:solidFill>
                  <a:schemeClr val="lt1"/>
                </a:solidFill>
              </a:defRPr>
            </a:lvl5pPr>
            <a:lvl6pPr marL="2743200" lvl="5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■"/>
              <a:defRPr sz="1100">
                <a:solidFill>
                  <a:schemeClr val="lt1"/>
                </a:solidFill>
              </a:defRPr>
            </a:lvl6pPr>
            <a:lvl7pPr marL="3200400" lvl="6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●"/>
              <a:defRPr sz="1100">
                <a:solidFill>
                  <a:schemeClr val="lt1"/>
                </a:solidFill>
              </a:defRPr>
            </a:lvl7pPr>
            <a:lvl8pPr marL="3657600" lvl="7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○"/>
              <a:defRPr sz="1100">
                <a:solidFill>
                  <a:schemeClr val="lt1"/>
                </a:solidFill>
              </a:defRPr>
            </a:lvl8pPr>
            <a:lvl9pPr marL="4114800" lvl="8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■"/>
              <a:defRPr sz="11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pic>
        <p:nvPicPr>
          <p:cNvPr id="235" name="Google Shape;235;p25" descr="LinkedIn logo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753845" y="4302074"/>
            <a:ext cx="151601" cy="151375"/>
          </a:xfrm>
          <a:prstGeom prst="rect">
            <a:avLst/>
          </a:prstGeom>
          <a:noFill/>
          <a:ln>
            <a:noFill/>
          </a:ln>
        </p:spPr>
      </p:pic>
      <p:sp>
        <p:nvSpPr>
          <p:cNvPr id="249" name="Google Shape;249;p25"/>
          <p:cNvSpPr txBox="1">
            <a:spLocks noGrp="1"/>
          </p:cNvSpPr>
          <p:nvPr>
            <p:ph type="body" idx="7"/>
          </p:nvPr>
        </p:nvSpPr>
        <p:spPr>
          <a:xfrm>
            <a:off x="2990088" y="4284911"/>
            <a:ext cx="1435500" cy="1830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 b="0" i="0">
                <a:solidFill>
                  <a:schemeClr val="lt1"/>
                </a:solidFill>
                <a:latin typeface="Helvetica" pitchFamily="2" charset="0"/>
              </a:defRPr>
            </a:lvl1pPr>
            <a:lvl2pPr marL="914400" lvl="1" indent="-2794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Char char="○"/>
              <a:defRPr sz="800">
                <a:solidFill>
                  <a:schemeClr val="lt1"/>
                </a:solidFill>
              </a:defRPr>
            </a:lvl2pPr>
            <a:lvl3pPr marL="1371600" lvl="2" indent="-2794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Char char="■"/>
              <a:defRPr sz="800">
                <a:solidFill>
                  <a:schemeClr val="lt1"/>
                </a:solidFill>
              </a:defRPr>
            </a:lvl3pPr>
            <a:lvl4pPr marL="1828800" lvl="3" indent="-2794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Char char="●"/>
              <a:defRPr sz="800">
                <a:solidFill>
                  <a:schemeClr val="lt1"/>
                </a:solidFill>
              </a:defRPr>
            </a:lvl4pPr>
            <a:lvl5pPr marL="2286000" lvl="4" indent="-2794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Char char="○"/>
              <a:defRPr sz="800">
                <a:solidFill>
                  <a:schemeClr val="lt1"/>
                </a:solidFill>
              </a:defRPr>
            </a:lvl5pPr>
            <a:lvl6pPr marL="2743200" lvl="5" indent="-2794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Char char="■"/>
              <a:defRPr sz="800">
                <a:solidFill>
                  <a:schemeClr val="lt1"/>
                </a:solidFill>
              </a:defRPr>
            </a:lvl6pPr>
            <a:lvl7pPr marL="3200400" lvl="6" indent="-2794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Char char="●"/>
              <a:defRPr sz="800">
                <a:solidFill>
                  <a:schemeClr val="lt1"/>
                </a:solidFill>
              </a:defRPr>
            </a:lvl7pPr>
            <a:lvl8pPr marL="3657600" lvl="7" indent="-2794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Char char="○"/>
              <a:defRPr sz="800">
                <a:solidFill>
                  <a:schemeClr val="lt1"/>
                </a:solidFill>
              </a:defRPr>
            </a:lvl8pPr>
            <a:lvl9pPr marL="4114800" lvl="8" indent="-2794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Char char="■"/>
              <a:defRPr sz="8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30" name="Google Shape;241;p25">
            <a:extLst>
              <a:ext uri="{FF2B5EF4-FFF2-40B4-BE49-F238E27FC236}">
                <a16:creationId xmlns:a16="http://schemas.microsoft.com/office/drawing/2014/main" id="{2C173A1D-BB63-5640-BB62-7AD820030C48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4732351" y="1569143"/>
            <a:ext cx="1655100" cy="16551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253" name="Google Shape;253;p25"/>
          <p:cNvSpPr txBox="1">
            <a:spLocks noGrp="1"/>
          </p:cNvSpPr>
          <p:nvPr>
            <p:ph type="body" idx="14"/>
          </p:nvPr>
        </p:nvSpPr>
        <p:spPr>
          <a:xfrm>
            <a:off x="4617720" y="3397943"/>
            <a:ext cx="1892700" cy="567000"/>
          </a:xfrm>
          <a:prstGeom prst="rect">
            <a:avLst/>
          </a:prstGeom>
        </p:spPr>
        <p:txBody>
          <a:bodyPr spcFirstLastPara="1" wrap="square" lIns="82275" tIns="18275" rIns="45700" bIns="18275" anchor="t" anchorCtr="0">
            <a:noAutofit/>
          </a:bodyPr>
          <a:lstStyle>
            <a:lvl1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None/>
              <a:defRPr sz="1100" b="0" i="0">
                <a:solidFill>
                  <a:schemeClr val="lt1"/>
                </a:solidFill>
                <a:latin typeface="Helvetica" pitchFamily="2" charset="0"/>
              </a:defRPr>
            </a:lvl1pPr>
            <a:lvl2pPr marL="914400" lvl="1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○"/>
              <a:defRPr sz="1100">
                <a:solidFill>
                  <a:schemeClr val="lt1"/>
                </a:solidFill>
              </a:defRPr>
            </a:lvl2pPr>
            <a:lvl3pPr marL="1371600" lvl="2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■"/>
              <a:defRPr sz="1100">
                <a:solidFill>
                  <a:schemeClr val="lt1"/>
                </a:solidFill>
              </a:defRPr>
            </a:lvl3pPr>
            <a:lvl4pPr marL="1828800" lvl="3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●"/>
              <a:defRPr sz="1100">
                <a:solidFill>
                  <a:schemeClr val="lt1"/>
                </a:solidFill>
              </a:defRPr>
            </a:lvl4pPr>
            <a:lvl5pPr marL="2286000" lvl="4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○"/>
              <a:defRPr sz="1100">
                <a:solidFill>
                  <a:schemeClr val="lt1"/>
                </a:solidFill>
              </a:defRPr>
            </a:lvl5pPr>
            <a:lvl6pPr marL="2743200" lvl="5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■"/>
              <a:defRPr sz="1100">
                <a:solidFill>
                  <a:schemeClr val="lt1"/>
                </a:solidFill>
              </a:defRPr>
            </a:lvl6pPr>
            <a:lvl7pPr marL="3200400" lvl="6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●"/>
              <a:defRPr sz="1100">
                <a:solidFill>
                  <a:schemeClr val="lt1"/>
                </a:solidFill>
              </a:defRPr>
            </a:lvl7pPr>
            <a:lvl8pPr marL="3657600" lvl="7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○"/>
              <a:defRPr sz="1100">
                <a:solidFill>
                  <a:schemeClr val="lt1"/>
                </a:solidFill>
              </a:defRPr>
            </a:lvl8pPr>
            <a:lvl9pPr marL="4114800" lvl="8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■"/>
              <a:defRPr sz="11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pic>
        <p:nvPicPr>
          <p:cNvPr id="237" name="Google Shape;237;p25" descr="LinkedIn logo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718707" y="4304256"/>
            <a:ext cx="151601" cy="151375"/>
          </a:xfrm>
          <a:prstGeom prst="rect">
            <a:avLst/>
          </a:prstGeom>
          <a:noFill/>
          <a:ln>
            <a:noFill/>
          </a:ln>
        </p:spPr>
      </p:pic>
      <p:sp>
        <p:nvSpPr>
          <p:cNvPr id="250" name="Google Shape;250;p25"/>
          <p:cNvSpPr txBox="1">
            <a:spLocks noGrp="1"/>
          </p:cNvSpPr>
          <p:nvPr>
            <p:ph type="body" idx="8"/>
          </p:nvPr>
        </p:nvSpPr>
        <p:spPr>
          <a:xfrm>
            <a:off x="4956048" y="4284911"/>
            <a:ext cx="1435500" cy="1830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 b="0" i="0">
                <a:solidFill>
                  <a:schemeClr val="lt1"/>
                </a:solidFill>
                <a:latin typeface="Helvetica" pitchFamily="2" charset="0"/>
              </a:defRPr>
            </a:lvl1pPr>
            <a:lvl2pPr marL="914400" lvl="1" indent="-2794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Char char="○"/>
              <a:defRPr sz="800">
                <a:solidFill>
                  <a:schemeClr val="lt1"/>
                </a:solidFill>
              </a:defRPr>
            </a:lvl2pPr>
            <a:lvl3pPr marL="1371600" lvl="2" indent="-2794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Char char="■"/>
              <a:defRPr sz="800">
                <a:solidFill>
                  <a:schemeClr val="lt1"/>
                </a:solidFill>
              </a:defRPr>
            </a:lvl3pPr>
            <a:lvl4pPr marL="1828800" lvl="3" indent="-2794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Char char="●"/>
              <a:defRPr sz="800">
                <a:solidFill>
                  <a:schemeClr val="lt1"/>
                </a:solidFill>
              </a:defRPr>
            </a:lvl4pPr>
            <a:lvl5pPr marL="2286000" lvl="4" indent="-2794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Char char="○"/>
              <a:defRPr sz="800">
                <a:solidFill>
                  <a:schemeClr val="lt1"/>
                </a:solidFill>
              </a:defRPr>
            </a:lvl5pPr>
            <a:lvl6pPr marL="2743200" lvl="5" indent="-2794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Char char="■"/>
              <a:defRPr sz="800">
                <a:solidFill>
                  <a:schemeClr val="lt1"/>
                </a:solidFill>
              </a:defRPr>
            </a:lvl6pPr>
            <a:lvl7pPr marL="3200400" lvl="6" indent="-2794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Char char="●"/>
              <a:defRPr sz="800">
                <a:solidFill>
                  <a:schemeClr val="lt1"/>
                </a:solidFill>
              </a:defRPr>
            </a:lvl7pPr>
            <a:lvl8pPr marL="3657600" lvl="7" indent="-2794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Char char="○"/>
              <a:defRPr sz="800">
                <a:solidFill>
                  <a:schemeClr val="lt1"/>
                </a:solidFill>
              </a:defRPr>
            </a:lvl8pPr>
            <a:lvl9pPr marL="4114800" lvl="8" indent="-2794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Char char="■"/>
              <a:defRPr sz="8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31" name="Google Shape;241;p25">
            <a:extLst>
              <a:ext uri="{FF2B5EF4-FFF2-40B4-BE49-F238E27FC236}">
                <a16:creationId xmlns:a16="http://schemas.microsoft.com/office/drawing/2014/main" id="{A8662F1C-F639-0647-953E-6AF9B3C4E108}"/>
              </a:ext>
            </a:extLst>
          </p:cNvPr>
          <p:cNvSpPr>
            <a:spLocks noGrp="1"/>
          </p:cNvSpPr>
          <p:nvPr>
            <p:ph type="pic" idx="18"/>
          </p:nvPr>
        </p:nvSpPr>
        <p:spPr>
          <a:xfrm>
            <a:off x="6686512" y="1569143"/>
            <a:ext cx="1655100" cy="16551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254" name="Google Shape;254;p25"/>
          <p:cNvSpPr txBox="1">
            <a:spLocks noGrp="1"/>
          </p:cNvSpPr>
          <p:nvPr>
            <p:ph type="body" idx="15"/>
          </p:nvPr>
        </p:nvSpPr>
        <p:spPr>
          <a:xfrm>
            <a:off x="6583680" y="3397943"/>
            <a:ext cx="1892700" cy="567000"/>
          </a:xfrm>
          <a:prstGeom prst="rect">
            <a:avLst/>
          </a:prstGeom>
        </p:spPr>
        <p:txBody>
          <a:bodyPr spcFirstLastPara="1" wrap="square" lIns="82275" tIns="18275" rIns="45700" bIns="18275" anchor="t" anchorCtr="0">
            <a:noAutofit/>
          </a:bodyPr>
          <a:lstStyle>
            <a:lvl1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None/>
              <a:defRPr sz="1100" b="0" i="0">
                <a:solidFill>
                  <a:schemeClr val="lt1"/>
                </a:solidFill>
                <a:latin typeface="Helvetica" pitchFamily="2" charset="0"/>
              </a:defRPr>
            </a:lvl1pPr>
            <a:lvl2pPr marL="914400" lvl="1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○"/>
              <a:defRPr sz="1100">
                <a:solidFill>
                  <a:schemeClr val="lt1"/>
                </a:solidFill>
              </a:defRPr>
            </a:lvl2pPr>
            <a:lvl3pPr marL="1371600" lvl="2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■"/>
              <a:defRPr sz="1100">
                <a:solidFill>
                  <a:schemeClr val="lt1"/>
                </a:solidFill>
              </a:defRPr>
            </a:lvl3pPr>
            <a:lvl4pPr marL="1828800" lvl="3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●"/>
              <a:defRPr sz="1100">
                <a:solidFill>
                  <a:schemeClr val="lt1"/>
                </a:solidFill>
              </a:defRPr>
            </a:lvl4pPr>
            <a:lvl5pPr marL="2286000" lvl="4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○"/>
              <a:defRPr sz="1100">
                <a:solidFill>
                  <a:schemeClr val="lt1"/>
                </a:solidFill>
              </a:defRPr>
            </a:lvl5pPr>
            <a:lvl6pPr marL="2743200" lvl="5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■"/>
              <a:defRPr sz="1100">
                <a:solidFill>
                  <a:schemeClr val="lt1"/>
                </a:solidFill>
              </a:defRPr>
            </a:lvl6pPr>
            <a:lvl7pPr marL="3200400" lvl="6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●"/>
              <a:defRPr sz="1100">
                <a:solidFill>
                  <a:schemeClr val="lt1"/>
                </a:solidFill>
              </a:defRPr>
            </a:lvl7pPr>
            <a:lvl8pPr marL="3657600" lvl="7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○"/>
              <a:defRPr sz="1100">
                <a:solidFill>
                  <a:schemeClr val="lt1"/>
                </a:solidFill>
              </a:defRPr>
            </a:lvl8pPr>
            <a:lvl9pPr marL="4114800" lvl="8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■"/>
              <a:defRPr sz="11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pic>
        <p:nvPicPr>
          <p:cNvPr id="239" name="Google Shape;239;p25" descr="LinkedIn logo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676510" y="4306284"/>
            <a:ext cx="151601" cy="151375"/>
          </a:xfrm>
          <a:prstGeom prst="rect">
            <a:avLst/>
          </a:prstGeom>
          <a:noFill/>
          <a:ln>
            <a:noFill/>
          </a:ln>
        </p:spPr>
      </p:pic>
      <p:sp>
        <p:nvSpPr>
          <p:cNvPr id="251" name="Google Shape;251;p25"/>
          <p:cNvSpPr txBox="1">
            <a:spLocks noGrp="1"/>
          </p:cNvSpPr>
          <p:nvPr>
            <p:ph type="body" idx="9"/>
          </p:nvPr>
        </p:nvSpPr>
        <p:spPr>
          <a:xfrm>
            <a:off x="6912864" y="4284911"/>
            <a:ext cx="1435500" cy="1830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 b="0" i="0">
                <a:solidFill>
                  <a:schemeClr val="lt1"/>
                </a:solidFill>
                <a:latin typeface="Helvetica" pitchFamily="2" charset="0"/>
              </a:defRPr>
            </a:lvl1pPr>
            <a:lvl2pPr marL="914400" lvl="1" indent="-2794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Char char="○"/>
              <a:defRPr sz="800">
                <a:solidFill>
                  <a:schemeClr val="lt1"/>
                </a:solidFill>
              </a:defRPr>
            </a:lvl2pPr>
            <a:lvl3pPr marL="1371600" lvl="2" indent="-2794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Char char="■"/>
              <a:defRPr sz="800">
                <a:solidFill>
                  <a:schemeClr val="lt1"/>
                </a:solidFill>
              </a:defRPr>
            </a:lvl3pPr>
            <a:lvl4pPr marL="1828800" lvl="3" indent="-2794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Char char="●"/>
              <a:defRPr sz="800">
                <a:solidFill>
                  <a:schemeClr val="lt1"/>
                </a:solidFill>
              </a:defRPr>
            </a:lvl4pPr>
            <a:lvl5pPr marL="2286000" lvl="4" indent="-2794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Char char="○"/>
              <a:defRPr sz="800">
                <a:solidFill>
                  <a:schemeClr val="lt1"/>
                </a:solidFill>
              </a:defRPr>
            </a:lvl5pPr>
            <a:lvl6pPr marL="2743200" lvl="5" indent="-2794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Char char="■"/>
              <a:defRPr sz="800">
                <a:solidFill>
                  <a:schemeClr val="lt1"/>
                </a:solidFill>
              </a:defRPr>
            </a:lvl6pPr>
            <a:lvl7pPr marL="3200400" lvl="6" indent="-2794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Char char="●"/>
              <a:defRPr sz="800">
                <a:solidFill>
                  <a:schemeClr val="lt1"/>
                </a:solidFill>
              </a:defRPr>
            </a:lvl7pPr>
            <a:lvl8pPr marL="3657600" lvl="7" indent="-2794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Char char="○"/>
              <a:defRPr sz="800">
                <a:solidFill>
                  <a:schemeClr val="lt1"/>
                </a:solidFill>
              </a:defRPr>
            </a:lvl8pPr>
            <a:lvl9pPr marL="4114800" lvl="8" indent="-2794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Char char="■"/>
              <a:defRPr sz="8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34" name="Google Shape;268;p27">
            <a:extLst>
              <a:ext uri="{FF2B5EF4-FFF2-40B4-BE49-F238E27FC236}">
                <a16:creationId xmlns:a16="http://schemas.microsoft.com/office/drawing/2014/main" id="{5F31D209-DE2E-1B4B-B119-6820B2255B10}"/>
              </a:ext>
            </a:extLst>
          </p:cNvPr>
          <p:cNvSpPr/>
          <p:nvPr/>
        </p:nvSpPr>
        <p:spPr>
          <a:xfrm>
            <a:off x="5450166" y="4900823"/>
            <a:ext cx="3595800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500" b="0" i="0">
                <a:solidFill>
                  <a:schemeClr val="lt1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‹#›</a:t>
            </a:fld>
            <a:endParaRPr sz="500" b="0" i="0">
              <a:solidFill>
                <a:schemeClr val="lt1"/>
              </a:solidFill>
              <a:latin typeface="Helvetica" pitchFamily="2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4" name="Google Shape;56;p14">
            <a:extLst>
              <a:ext uri="{FF2B5EF4-FFF2-40B4-BE49-F238E27FC236}">
                <a16:creationId xmlns:a16="http://schemas.microsoft.com/office/drawing/2014/main" id="{C4F47B07-ED3F-0867-7DC7-4324E0593C93}"/>
              </a:ext>
            </a:extLst>
          </p:cNvPr>
          <p:cNvSpPr/>
          <p:nvPr userDrawn="1"/>
        </p:nvSpPr>
        <p:spPr>
          <a:xfrm>
            <a:off x="569084" y="4900823"/>
            <a:ext cx="5054476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 dirty="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5 THINGS YOU CAN DO WITH GITHUB COPILOT</a:t>
            </a:r>
            <a:endParaRPr lang="en-US" sz="500" b="0" i="0" u="none" strike="noStrike" kern="1200" cap="none" spc="600" dirty="0">
              <a:solidFill>
                <a:srgbClr val="627597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15113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peaker Intro" preserve="1">
  <p:cSld name="Speaker Intro"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oogle Shape;67;p15">
            <a:extLst>
              <a:ext uri="{FF2B5EF4-FFF2-40B4-BE49-F238E27FC236}">
                <a16:creationId xmlns:a16="http://schemas.microsoft.com/office/drawing/2014/main" id="{A21E608C-C7FC-9AE9-BC53-A7D02BA634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018A83E5-E863-3A66-1EC3-C2183322C3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3163830" y="-2578"/>
            <a:ext cx="12296680" cy="5143501"/>
            <a:chOff x="-3163830" y="-2578"/>
            <a:chExt cx="12296680" cy="5143501"/>
          </a:xfrm>
        </p:grpSpPr>
        <p:pic>
          <p:nvPicPr>
            <p:cNvPr id="256" name="Google Shape;256;p26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 flipH="1">
              <a:off x="3247837" y="-2578"/>
              <a:ext cx="5885013" cy="5143501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57" name="Google Shape;257;p26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265478" y="2963817"/>
              <a:ext cx="3991200" cy="562800"/>
            </a:xfrm>
            <a:prstGeom prst="roundRect">
              <a:avLst>
                <a:gd name="adj" fmla="val 371"/>
              </a:avLst>
            </a:prstGeom>
            <a:solidFill>
              <a:srgbClr val="161828"/>
            </a:solidFill>
            <a:ln>
              <a:noFill/>
            </a:ln>
            <a:effectLst>
              <a:outerShdw blurRad="1270000" dist="2540000" dir="7800000" sx="90000" sy="90000" algn="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 u="none" strike="noStrike" cap="none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26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265478" y="1857388"/>
              <a:ext cx="3991200" cy="1106400"/>
            </a:xfrm>
            <a:prstGeom prst="roundRect">
              <a:avLst>
                <a:gd name="adj" fmla="val 371"/>
              </a:avLst>
            </a:prstGeom>
            <a:gradFill>
              <a:gsLst>
                <a:gs pos="0">
                  <a:srgbClr val="1F9CF0"/>
                </a:gs>
                <a:gs pos="2000">
                  <a:srgbClr val="1F9CF0"/>
                </a:gs>
                <a:gs pos="100000">
                  <a:srgbClr val="9477E2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lvl="0" indent="0" algn="ctr" defTabSz="914400" eaLnBrk="1" fontAlgn="auto" latinLnBrk="0" hangingPunct="1">
                <a:buClrTx/>
                <a:buSzTx/>
                <a:buFontTx/>
                <a:buNone/>
                <a:tabLst/>
              </a:pPr>
              <a:endParaRPr kumimoji="0" sz="800" kern="0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59" name="Google Shape;259;p26"/>
            <p:cNvPicPr preferRelativeResize="0"/>
            <p:nvPr/>
          </p:nvPicPr>
          <p:blipFill rotWithShape="1">
            <a:blip r:embed="rId3">
              <a:alphaModFix amt="30000"/>
            </a:blip>
            <a:srcRect/>
            <a:stretch/>
          </p:blipFill>
          <p:spPr>
            <a:xfrm>
              <a:off x="-3163830" y="1082633"/>
              <a:ext cx="3762369" cy="376236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61" name="Google Shape;261;p26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 rot="10800000">
              <a:off x="998900" y="125"/>
              <a:ext cx="73200" cy="1608600"/>
            </a:xfrm>
            <a:prstGeom prst="rect">
              <a:avLst/>
            </a:prstGeom>
            <a:gradFill>
              <a:gsLst>
                <a:gs pos="0">
                  <a:srgbClr val="D59DFF"/>
                </a:gs>
                <a:gs pos="100000">
                  <a:srgbClr val="28AFEA"/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i="0">
                <a:latin typeface="Helvetica" pitchFamily="2" charset="0"/>
              </a:endParaRPr>
            </a:p>
          </p:txBody>
        </p:sp>
      </p:grpSp>
      <p:sp>
        <p:nvSpPr>
          <p:cNvPr id="262" name="Google Shape;262;p26"/>
          <p:cNvSpPr txBox="1">
            <a:spLocks noGrp="1"/>
          </p:cNvSpPr>
          <p:nvPr>
            <p:ph type="title"/>
          </p:nvPr>
        </p:nvSpPr>
        <p:spPr>
          <a:xfrm>
            <a:off x="1225300" y="890350"/>
            <a:ext cx="4023300" cy="841200"/>
          </a:xfrm>
          <a:prstGeom prst="rect">
            <a:avLst/>
          </a:prstGeom>
        </p:spPr>
        <p:txBody>
          <a:bodyPr spcFirstLastPara="1" wrap="square" lIns="45700" tIns="18275" rIns="45700" bIns="1827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400"/>
              <a:buNone/>
              <a:defRPr b="1" i="0">
                <a:latin typeface="Helvetica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3" name="Google Shape;263;p26"/>
          <p:cNvSpPr txBox="1">
            <a:spLocks noGrp="1"/>
          </p:cNvSpPr>
          <p:nvPr>
            <p:ph type="body" idx="1"/>
          </p:nvPr>
        </p:nvSpPr>
        <p:spPr>
          <a:xfrm>
            <a:off x="1435608" y="2011675"/>
            <a:ext cx="3648600" cy="8229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None/>
              <a:defRPr sz="1700" b="0" i="0">
                <a:solidFill>
                  <a:schemeClr val="lt1"/>
                </a:solidFill>
                <a:latin typeface="Helvetica" pitchFamily="2" charset="0"/>
              </a:defRPr>
            </a:lvl1pPr>
            <a:lvl2pPr marL="914400" lvl="1" indent="-3365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Char char="○"/>
              <a:defRPr sz="1700">
                <a:solidFill>
                  <a:schemeClr val="lt1"/>
                </a:solidFill>
              </a:defRPr>
            </a:lvl2pPr>
            <a:lvl3pPr marL="1371600" lvl="2" indent="-3365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Char char="■"/>
              <a:defRPr sz="1700">
                <a:solidFill>
                  <a:schemeClr val="lt1"/>
                </a:solidFill>
              </a:defRPr>
            </a:lvl3pPr>
            <a:lvl4pPr marL="1828800" lvl="3" indent="-3365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Char char="●"/>
              <a:defRPr sz="1700">
                <a:solidFill>
                  <a:schemeClr val="lt1"/>
                </a:solidFill>
              </a:defRPr>
            </a:lvl4pPr>
            <a:lvl5pPr marL="2286000" lvl="4" indent="-3365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Char char="○"/>
              <a:defRPr sz="1700">
                <a:solidFill>
                  <a:schemeClr val="lt1"/>
                </a:solidFill>
              </a:defRPr>
            </a:lvl5pPr>
            <a:lvl6pPr marL="2743200" lvl="5" indent="-3365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Char char="■"/>
              <a:defRPr sz="1700">
                <a:solidFill>
                  <a:schemeClr val="lt1"/>
                </a:solidFill>
              </a:defRPr>
            </a:lvl6pPr>
            <a:lvl7pPr marL="3200400" lvl="6" indent="-3365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Char char="●"/>
              <a:defRPr sz="1700">
                <a:solidFill>
                  <a:schemeClr val="lt1"/>
                </a:solidFill>
              </a:defRPr>
            </a:lvl7pPr>
            <a:lvl8pPr marL="3657600" lvl="7" indent="-3365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Char char="○"/>
              <a:defRPr sz="1700">
                <a:solidFill>
                  <a:schemeClr val="lt1"/>
                </a:solidFill>
              </a:defRPr>
            </a:lvl8pPr>
            <a:lvl9pPr marL="4114800" lvl="8" indent="-3365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Char char="■"/>
              <a:defRPr sz="17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pic>
        <p:nvPicPr>
          <p:cNvPr id="260" name="Google Shape;260;p26" descr="LinkedIn logo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520046" y="3149800"/>
            <a:ext cx="190807" cy="190807"/>
          </a:xfrm>
          <a:prstGeom prst="rect">
            <a:avLst/>
          </a:prstGeom>
          <a:noFill/>
          <a:ln>
            <a:noFill/>
          </a:ln>
        </p:spPr>
      </p:pic>
      <p:sp>
        <p:nvSpPr>
          <p:cNvPr id="264" name="Google Shape;264;p26"/>
          <p:cNvSpPr txBox="1">
            <a:spLocks noGrp="1"/>
          </p:cNvSpPr>
          <p:nvPr>
            <p:ph type="body" idx="2"/>
          </p:nvPr>
        </p:nvSpPr>
        <p:spPr>
          <a:xfrm>
            <a:off x="1873265" y="3047635"/>
            <a:ext cx="2953500" cy="395136"/>
          </a:xfrm>
          <a:prstGeom prst="rect">
            <a:avLst/>
          </a:prstGeom>
        </p:spPr>
        <p:txBody>
          <a:bodyPr spcFirstLastPara="1" wrap="square" lIns="45700" tIns="18275" rIns="45700" bIns="18275" anchor="ctr" anchorCtr="0">
            <a:noAutofit/>
          </a:bodyPr>
          <a:lstStyle>
            <a:lvl1pPr marL="0" lvl="0" indent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None/>
              <a:defRPr sz="1400" b="0" i="0">
                <a:solidFill>
                  <a:schemeClr val="lt1"/>
                </a:solidFill>
                <a:latin typeface="Helvetica" pitchFamily="2" charset="0"/>
              </a:defRPr>
            </a:lvl1pPr>
            <a:lvl2pPr marL="914400" lvl="1" indent="-33655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Char char="○"/>
              <a:defRPr sz="1700">
                <a:solidFill>
                  <a:schemeClr val="lt1"/>
                </a:solidFill>
              </a:defRPr>
            </a:lvl2pPr>
            <a:lvl3pPr marL="1371600" lvl="2" indent="-33655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Char char="■"/>
              <a:defRPr sz="1700">
                <a:solidFill>
                  <a:schemeClr val="lt1"/>
                </a:solidFill>
              </a:defRPr>
            </a:lvl3pPr>
            <a:lvl4pPr marL="1828800" lvl="3" indent="-33655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Char char="●"/>
              <a:defRPr sz="1700">
                <a:solidFill>
                  <a:schemeClr val="lt1"/>
                </a:solidFill>
              </a:defRPr>
            </a:lvl4pPr>
            <a:lvl5pPr marL="2286000" lvl="4" indent="-33655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Char char="○"/>
              <a:defRPr sz="1700">
                <a:solidFill>
                  <a:schemeClr val="lt1"/>
                </a:solidFill>
              </a:defRPr>
            </a:lvl5pPr>
            <a:lvl6pPr marL="2743200" lvl="5" indent="-33655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Char char="■"/>
              <a:defRPr sz="1700">
                <a:solidFill>
                  <a:schemeClr val="lt1"/>
                </a:solidFill>
              </a:defRPr>
            </a:lvl6pPr>
            <a:lvl7pPr marL="3200400" lvl="6" indent="-33655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Char char="●"/>
              <a:defRPr sz="1700">
                <a:solidFill>
                  <a:schemeClr val="lt1"/>
                </a:solidFill>
              </a:defRPr>
            </a:lvl7pPr>
            <a:lvl8pPr marL="3657600" lvl="7" indent="-33655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Char char="○"/>
              <a:defRPr sz="1700">
                <a:solidFill>
                  <a:schemeClr val="lt1"/>
                </a:solidFill>
              </a:defRPr>
            </a:lvl8pPr>
            <a:lvl9pPr marL="4114800" lvl="8" indent="-33655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Char char="■"/>
              <a:defRPr sz="17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4" name="Google Shape;56;p14">
            <a:extLst>
              <a:ext uri="{FF2B5EF4-FFF2-40B4-BE49-F238E27FC236}">
                <a16:creationId xmlns:a16="http://schemas.microsoft.com/office/drawing/2014/main" id="{127BCCB3-72B7-5AFF-D9E5-A122414E5D5B}"/>
              </a:ext>
            </a:extLst>
          </p:cNvPr>
          <p:cNvSpPr/>
          <p:nvPr userDrawn="1"/>
        </p:nvSpPr>
        <p:spPr>
          <a:xfrm>
            <a:off x="569084" y="4900823"/>
            <a:ext cx="5054476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 dirty="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5 THINGS YOU CAN DO WITH GITHUB COPILOT</a:t>
            </a:r>
            <a:endParaRPr lang="en-US" sz="500" b="0" i="0" u="none" strike="noStrike" kern="1200" cap="none" spc="600" dirty="0">
              <a:solidFill>
                <a:srgbClr val="627597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44131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Right Two Column" preserve="1">
  <p:cSld name="Right Two Column">
    <p:spTree>
      <p:nvGrpSpPr>
        <p:cNvPr id="1" name="Shape 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82E5456C-52E8-CE44-611E-94E2DB890F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2849395" y="-568250"/>
            <a:ext cx="14976966" cy="6404400"/>
            <a:chOff x="-2849395" y="-568250"/>
            <a:chExt cx="14976966" cy="640440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17F02D53-3842-E92D-041A-4A100EAA250A}"/>
                </a:ext>
              </a:extLst>
            </p:cNvPr>
            <p:cNvGrpSpPr/>
            <p:nvPr userDrawn="1"/>
          </p:nvGrpSpPr>
          <p:grpSpPr>
            <a:xfrm>
              <a:off x="-2849395" y="-568250"/>
              <a:ext cx="14976966" cy="6404400"/>
              <a:chOff x="-2849395" y="-568250"/>
              <a:chExt cx="14976966" cy="6404400"/>
            </a:xfrm>
          </p:grpSpPr>
          <p:sp>
            <p:nvSpPr>
              <p:cNvPr id="269" name="Google Shape;269;p2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-2849395" y="-568250"/>
                <a:ext cx="6414300" cy="6404400"/>
              </a:xfrm>
              <a:prstGeom prst="ellipse">
                <a:avLst/>
              </a:prstGeom>
              <a:gradFill>
                <a:gsLst>
                  <a:gs pos="0">
                    <a:srgbClr val="007ACC"/>
                  </a:gs>
                  <a:gs pos="72000">
                    <a:srgbClr val="D59DFF">
                      <a:alpha val="0"/>
                    </a:srgbClr>
                  </a:gs>
                  <a:gs pos="100000">
                    <a:srgbClr val="D59DFF">
                      <a:alpha val="0"/>
                    </a:srgbClr>
                  </a:gs>
                </a:gsLst>
                <a:lin ang="2700006" scaled="0"/>
              </a:gra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0" name="Google Shape;270;p2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719212" y="986442"/>
                <a:ext cx="1349700" cy="1347600"/>
              </a:xfrm>
              <a:prstGeom prst="ellipse">
                <a:avLst/>
              </a:prstGeom>
              <a:gradFill>
                <a:gsLst>
                  <a:gs pos="0">
                    <a:srgbClr val="8661C5"/>
                  </a:gs>
                  <a:gs pos="100000">
                    <a:srgbClr val="161828">
                      <a:alpha val="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pic>
            <p:nvPicPr>
              <p:cNvPr id="272" name="Google Shape;272;p2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 preferRelativeResize="0"/>
              <p:nvPr/>
            </p:nvPicPr>
            <p:blipFill rotWithShape="1">
              <a:blip r:embed="rId2">
                <a:alphaModFix amt="30000"/>
              </a:blip>
              <a:srcRect/>
              <a:stretch/>
            </p:blipFill>
            <p:spPr>
              <a:xfrm>
                <a:off x="8365202" y="621803"/>
                <a:ext cx="3762369" cy="3762369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cxnSp>
          <p:nvCxnSpPr>
            <p:cNvPr id="271" name="Google Shape;271;p27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>
            <a:xfrm>
              <a:off x="3536833" y="613302"/>
              <a:ext cx="2070300" cy="0"/>
            </a:xfrm>
            <a:prstGeom prst="straightConnector1">
              <a:avLst/>
            </a:prstGeom>
            <a:noFill/>
            <a:ln w="12700" cap="flat" cmpd="sng">
              <a:solidFill>
                <a:srgbClr val="627597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274" name="Google Shape;274;p27"/>
          <p:cNvSpPr txBox="1">
            <a:spLocks noGrp="1"/>
          </p:cNvSpPr>
          <p:nvPr>
            <p:ph type="title"/>
          </p:nvPr>
        </p:nvSpPr>
        <p:spPr>
          <a:xfrm>
            <a:off x="969264" y="841248"/>
            <a:ext cx="7196400" cy="4206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400"/>
              <a:buNone/>
              <a:defRPr b="1" i="0">
                <a:latin typeface="Helvetica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3" name="Google Shape;273;p27"/>
          <p:cNvSpPr txBox="1">
            <a:spLocks noGrp="1"/>
          </p:cNvSpPr>
          <p:nvPr>
            <p:ph type="subTitle" idx="1"/>
          </p:nvPr>
        </p:nvSpPr>
        <p:spPr>
          <a:xfrm>
            <a:off x="3063240" y="429768"/>
            <a:ext cx="3026700" cy="1554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9pPr>
          </a:lstStyle>
          <a:p>
            <a:endParaRPr/>
          </a:p>
        </p:txBody>
      </p:sp>
      <p:sp>
        <p:nvSpPr>
          <p:cNvPr id="275" name="Google Shape;275;p27"/>
          <p:cNvSpPr txBox="1">
            <a:spLocks noGrp="1"/>
          </p:cNvSpPr>
          <p:nvPr>
            <p:ph type="title" idx="2"/>
          </p:nvPr>
        </p:nvSpPr>
        <p:spPr>
          <a:xfrm>
            <a:off x="5029200" y="2121408"/>
            <a:ext cx="1051500" cy="4023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300"/>
              <a:buNone/>
              <a:defRPr sz="2300" b="1" i="0">
                <a:latin typeface="Helvetica" pitchFamily="2" charset="0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2300"/>
              <a:buNone/>
              <a:defRPr sz="2300"/>
            </a:lvl2pPr>
            <a:lvl3pPr lvl="2" algn="ctr">
              <a:spcBef>
                <a:spcPts val="0"/>
              </a:spcBef>
              <a:spcAft>
                <a:spcPts val="0"/>
              </a:spcAft>
              <a:buSzPts val="2300"/>
              <a:buNone/>
              <a:defRPr sz="2300"/>
            </a:lvl3pPr>
            <a:lvl4pPr lvl="3" algn="ctr">
              <a:spcBef>
                <a:spcPts val="0"/>
              </a:spcBef>
              <a:spcAft>
                <a:spcPts val="0"/>
              </a:spcAft>
              <a:buSzPts val="2300"/>
              <a:buNone/>
              <a:defRPr sz="2300"/>
            </a:lvl4pPr>
            <a:lvl5pPr lvl="4" algn="ctr">
              <a:spcBef>
                <a:spcPts val="0"/>
              </a:spcBef>
              <a:spcAft>
                <a:spcPts val="0"/>
              </a:spcAft>
              <a:buSzPts val="2300"/>
              <a:buNone/>
              <a:defRPr sz="2300"/>
            </a:lvl5pPr>
            <a:lvl6pPr lvl="5" algn="ctr">
              <a:spcBef>
                <a:spcPts val="0"/>
              </a:spcBef>
              <a:spcAft>
                <a:spcPts val="0"/>
              </a:spcAft>
              <a:buSzPts val="2300"/>
              <a:buNone/>
              <a:defRPr sz="2300"/>
            </a:lvl6pPr>
            <a:lvl7pPr lvl="6" algn="ctr">
              <a:spcBef>
                <a:spcPts val="0"/>
              </a:spcBef>
              <a:spcAft>
                <a:spcPts val="0"/>
              </a:spcAft>
              <a:buSzPts val="2300"/>
              <a:buNone/>
              <a:defRPr sz="2300"/>
            </a:lvl7pPr>
            <a:lvl8pPr lvl="7" algn="ctr">
              <a:spcBef>
                <a:spcPts val="0"/>
              </a:spcBef>
              <a:spcAft>
                <a:spcPts val="0"/>
              </a:spcAft>
              <a:buSzPts val="2300"/>
              <a:buNone/>
              <a:defRPr sz="2300"/>
            </a:lvl8pPr>
            <a:lvl9pPr lvl="8" algn="ctr">
              <a:spcBef>
                <a:spcPts val="0"/>
              </a:spcBef>
              <a:spcAft>
                <a:spcPts val="0"/>
              </a:spcAft>
              <a:buSzPts val="2300"/>
              <a:buNone/>
              <a:defRPr sz="2300"/>
            </a:lvl9pPr>
          </a:lstStyle>
          <a:p>
            <a:endParaRPr/>
          </a:p>
        </p:txBody>
      </p:sp>
      <p:sp>
        <p:nvSpPr>
          <p:cNvPr id="277" name="Google Shape;277;p27"/>
          <p:cNvSpPr txBox="1">
            <a:spLocks noGrp="1"/>
          </p:cNvSpPr>
          <p:nvPr>
            <p:ph type="body" idx="4"/>
          </p:nvPr>
        </p:nvSpPr>
        <p:spPr>
          <a:xfrm>
            <a:off x="4919472" y="3172968"/>
            <a:ext cx="1443000" cy="3474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>
              <a:spcBef>
                <a:spcPts val="0"/>
              </a:spcBef>
              <a:spcAft>
                <a:spcPts val="0"/>
              </a:spcAft>
              <a:buSzPts val="900"/>
              <a:buNone/>
              <a:defRPr sz="1100" b="0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85750">
              <a:spcBef>
                <a:spcPts val="0"/>
              </a:spcBef>
              <a:spcAft>
                <a:spcPts val="0"/>
              </a:spcAft>
              <a:buSzPts val="900"/>
              <a:buChar char="○"/>
              <a:defRPr sz="900"/>
            </a:lvl2pPr>
            <a:lvl3pPr marL="1371600" lvl="2" indent="-285750">
              <a:spcBef>
                <a:spcPts val="0"/>
              </a:spcBef>
              <a:spcAft>
                <a:spcPts val="0"/>
              </a:spcAft>
              <a:buSzPts val="900"/>
              <a:buChar char="■"/>
              <a:defRPr sz="900"/>
            </a:lvl3pPr>
            <a:lvl4pPr marL="1828800" lvl="3" indent="-285750">
              <a:spcBef>
                <a:spcPts val="0"/>
              </a:spcBef>
              <a:spcAft>
                <a:spcPts val="0"/>
              </a:spcAft>
              <a:buSzPts val="900"/>
              <a:buChar char="●"/>
              <a:defRPr sz="900"/>
            </a:lvl4pPr>
            <a:lvl5pPr marL="2286000" lvl="4" indent="-285750">
              <a:spcBef>
                <a:spcPts val="0"/>
              </a:spcBef>
              <a:spcAft>
                <a:spcPts val="0"/>
              </a:spcAft>
              <a:buSzPts val="900"/>
              <a:buChar char="○"/>
              <a:defRPr sz="900"/>
            </a:lvl5pPr>
            <a:lvl6pPr marL="2743200" lvl="5" indent="-285750">
              <a:spcBef>
                <a:spcPts val="0"/>
              </a:spcBef>
              <a:spcAft>
                <a:spcPts val="0"/>
              </a:spcAft>
              <a:buSzPts val="900"/>
              <a:buChar char="■"/>
              <a:defRPr sz="900"/>
            </a:lvl6pPr>
            <a:lvl7pPr marL="3200400" lvl="6" indent="-285750">
              <a:spcBef>
                <a:spcPts val="0"/>
              </a:spcBef>
              <a:spcAft>
                <a:spcPts val="0"/>
              </a:spcAft>
              <a:buSzPts val="900"/>
              <a:buChar char="●"/>
              <a:defRPr sz="900"/>
            </a:lvl7pPr>
            <a:lvl8pPr marL="3657600" lvl="7" indent="-285750">
              <a:spcBef>
                <a:spcPts val="0"/>
              </a:spcBef>
              <a:spcAft>
                <a:spcPts val="0"/>
              </a:spcAft>
              <a:buSzPts val="900"/>
              <a:buChar char="○"/>
              <a:defRPr sz="900"/>
            </a:lvl8pPr>
            <a:lvl9pPr marL="4114800" lvl="8" indent="-285750">
              <a:spcBef>
                <a:spcPts val="0"/>
              </a:spcBef>
              <a:spcAft>
                <a:spcPts val="0"/>
              </a:spcAft>
              <a:buSzPts val="900"/>
              <a:buChar char="■"/>
              <a:defRPr sz="900"/>
            </a:lvl9pPr>
          </a:lstStyle>
          <a:p>
            <a:endParaRPr/>
          </a:p>
        </p:txBody>
      </p:sp>
      <p:sp>
        <p:nvSpPr>
          <p:cNvPr id="278" name="Google Shape;278;p27"/>
          <p:cNvSpPr txBox="1">
            <a:spLocks noGrp="1"/>
          </p:cNvSpPr>
          <p:nvPr>
            <p:ph type="body" idx="5"/>
          </p:nvPr>
        </p:nvSpPr>
        <p:spPr>
          <a:xfrm>
            <a:off x="4919472" y="3575304"/>
            <a:ext cx="1298400" cy="7278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914400" lvl="1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276" name="Google Shape;276;p27"/>
          <p:cNvSpPr txBox="1">
            <a:spLocks noGrp="1"/>
          </p:cNvSpPr>
          <p:nvPr>
            <p:ph type="title" idx="3"/>
          </p:nvPr>
        </p:nvSpPr>
        <p:spPr>
          <a:xfrm>
            <a:off x="6848856" y="2121408"/>
            <a:ext cx="1051500" cy="4023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300"/>
              <a:buNone/>
              <a:defRPr sz="2300" b="1" i="0">
                <a:latin typeface="Helvetica" pitchFamily="2" charset="0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300"/>
              <a:buNone/>
              <a:defRPr sz="23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300"/>
              <a:buNone/>
              <a:defRPr sz="23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300"/>
              <a:buNone/>
              <a:defRPr sz="23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300"/>
              <a:buNone/>
              <a:defRPr sz="23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300"/>
              <a:buNone/>
              <a:defRPr sz="23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300"/>
              <a:buNone/>
              <a:defRPr sz="23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300"/>
              <a:buNone/>
              <a:defRPr sz="23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300"/>
              <a:buNone/>
              <a:defRPr sz="2300"/>
            </a:lvl9pPr>
          </a:lstStyle>
          <a:p>
            <a:endParaRPr/>
          </a:p>
        </p:txBody>
      </p:sp>
      <p:sp>
        <p:nvSpPr>
          <p:cNvPr id="279" name="Google Shape;279;p27"/>
          <p:cNvSpPr txBox="1">
            <a:spLocks noGrp="1"/>
          </p:cNvSpPr>
          <p:nvPr>
            <p:ph type="body" idx="6"/>
          </p:nvPr>
        </p:nvSpPr>
        <p:spPr>
          <a:xfrm>
            <a:off x="6693408" y="3172968"/>
            <a:ext cx="1443000" cy="3474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SzPts val="900"/>
              <a:buNone/>
              <a:defRPr sz="1100" b="0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85750" rtl="0">
              <a:spcBef>
                <a:spcPts val="0"/>
              </a:spcBef>
              <a:spcAft>
                <a:spcPts val="0"/>
              </a:spcAft>
              <a:buSzPts val="900"/>
              <a:buChar char="○"/>
              <a:defRPr sz="900"/>
            </a:lvl2pPr>
            <a:lvl3pPr marL="1371600" lvl="2" indent="-285750" rtl="0">
              <a:spcBef>
                <a:spcPts val="0"/>
              </a:spcBef>
              <a:spcAft>
                <a:spcPts val="0"/>
              </a:spcAft>
              <a:buSzPts val="900"/>
              <a:buChar char="■"/>
              <a:defRPr sz="900"/>
            </a:lvl3pPr>
            <a:lvl4pPr marL="1828800" lvl="3" indent="-285750" rtl="0">
              <a:spcBef>
                <a:spcPts val="0"/>
              </a:spcBef>
              <a:spcAft>
                <a:spcPts val="0"/>
              </a:spcAft>
              <a:buSzPts val="900"/>
              <a:buChar char="●"/>
              <a:defRPr sz="900"/>
            </a:lvl4pPr>
            <a:lvl5pPr marL="2286000" lvl="4" indent="-285750" rtl="0">
              <a:spcBef>
                <a:spcPts val="0"/>
              </a:spcBef>
              <a:spcAft>
                <a:spcPts val="0"/>
              </a:spcAft>
              <a:buSzPts val="900"/>
              <a:buChar char="○"/>
              <a:defRPr sz="900"/>
            </a:lvl5pPr>
            <a:lvl6pPr marL="2743200" lvl="5" indent="-285750" rtl="0">
              <a:spcBef>
                <a:spcPts val="0"/>
              </a:spcBef>
              <a:spcAft>
                <a:spcPts val="0"/>
              </a:spcAft>
              <a:buSzPts val="900"/>
              <a:buChar char="■"/>
              <a:defRPr sz="900"/>
            </a:lvl6pPr>
            <a:lvl7pPr marL="3200400" lvl="6" indent="-285750" rtl="0">
              <a:spcBef>
                <a:spcPts val="0"/>
              </a:spcBef>
              <a:spcAft>
                <a:spcPts val="0"/>
              </a:spcAft>
              <a:buSzPts val="900"/>
              <a:buChar char="●"/>
              <a:defRPr sz="900"/>
            </a:lvl7pPr>
            <a:lvl8pPr marL="3657600" lvl="7" indent="-285750" rtl="0">
              <a:spcBef>
                <a:spcPts val="0"/>
              </a:spcBef>
              <a:spcAft>
                <a:spcPts val="0"/>
              </a:spcAft>
              <a:buSzPts val="900"/>
              <a:buChar char="○"/>
              <a:defRPr sz="900"/>
            </a:lvl8pPr>
            <a:lvl9pPr marL="4114800" lvl="8" indent="-285750" rtl="0">
              <a:spcBef>
                <a:spcPts val="0"/>
              </a:spcBef>
              <a:spcAft>
                <a:spcPts val="0"/>
              </a:spcAft>
              <a:buSzPts val="900"/>
              <a:buChar char="■"/>
              <a:defRPr sz="900"/>
            </a:lvl9pPr>
          </a:lstStyle>
          <a:p>
            <a:endParaRPr/>
          </a:p>
        </p:txBody>
      </p:sp>
      <p:sp>
        <p:nvSpPr>
          <p:cNvPr id="280" name="Google Shape;280;p27"/>
          <p:cNvSpPr txBox="1">
            <a:spLocks noGrp="1"/>
          </p:cNvSpPr>
          <p:nvPr>
            <p:ph type="body" idx="7"/>
          </p:nvPr>
        </p:nvSpPr>
        <p:spPr>
          <a:xfrm>
            <a:off x="6693408" y="3575304"/>
            <a:ext cx="1298400" cy="7278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914400" lvl="1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268" name="Google Shape;268;p27"/>
          <p:cNvSpPr/>
          <p:nvPr/>
        </p:nvSpPr>
        <p:spPr>
          <a:xfrm>
            <a:off x="5450166" y="4900823"/>
            <a:ext cx="3595800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500" b="0" i="0">
                <a:solidFill>
                  <a:schemeClr val="lt1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‹#›</a:t>
            </a:fld>
            <a:endParaRPr sz="500" b="0" i="0">
              <a:solidFill>
                <a:schemeClr val="lt1"/>
              </a:solidFill>
              <a:latin typeface="Helvetica" pitchFamily="2" charset="0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2" name="Google Shape;67;p15">
            <a:extLst>
              <a:ext uri="{FF2B5EF4-FFF2-40B4-BE49-F238E27FC236}">
                <a16:creationId xmlns:a16="http://schemas.microsoft.com/office/drawing/2014/main" id="{4CE73C70-4FF6-F5ED-1DB9-B51971EF5A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" name="Google Shape;56;p14">
            <a:extLst>
              <a:ext uri="{FF2B5EF4-FFF2-40B4-BE49-F238E27FC236}">
                <a16:creationId xmlns:a16="http://schemas.microsoft.com/office/drawing/2014/main" id="{D9C46BBC-5EB9-A58B-BC2D-2372B1C5DCD0}"/>
              </a:ext>
            </a:extLst>
          </p:cNvPr>
          <p:cNvSpPr/>
          <p:nvPr userDrawn="1"/>
        </p:nvSpPr>
        <p:spPr>
          <a:xfrm>
            <a:off x="569084" y="4900823"/>
            <a:ext cx="5054476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 dirty="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5 THINGS YOU CAN DO WITH GITHUB COPILOT</a:t>
            </a:r>
            <a:endParaRPr lang="en-US" sz="500" b="0" i="0" u="none" strike="noStrike" kern="1200" cap="none" spc="600" dirty="0">
              <a:solidFill>
                <a:srgbClr val="627597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65618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Quote" preserve="1">
  <p:cSld name="Quote">
    <p:spTree>
      <p:nvGrpSpPr>
        <p:cNvPr id="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16929EEF-EB45-38DD-B459-54368DB9CE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279903" cy="5143501"/>
            <a:chOff x="0" y="0"/>
            <a:chExt cx="12279903" cy="5143501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5BD7957-EE50-F7E1-5EC4-A00B8C29F74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0" y="0"/>
              <a:ext cx="12279903" cy="5143501"/>
              <a:chOff x="0" y="0"/>
              <a:chExt cx="12279903" cy="5143501"/>
            </a:xfrm>
          </p:grpSpPr>
          <p:pic>
            <p:nvPicPr>
              <p:cNvPr id="285" name="Google Shape;285;p2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 preferRelativeResize="0"/>
              <p:nvPr/>
            </p:nvPicPr>
            <p:blipFill rotWithShape="1">
              <a:blip r:embed="rId2">
                <a:alphaModFix amt="50000"/>
              </a:blip>
              <a:srcRect/>
              <a:stretch/>
            </p:blipFill>
            <p:spPr>
              <a:xfrm>
                <a:off x="0" y="0"/>
                <a:ext cx="5885013" cy="5143501"/>
              </a:xfrm>
              <a:prstGeom prst="rect">
                <a:avLst/>
              </a:prstGeom>
              <a:noFill/>
              <a:ln>
                <a:noFill/>
              </a:ln>
            </p:spPr>
          </p:pic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6E286D62-03BB-174A-B73A-AEAD2823928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GrpSpPr/>
              <p:nvPr userDrawn="1"/>
            </p:nvGrpSpPr>
            <p:grpSpPr>
              <a:xfrm>
                <a:off x="1250641" y="647264"/>
                <a:ext cx="3350876" cy="3896544"/>
                <a:chOff x="1250641" y="647264"/>
                <a:chExt cx="3350876" cy="3896544"/>
              </a:xfrm>
              <a:gradFill>
                <a:gsLst>
                  <a:gs pos="0">
                    <a:srgbClr val="1F9CF0"/>
                  </a:gs>
                  <a:gs pos="100000">
                    <a:srgbClr val="9477E2"/>
                  </a:gs>
                </a:gsLst>
                <a:lin ang="2700006" scaled="0"/>
              </a:gradFill>
            </p:grpSpPr>
            <p:sp>
              <p:nvSpPr>
                <p:cNvPr id="287" name="Google Shape;287;p28"/>
                <p:cNvSpPr/>
                <p:nvPr/>
              </p:nvSpPr>
              <p:spPr>
                <a:xfrm>
                  <a:off x="1250641" y="1140105"/>
                  <a:ext cx="3350876" cy="2910862"/>
                </a:xfrm>
                <a:prstGeom prst="roundRect">
                  <a:avLst>
                    <a:gd name="adj" fmla="val 0"/>
                  </a:avLst>
                </a:prstGeom>
                <a:grpFill/>
                <a:ln>
                  <a:noFill/>
                </a:ln>
                <a:effectLst>
                  <a:outerShdw blurRad="1270000" dist="1968500" dir="5400000" sx="90000" sy="9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42900" tIns="21450" rIns="42900" bIns="2145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100" b="0" i="0">
                    <a:solidFill>
                      <a:schemeClr val="lt1"/>
                    </a:solidFill>
                    <a:latin typeface="Helvetica" pitchFamily="2" charset="0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8" name="Google Shape;288;p28"/>
                <p:cNvSpPr/>
                <p:nvPr/>
              </p:nvSpPr>
              <p:spPr>
                <a:xfrm rot="10800000" flipH="1">
                  <a:off x="1250641" y="647264"/>
                  <a:ext cx="990493" cy="4928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25539" h="760240" extrusionOk="0">
                      <a:moveTo>
                        <a:pt x="0" y="0"/>
                      </a:moveTo>
                      <a:lnTo>
                        <a:pt x="1525539" y="0"/>
                      </a:lnTo>
                      <a:lnTo>
                        <a:pt x="1510320" y="150969"/>
                      </a:lnTo>
                      <a:cubicBezTo>
                        <a:pt x="1439168" y="498680"/>
                        <a:pt x="1131514" y="760240"/>
                        <a:pt x="762769" y="760240"/>
                      </a:cubicBezTo>
                      <a:cubicBezTo>
                        <a:pt x="394024" y="760240"/>
                        <a:pt x="86371" y="498680"/>
                        <a:pt x="15219" y="15096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>
                  <a:outerShdw blurRad="1270000" dist="1968500" dir="5400000" sx="90000" sy="9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42900" tIns="21450" rIns="42900" bIns="2145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100" b="0" i="0">
                    <a:solidFill>
                      <a:schemeClr val="lt1"/>
                    </a:solidFill>
                    <a:latin typeface="Helvetica" pitchFamily="2" charset="0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9" name="Google Shape;289;p28"/>
                <p:cNvSpPr/>
                <p:nvPr/>
              </p:nvSpPr>
              <p:spPr>
                <a:xfrm>
                  <a:off x="3611024" y="4050967"/>
                  <a:ext cx="990493" cy="4928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25539" h="760240" extrusionOk="0">
                      <a:moveTo>
                        <a:pt x="0" y="0"/>
                      </a:moveTo>
                      <a:lnTo>
                        <a:pt x="1525539" y="0"/>
                      </a:lnTo>
                      <a:lnTo>
                        <a:pt x="1510320" y="150969"/>
                      </a:lnTo>
                      <a:cubicBezTo>
                        <a:pt x="1439168" y="498680"/>
                        <a:pt x="1131514" y="760240"/>
                        <a:pt x="762769" y="760240"/>
                      </a:cubicBezTo>
                      <a:cubicBezTo>
                        <a:pt x="394024" y="760240"/>
                        <a:pt x="86371" y="498680"/>
                        <a:pt x="15219" y="15096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>
                  <a:outerShdw blurRad="1270000" dist="1968500" dir="5400000" sx="90000" sy="9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42900" tIns="21450" rIns="42900" bIns="21450" anchor="ctr" anchorCtr="0">
                  <a:noAutofit/>
                </a:bodyPr>
                <a:lstStyle/>
                <a:p>
                  <a:pPr marL="0" lvl="0" indent="0" algn="ctr" defTabSz="914400" eaLnBrk="1" fontAlgn="auto" latinLnBrk="0" hangingPunct="1">
                    <a:buClrTx/>
                    <a:buSzTx/>
                    <a:buFontTx/>
                    <a:buNone/>
                    <a:tabLst/>
                  </a:pPr>
                  <a:endParaRPr kumimoji="0" sz="2100" kern="0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Helvetica" pitchFamily="2" charset="0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pic>
            <p:nvPicPr>
              <p:cNvPr id="292" name="Google Shape;292;p2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 preferRelativeResize="0"/>
              <p:nvPr/>
            </p:nvPicPr>
            <p:blipFill rotWithShape="1">
              <a:blip r:embed="rId3">
                <a:alphaModFix amt="30000"/>
              </a:blip>
              <a:srcRect/>
              <a:stretch/>
            </p:blipFill>
            <p:spPr>
              <a:xfrm>
                <a:off x="8517534" y="714379"/>
                <a:ext cx="3762369" cy="3762369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cxnSp>
          <p:nvCxnSpPr>
            <p:cNvPr id="291" name="Google Shape;291;p28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>
            <a:xfrm>
              <a:off x="5283356" y="1079083"/>
              <a:ext cx="2070300" cy="0"/>
            </a:xfrm>
            <a:prstGeom prst="straightConnector1">
              <a:avLst/>
            </a:prstGeom>
            <a:noFill/>
            <a:ln w="12700" cap="flat" cmpd="sng">
              <a:solidFill>
                <a:srgbClr val="627597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296" name="Google Shape;296;p28"/>
          <p:cNvSpPr txBox="1">
            <a:spLocks noGrp="1"/>
          </p:cNvSpPr>
          <p:nvPr>
            <p:ph type="title"/>
          </p:nvPr>
        </p:nvSpPr>
        <p:spPr>
          <a:xfrm>
            <a:off x="5248656" y="1371600"/>
            <a:ext cx="2980800" cy="7773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400"/>
              <a:buNone/>
              <a:defRPr b="1" i="0">
                <a:latin typeface="Helvetica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0" name="Google Shape;290;p2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565343" y="843899"/>
            <a:ext cx="303885" cy="198949"/>
          </a:xfrm>
          <a:custGeom>
            <a:avLst/>
            <a:gdLst/>
            <a:ahLst/>
            <a:cxnLst/>
            <a:rect l="l" t="t" r="r" b="b"/>
            <a:pathLst>
              <a:path w="173154" h="113523" extrusionOk="0">
                <a:moveTo>
                  <a:pt x="124690" y="0"/>
                </a:moveTo>
                <a:lnTo>
                  <a:pt x="173154" y="0"/>
                </a:lnTo>
                <a:lnTo>
                  <a:pt x="148922" y="113523"/>
                </a:lnTo>
                <a:lnTo>
                  <a:pt x="85314" y="113523"/>
                </a:lnTo>
                <a:close/>
                <a:moveTo>
                  <a:pt x="39376" y="0"/>
                </a:moveTo>
                <a:lnTo>
                  <a:pt x="87839" y="0"/>
                </a:lnTo>
                <a:lnTo>
                  <a:pt x="63607" y="113523"/>
                </a:lnTo>
                <a:lnTo>
                  <a:pt x="0" y="113523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42900" tIns="21450" rIns="42900" bIns="214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100" b="0" i="0">
              <a:solidFill>
                <a:schemeClr val="lt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293" name="Google Shape;293;p28"/>
          <p:cNvSpPr txBox="1">
            <a:spLocks noGrp="1"/>
          </p:cNvSpPr>
          <p:nvPr>
            <p:ph type="body" idx="1"/>
          </p:nvPr>
        </p:nvSpPr>
        <p:spPr>
          <a:xfrm>
            <a:off x="1527048" y="1682496"/>
            <a:ext cx="2788800" cy="12801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>
              <a:spcBef>
                <a:spcPts val="0"/>
              </a:spcBef>
              <a:spcAft>
                <a:spcPts val="0"/>
              </a:spcAft>
              <a:buSzPts val="1100"/>
              <a:buNone/>
              <a:defRPr sz="1100" b="0" i="0">
                <a:latin typeface="Helvetica" pitchFamily="2" charset="0"/>
              </a:defRPr>
            </a:lvl1pPr>
            <a:lvl2pPr marL="914400" lvl="1" indent="-298450" algn="ctr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 i="1"/>
            </a:lvl2pPr>
            <a:lvl3pPr marL="1371600" lvl="2" indent="-298450" algn="ctr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 i="1"/>
            </a:lvl3pPr>
            <a:lvl4pPr marL="1828800" lvl="3" indent="-298450" algn="ctr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 i="1"/>
            </a:lvl4pPr>
            <a:lvl5pPr marL="2286000" lvl="4" indent="-298450" algn="ctr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 i="1"/>
            </a:lvl5pPr>
            <a:lvl6pPr marL="2743200" lvl="5" indent="-298450" algn="ctr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 i="1"/>
            </a:lvl6pPr>
            <a:lvl7pPr marL="3200400" lvl="6" indent="-298450" algn="ctr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 i="1"/>
            </a:lvl7pPr>
            <a:lvl8pPr marL="3657600" lvl="7" indent="-298450" algn="ctr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 i="1"/>
            </a:lvl8pPr>
            <a:lvl9pPr marL="4114800" lvl="8" indent="-298450" algn="ctr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 i="1"/>
            </a:lvl9pPr>
          </a:lstStyle>
          <a:p>
            <a:endParaRPr/>
          </a:p>
        </p:txBody>
      </p:sp>
      <p:sp>
        <p:nvSpPr>
          <p:cNvPr id="294" name="Google Shape;294;p28"/>
          <p:cNvSpPr txBox="1">
            <a:spLocks noGrp="1"/>
          </p:cNvSpPr>
          <p:nvPr>
            <p:ph type="body" idx="2"/>
          </p:nvPr>
        </p:nvSpPr>
        <p:spPr>
          <a:xfrm>
            <a:off x="1901952" y="3191256"/>
            <a:ext cx="2070300" cy="6705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1500" b="0" i="0">
                <a:latin typeface="Helvetica" pitchFamily="2" charset="0"/>
              </a:defRPr>
            </a:lvl1pPr>
            <a:lvl2pPr marL="914400" lvl="1" indent="-2984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 i="1"/>
            </a:lvl2pPr>
            <a:lvl3pPr marL="1371600" lvl="2" indent="-2984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 i="1"/>
            </a:lvl3pPr>
            <a:lvl4pPr marL="1828800" lvl="3" indent="-2921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Char char="●"/>
              <a:defRPr/>
            </a:lvl4pPr>
            <a:lvl5pPr marL="2286000" lvl="4" indent="-2921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Char char="○"/>
              <a:defRPr/>
            </a:lvl5pPr>
            <a:lvl6pPr marL="2743200" lvl="5" indent="-2921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Char char="■"/>
              <a:defRPr/>
            </a:lvl6pPr>
            <a:lvl7pPr marL="3200400" lvl="6" indent="-2921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Char char="●"/>
              <a:defRPr/>
            </a:lvl7pPr>
            <a:lvl8pPr marL="3657600" lvl="7" indent="-2921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Char char="○"/>
              <a:defRPr/>
            </a:lvl8pPr>
            <a:lvl9pPr marL="4114800" lvl="8" indent="-2921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Char char="■"/>
              <a:defRPr/>
            </a:lvl9pPr>
          </a:lstStyle>
          <a:p>
            <a:endParaRPr/>
          </a:p>
        </p:txBody>
      </p:sp>
      <p:sp>
        <p:nvSpPr>
          <p:cNvPr id="298" name="Google Shape;298;p28"/>
          <p:cNvSpPr>
            <a:spLocks noGrp="1"/>
          </p:cNvSpPr>
          <p:nvPr>
            <p:ph type="pic" idx="5"/>
          </p:nvPr>
        </p:nvSpPr>
        <p:spPr>
          <a:xfrm>
            <a:off x="3719900" y="3639639"/>
            <a:ext cx="777300" cy="7773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 sz="800"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295" name="Google Shape;295;p28"/>
          <p:cNvSpPr txBox="1">
            <a:spLocks noGrp="1"/>
          </p:cNvSpPr>
          <p:nvPr>
            <p:ph type="subTitle" idx="3"/>
          </p:nvPr>
        </p:nvSpPr>
        <p:spPr>
          <a:xfrm>
            <a:off x="5248656" y="886968"/>
            <a:ext cx="3026700" cy="18464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spAutoFit/>
          </a:bodyPr>
          <a:lstStyle>
            <a:lvl1pPr marL="0" lvl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9pPr>
          </a:lstStyle>
          <a:p>
            <a:endParaRPr/>
          </a:p>
        </p:txBody>
      </p:sp>
      <p:sp>
        <p:nvSpPr>
          <p:cNvPr id="297" name="Google Shape;297;p28"/>
          <p:cNvSpPr txBox="1">
            <a:spLocks noGrp="1"/>
          </p:cNvSpPr>
          <p:nvPr>
            <p:ph type="body" idx="4"/>
          </p:nvPr>
        </p:nvSpPr>
        <p:spPr>
          <a:xfrm>
            <a:off x="5248656" y="2560320"/>
            <a:ext cx="2980800" cy="1280100"/>
          </a:xfrm>
          <a:prstGeom prst="rect">
            <a:avLst/>
          </a:prstGeom>
        </p:spPr>
        <p:txBody>
          <a:bodyPr spcFirstLastPara="1" vert="horz" wrap="square" lIns="45700" tIns="18275" rIns="45700" bIns="18275" rtlCol="0" anchor="t" anchorCtr="0">
            <a:noAutofit/>
          </a:bodyPr>
          <a:lstStyle>
            <a:lvl1pPr>
              <a:defRPr lang="en-US" sz="800" b="0" i="0" dirty="0">
                <a:latin typeface="Helvetica" pitchFamily="2" charset="0"/>
              </a:defRPr>
            </a:lvl1pPr>
            <a:lvl2pPr>
              <a:defRPr lang="en-US" sz="800" dirty="0" smtClean="0"/>
            </a:lvl2pPr>
            <a:lvl3pPr>
              <a:defRPr lang="en-US" sz="800" dirty="0" smtClean="0"/>
            </a:lvl3pPr>
            <a:lvl4pPr>
              <a:defRPr lang="en-US" sz="800" dirty="0" smtClean="0"/>
            </a:lvl4pPr>
            <a:lvl5pPr>
              <a:defRPr lang="en-US" sz="800" dirty="0" smtClean="0"/>
            </a:lvl5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 lang="en-US"/>
          </a:p>
        </p:txBody>
      </p:sp>
      <p:sp>
        <p:nvSpPr>
          <p:cNvPr id="284" name="Google Shape;284;p28"/>
          <p:cNvSpPr/>
          <p:nvPr/>
        </p:nvSpPr>
        <p:spPr>
          <a:xfrm>
            <a:off x="5450166" y="4900823"/>
            <a:ext cx="3595800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500" b="0" i="0">
                <a:solidFill>
                  <a:schemeClr val="lt1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‹#›</a:t>
            </a:fld>
            <a:endParaRPr sz="500" b="0" i="0">
              <a:solidFill>
                <a:schemeClr val="lt1"/>
              </a:solidFill>
              <a:latin typeface="Helvetica" pitchFamily="2" charset="0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5" name="Google Shape;67;p15">
            <a:extLst>
              <a:ext uri="{FF2B5EF4-FFF2-40B4-BE49-F238E27FC236}">
                <a16:creationId xmlns:a16="http://schemas.microsoft.com/office/drawing/2014/main" id="{646DD254-CA83-0D9F-FB37-A967AE224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" name="Google Shape;56;p14">
            <a:extLst>
              <a:ext uri="{FF2B5EF4-FFF2-40B4-BE49-F238E27FC236}">
                <a16:creationId xmlns:a16="http://schemas.microsoft.com/office/drawing/2014/main" id="{56089DBF-2BF4-B80B-0B64-5B2BB7060F77}"/>
              </a:ext>
            </a:extLst>
          </p:cNvPr>
          <p:cNvSpPr/>
          <p:nvPr userDrawn="1"/>
        </p:nvSpPr>
        <p:spPr>
          <a:xfrm>
            <a:off x="569084" y="4900823"/>
            <a:ext cx="5054476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 dirty="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5 THINGS YOU CAN DO WITH GITHUB COPILOT</a:t>
            </a:r>
            <a:endParaRPr lang="en-US" sz="500" b="0" i="0" u="none" strike="noStrike" kern="1200" cap="none" spc="600" dirty="0">
              <a:solidFill>
                <a:srgbClr val="627597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11597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hree Blocks" preserve="1">
  <p:cSld name="Three Blocks"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BE437089-810F-7F01-BE5D-CA2E0D7567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3342418" y="300"/>
            <a:ext cx="15705054" cy="6161114"/>
            <a:chOff x="-3342418" y="300"/>
            <a:chExt cx="15705054" cy="6161114"/>
          </a:xfrm>
        </p:grpSpPr>
        <p:sp>
          <p:nvSpPr>
            <p:cNvPr id="303" name="Google Shape;303;p29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836471" y="3334572"/>
              <a:ext cx="2177400" cy="1071502"/>
            </a:xfrm>
            <a:prstGeom prst="rect">
              <a:avLst/>
            </a:prstGeom>
            <a:gradFill>
              <a:gsLst>
                <a:gs pos="0">
                  <a:srgbClr val="1F9CF0"/>
                </a:gs>
                <a:gs pos="2000">
                  <a:srgbClr val="1F9CF0"/>
                </a:gs>
                <a:gs pos="100000">
                  <a:srgbClr val="9477E2">
                    <a:alpha val="0"/>
                  </a:srgbClr>
                </a:gs>
              </a:gsLst>
              <a:lin ang="2700006" scaled="0"/>
            </a:gra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" name="Google Shape;304;p29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424403" y="3332929"/>
              <a:ext cx="2177400" cy="1071502"/>
            </a:xfrm>
            <a:prstGeom prst="rect">
              <a:avLst/>
            </a:prstGeom>
            <a:gradFill>
              <a:gsLst>
                <a:gs pos="0">
                  <a:srgbClr val="D59DFF"/>
                </a:gs>
                <a:gs pos="100000">
                  <a:srgbClr val="D59DFF">
                    <a:alpha val="0"/>
                  </a:srgbClr>
                </a:gs>
              </a:gsLst>
              <a:lin ang="2700006" scaled="0"/>
            </a:gra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5" name="Google Shape;305;p29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012335" y="3332929"/>
              <a:ext cx="2177400" cy="1071502"/>
            </a:xfrm>
            <a:prstGeom prst="rect">
              <a:avLst/>
            </a:prstGeom>
            <a:gradFill>
              <a:gsLst>
                <a:gs pos="0">
                  <a:srgbClr val="9477E2"/>
                </a:gs>
                <a:gs pos="2000">
                  <a:srgbClr val="9477E2"/>
                </a:gs>
                <a:gs pos="100000">
                  <a:srgbClr val="8661C5">
                    <a:alpha val="0"/>
                  </a:srgbClr>
                </a:gs>
              </a:gsLst>
              <a:lin ang="2700006" scaled="0"/>
            </a:gra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lvl="0" indent="0" algn="ctr" defTabSz="914400" eaLnBrk="1" fontAlgn="auto" latinLnBrk="0" hangingPunct="1">
                <a:buClrTx/>
                <a:buSzTx/>
                <a:buFontTx/>
                <a:buNone/>
                <a:tabLst/>
              </a:pPr>
              <a:endParaRPr kumimoji="0" sz="800" kern="0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06" name="Google Shape;306;p29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>
            <a:xfrm>
              <a:off x="836471" y="737356"/>
              <a:ext cx="2070300" cy="0"/>
            </a:xfrm>
            <a:prstGeom prst="straightConnector1">
              <a:avLst/>
            </a:prstGeom>
            <a:noFill/>
            <a:ln w="12700" cap="flat" cmpd="sng">
              <a:solidFill>
                <a:srgbClr val="627597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pic>
          <p:nvPicPr>
            <p:cNvPr id="307" name="Google Shape;307;p29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 rotWithShape="1">
            <a:blip r:embed="rId2">
              <a:alphaModFix amt="30000"/>
            </a:blip>
            <a:srcRect/>
            <a:stretch/>
          </p:blipFill>
          <p:spPr>
            <a:xfrm>
              <a:off x="8600267" y="500036"/>
              <a:ext cx="3762369" cy="376236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08" name="Google Shape;308;p29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 rotWithShape="1">
            <a:blip r:embed="rId2">
              <a:alphaModFix amt="30000"/>
            </a:blip>
            <a:srcRect/>
            <a:stretch/>
          </p:blipFill>
          <p:spPr>
            <a:xfrm>
              <a:off x="-3342418" y="2399045"/>
              <a:ext cx="3762369" cy="376236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09" name="Google Shape;309;p29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 rot="10800000">
              <a:off x="407925" y="300"/>
              <a:ext cx="73200" cy="1689600"/>
            </a:xfrm>
            <a:prstGeom prst="rect">
              <a:avLst/>
            </a:prstGeom>
            <a:gradFill>
              <a:gsLst>
                <a:gs pos="0">
                  <a:srgbClr val="D59DFF"/>
                </a:gs>
                <a:gs pos="100000">
                  <a:srgbClr val="28AFEA"/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i="0">
                <a:latin typeface="Helvetica" pitchFamily="2" charset="0"/>
              </a:endParaRPr>
            </a:p>
          </p:txBody>
        </p:sp>
      </p:grpSp>
      <p:sp>
        <p:nvSpPr>
          <p:cNvPr id="311" name="Google Shape;311;p29"/>
          <p:cNvSpPr txBox="1">
            <a:spLocks noGrp="1"/>
          </p:cNvSpPr>
          <p:nvPr>
            <p:ph type="title"/>
          </p:nvPr>
        </p:nvSpPr>
        <p:spPr>
          <a:xfrm>
            <a:off x="804672" y="1033272"/>
            <a:ext cx="2916900" cy="7773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700"/>
              <a:buNone/>
              <a:defRPr sz="1700" b="0" i="0">
                <a:latin typeface="Helvetica" pitchFamily="2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2pPr>
            <a:lvl3pPr lvl="2" rtl="0"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3pPr>
            <a:lvl4pPr lvl="3" rtl="0"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4pPr>
            <a:lvl5pPr lvl="4" rtl="0"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5pPr>
            <a:lvl6pPr lvl="5" rtl="0"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6pPr>
            <a:lvl7pPr lvl="6" rtl="0"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7pPr>
            <a:lvl8pPr lvl="7" rtl="0"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8pPr>
            <a:lvl9pPr lvl="8" rtl="0"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9pPr>
          </a:lstStyle>
          <a:p>
            <a:endParaRPr/>
          </a:p>
        </p:txBody>
      </p:sp>
      <p:sp>
        <p:nvSpPr>
          <p:cNvPr id="310" name="Google Shape;310;p29"/>
          <p:cNvSpPr txBox="1">
            <a:spLocks noGrp="1"/>
          </p:cNvSpPr>
          <p:nvPr>
            <p:ph type="subTitle" idx="1"/>
          </p:nvPr>
        </p:nvSpPr>
        <p:spPr>
          <a:xfrm>
            <a:off x="804672" y="548640"/>
            <a:ext cx="3026700" cy="1554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9pPr>
          </a:lstStyle>
          <a:p>
            <a:endParaRPr/>
          </a:p>
        </p:txBody>
      </p:sp>
      <p:sp>
        <p:nvSpPr>
          <p:cNvPr id="312" name="Google Shape;312;p29"/>
          <p:cNvSpPr txBox="1">
            <a:spLocks noGrp="1"/>
          </p:cNvSpPr>
          <p:nvPr>
            <p:ph type="body" idx="2"/>
          </p:nvPr>
        </p:nvSpPr>
        <p:spPr>
          <a:xfrm>
            <a:off x="804672" y="1892808"/>
            <a:ext cx="2916900" cy="969300"/>
          </a:xfrm>
          <a:prstGeom prst="rect">
            <a:avLst/>
          </a:prstGeom>
        </p:spPr>
        <p:txBody>
          <a:bodyPr spcFirstLastPara="1" vert="horz" wrap="square" lIns="45700" tIns="18275" rIns="45700" bIns="18275" rtlCol="0" anchor="t" anchorCtr="0">
            <a:noAutofit/>
          </a:bodyPr>
          <a:lstStyle>
            <a:lvl1pPr>
              <a:defRPr sz="800" b="0" i="0" dirty="0">
                <a:latin typeface="Helvetica" pitchFamily="2" charset="0"/>
              </a:defRPr>
            </a:lvl1pPr>
            <a:lvl2pPr>
              <a:defRPr lang="en-US" sz="800" dirty="0" smtClean="0"/>
            </a:lvl2pPr>
            <a:lvl3pPr>
              <a:defRPr lang="en-US" sz="800" dirty="0" smtClean="0"/>
            </a:lvl3pPr>
            <a:lvl4pPr>
              <a:defRPr lang="en-US" sz="800" dirty="0" smtClean="0"/>
            </a:lvl4pPr>
            <a:lvl5pPr>
              <a:defRPr lang="en-US" sz="800" dirty="0" smtClean="0"/>
            </a:lvl5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/>
          </a:p>
        </p:txBody>
      </p:sp>
      <p:sp>
        <p:nvSpPr>
          <p:cNvPr id="313" name="Google Shape;313;p29"/>
          <p:cNvSpPr txBox="1">
            <a:spLocks noGrp="1"/>
          </p:cNvSpPr>
          <p:nvPr>
            <p:ph type="title" idx="3"/>
          </p:nvPr>
        </p:nvSpPr>
        <p:spPr>
          <a:xfrm>
            <a:off x="950976" y="3429000"/>
            <a:ext cx="1955796" cy="4023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300"/>
              <a:buNone/>
              <a:defRPr sz="1800" b="1" i="0">
                <a:latin typeface="Helvetica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4" name="Google Shape;314;p29"/>
          <p:cNvSpPr txBox="1">
            <a:spLocks noGrp="1"/>
          </p:cNvSpPr>
          <p:nvPr>
            <p:ph type="body" idx="4"/>
          </p:nvPr>
        </p:nvSpPr>
        <p:spPr>
          <a:xfrm>
            <a:off x="954150" y="3776472"/>
            <a:ext cx="1947600" cy="5028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914400" lvl="1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315" name="Google Shape;315;p29"/>
          <p:cNvSpPr txBox="1">
            <a:spLocks noGrp="1"/>
          </p:cNvSpPr>
          <p:nvPr>
            <p:ph type="title" idx="5"/>
          </p:nvPr>
        </p:nvSpPr>
        <p:spPr>
          <a:xfrm>
            <a:off x="3538728" y="3429000"/>
            <a:ext cx="1955796" cy="4023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300"/>
              <a:buNone/>
              <a:defRPr sz="1800" b="1" i="0">
                <a:latin typeface="Helvetica" pitchFamily="2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6" name="Google Shape;316;p29"/>
          <p:cNvSpPr txBox="1">
            <a:spLocks noGrp="1"/>
          </p:cNvSpPr>
          <p:nvPr>
            <p:ph type="body" idx="6"/>
          </p:nvPr>
        </p:nvSpPr>
        <p:spPr>
          <a:xfrm>
            <a:off x="3538728" y="3776472"/>
            <a:ext cx="1947600" cy="5121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914400" lvl="1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317" name="Google Shape;317;p29"/>
          <p:cNvSpPr txBox="1">
            <a:spLocks noGrp="1"/>
          </p:cNvSpPr>
          <p:nvPr>
            <p:ph type="title" idx="7"/>
          </p:nvPr>
        </p:nvSpPr>
        <p:spPr>
          <a:xfrm>
            <a:off x="6125651" y="3429000"/>
            <a:ext cx="1955796" cy="4023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300"/>
              <a:buNone/>
              <a:defRPr sz="1800" b="1" i="0">
                <a:latin typeface="Helvetica" pitchFamily="2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8" name="Google Shape;318;p29"/>
          <p:cNvSpPr txBox="1">
            <a:spLocks noGrp="1"/>
          </p:cNvSpPr>
          <p:nvPr>
            <p:ph type="body" idx="8"/>
          </p:nvPr>
        </p:nvSpPr>
        <p:spPr>
          <a:xfrm>
            <a:off x="6128825" y="3776472"/>
            <a:ext cx="1947600" cy="5028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914400" lvl="1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302" name="Google Shape;302;p29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5450166" y="4900823"/>
            <a:ext cx="3595800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500" b="0" i="0">
                <a:solidFill>
                  <a:schemeClr val="lt1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‹#›</a:t>
            </a:fld>
            <a:endParaRPr sz="500" b="0" i="0">
              <a:solidFill>
                <a:schemeClr val="lt1"/>
              </a:solidFill>
              <a:latin typeface="Helvetica" pitchFamily="2" charset="0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3" name="Google Shape;67;p15">
            <a:extLst>
              <a:ext uri="{FF2B5EF4-FFF2-40B4-BE49-F238E27FC236}">
                <a16:creationId xmlns:a16="http://schemas.microsoft.com/office/drawing/2014/main" id="{F951439F-0AEE-27E3-AAA7-8861CD7D20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" name="Google Shape;56;p14">
            <a:extLst>
              <a:ext uri="{FF2B5EF4-FFF2-40B4-BE49-F238E27FC236}">
                <a16:creationId xmlns:a16="http://schemas.microsoft.com/office/drawing/2014/main" id="{A4D9178B-30EB-8B35-3C43-8452DFF8C13E}"/>
              </a:ext>
            </a:extLst>
          </p:cNvPr>
          <p:cNvSpPr/>
          <p:nvPr userDrawn="1"/>
        </p:nvSpPr>
        <p:spPr>
          <a:xfrm>
            <a:off x="569084" y="4900823"/>
            <a:ext cx="5054476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 dirty="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5 THINGS YOU CAN DO WITH GITHUB COPILOT</a:t>
            </a:r>
            <a:endParaRPr lang="en-US" sz="500" b="0" i="0" u="none" strike="noStrike" kern="1200" cap="none" spc="600" dirty="0">
              <a:solidFill>
                <a:srgbClr val="627597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76754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Four Feature Percent" preserve="1" userDrawn="1">
  <p:cSld name="Four Feature Percent"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95B19D0-7CD6-23E0-32F2-108F153D8F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31725" y="-3209795"/>
            <a:ext cx="11871978" cy="7766597"/>
            <a:chOff x="407925" y="-3181130"/>
            <a:chExt cx="11871978" cy="7766597"/>
          </a:xfrm>
        </p:grpSpPr>
        <p:cxnSp>
          <p:nvCxnSpPr>
            <p:cNvPr id="327" name="Google Shape;327;p30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>
            <a:xfrm>
              <a:off x="836471" y="737356"/>
              <a:ext cx="2070300" cy="0"/>
            </a:xfrm>
            <a:prstGeom prst="straightConnector1">
              <a:avLst/>
            </a:prstGeom>
            <a:noFill/>
            <a:ln w="12700" cap="flat" cmpd="sng">
              <a:solidFill>
                <a:srgbClr val="627597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5E9D2E6C-9D41-36F5-AE6A-96CFAE3B0E95}"/>
                </a:ext>
              </a:extLst>
            </p:cNvPr>
            <p:cNvGrpSpPr/>
            <p:nvPr userDrawn="1"/>
          </p:nvGrpSpPr>
          <p:grpSpPr>
            <a:xfrm>
              <a:off x="407925" y="-3181130"/>
              <a:ext cx="11871978" cy="7766597"/>
              <a:chOff x="407925" y="-3181130"/>
              <a:chExt cx="11871978" cy="7766597"/>
            </a:xfrm>
          </p:grpSpPr>
          <p:sp>
            <p:nvSpPr>
              <p:cNvPr id="323" name="Google Shape;323;p3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6829683" y="1571805"/>
                <a:ext cx="1085700" cy="1084200"/>
              </a:xfrm>
              <a:prstGeom prst="roundRect">
                <a:avLst>
                  <a:gd name="adj" fmla="val 16667"/>
                </a:avLst>
              </a:prstGeom>
              <a:gradFill>
                <a:gsLst>
                  <a:gs pos="0">
                    <a:srgbClr val="9477E2">
                      <a:alpha val="20000"/>
                    </a:srgbClr>
                  </a:gs>
                  <a:gs pos="2000">
                    <a:srgbClr val="9477E2">
                      <a:alpha val="20000"/>
                    </a:srgbClr>
                  </a:gs>
                  <a:gs pos="100000">
                    <a:srgbClr val="1F9CF0"/>
                  </a:gs>
                </a:gsLst>
                <a:lin ang="18900044" scaled="0"/>
              </a:gra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24" name="Google Shape;324;p3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5892589" y="2758634"/>
                <a:ext cx="814200" cy="813000"/>
              </a:xfrm>
              <a:prstGeom prst="roundRect">
                <a:avLst>
                  <a:gd name="adj" fmla="val 16667"/>
                </a:avLst>
              </a:prstGeom>
              <a:gradFill>
                <a:gsLst>
                  <a:gs pos="0">
                    <a:srgbClr val="19C8EB"/>
                  </a:gs>
                  <a:gs pos="2000">
                    <a:srgbClr val="19C8EB"/>
                  </a:gs>
                  <a:gs pos="100000">
                    <a:srgbClr val="9477E2">
                      <a:alpha val="20000"/>
                    </a:srgbClr>
                  </a:gs>
                </a:gsLst>
                <a:lin ang="18900044" scaled="0"/>
              </a:gra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25" name="Google Shape;325;p3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5078267" y="1029764"/>
                <a:ext cx="1628700" cy="1626000"/>
              </a:xfrm>
              <a:prstGeom prst="roundRect">
                <a:avLst>
                  <a:gd name="adj" fmla="val 16667"/>
                </a:avLst>
              </a:prstGeom>
              <a:gradFill>
                <a:gsLst>
                  <a:gs pos="0">
                    <a:srgbClr val="EC2B8C"/>
                  </a:gs>
                  <a:gs pos="2000">
                    <a:srgbClr val="EC2B8C"/>
                  </a:gs>
                  <a:gs pos="100000">
                    <a:srgbClr val="9477E2">
                      <a:alpha val="20000"/>
                    </a:srgbClr>
                  </a:gs>
                </a:gsLst>
                <a:lin ang="2700006" scaled="0"/>
              </a:gra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26" name="Google Shape;326;p3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6829683" y="2758634"/>
                <a:ext cx="1357200" cy="1355100"/>
              </a:xfrm>
              <a:prstGeom prst="roundRect">
                <a:avLst>
                  <a:gd name="adj" fmla="val 16667"/>
                </a:avLst>
              </a:prstGeom>
              <a:gradFill>
                <a:gsLst>
                  <a:gs pos="0">
                    <a:srgbClr val="9477E2">
                      <a:alpha val="20000"/>
                    </a:srgbClr>
                  </a:gs>
                  <a:gs pos="100000">
                    <a:schemeClr val="accent3"/>
                  </a:gs>
                </a:gsLst>
                <a:lin ang="2700006" scaled="0"/>
              </a:gra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Arial"/>
                  <a:cs typeface="Arial"/>
                  <a:sym typeface="Arial"/>
                </a:endParaRPr>
              </a:p>
            </p:txBody>
          </p:sp>
          <p:cxnSp>
            <p:nvCxnSpPr>
              <p:cNvPr id="328" name="Google Shape;328;p3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/>
            </p:nvCxnSpPr>
            <p:spPr>
              <a:xfrm>
                <a:off x="841229" y="2194917"/>
                <a:ext cx="1521000" cy="8400"/>
              </a:xfrm>
              <a:prstGeom prst="straightConnector1">
                <a:avLst/>
              </a:prstGeom>
              <a:noFill/>
              <a:ln w="12700" cap="flat" cmpd="sng">
                <a:solidFill>
                  <a:srgbClr val="627597">
                    <a:alpha val="49800"/>
                  </a:srgbClr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329" name="Google Shape;329;p3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/>
            </p:nvCxnSpPr>
            <p:spPr>
              <a:xfrm>
                <a:off x="2795550" y="2202778"/>
                <a:ext cx="1521000" cy="8400"/>
              </a:xfrm>
              <a:prstGeom prst="straightConnector1">
                <a:avLst/>
              </a:prstGeom>
              <a:noFill/>
              <a:ln w="12700" cap="flat" cmpd="sng">
                <a:solidFill>
                  <a:srgbClr val="627597">
                    <a:alpha val="49800"/>
                  </a:srgbClr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330" name="Google Shape;330;p3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/>
            </p:nvCxnSpPr>
            <p:spPr>
              <a:xfrm>
                <a:off x="841229" y="3441072"/>
                <a:ext cx="1521000" cy="8400"/>
              </a:xfrm>
              <a:prstGeom prst="straightConnector1">
                <a:avLst/>
              </a:prstGeom>
              <a:noFill/>
              <a:ln w="12700" cap="flat" cmpd="sng">
                <a:solidFill>
                  <a:srgbClr val="627597">
                    <a:alpha val="49800"/>
                  </a:srgbClr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331" name="Google Shape;331;p3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/>
            </p:nvCxnSpPr>
            <p:spPr>
              <a:xfrm>
                <a:off x="2795550" y="3448932"/>
                <a:ext cx="1521000" cy="8400"/>
              </a:xfrm>
              <a:prstGeom prst="straightConnector1">
                <a:avLst/>
              </a:prstGeom>
              <a:noFill/>
              <a:ln w="12700" cap="flat" cmpd="sng">
                <a:solidFill>
                  <a:srgbClr val="627597">
                    <a:alpha val="49800"/>
                  </a:srgbClr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grpSp>
            <p:nvGrpSpPr>
              <p:cNvPr id="332" name="Google Shape;332;p3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GrpSpPr/>
              <p:nvPr/>
            </p:nvGrpSpPr>
            <p:grpSpPr>
              <a:xfrm>
                <a:off x="6293503" y="2234842"/>
                <a:ext cx="940705" cy="938664"/>
                <a:chOff x="6104965" y="2265289"/>
                <a:chExt cx="1855800" cy="1855800"/>
              </a:xfrm>
            </p:grpSpPr>
            <p:sp>
              <p:nvSpPr>
                <p:cNvPr id="333" name="Google Shape;333;p30"/>
                <p:cNvSpPr/>
                <p:nvPr/>
              </p:nvSpPr>
              <p:spPr>
                <a:xfrm>
                  <a:off x="6104965" y="2265289"/>
                  <a:ext cx="1855800" cy="1855800"/>
                </a:xfrm>
                <a:prstGeom prst="ellipse">
                  <a:avLst/>
                </a:prstGeom>
                <a:solidFill>
                  <a:srgbClr val="1F9CF0">
                    <a:alpha val="30980"/>
                  </a:srgbClr>
                </a:solidFill>
                <a:ln>
                  <a:noFill/>
                </a:ln>
              </p:spPr>
              <p:txBody>
                <a:bodyPr spcFirstLastPara="1" wrap="square" lIns="42900" tIns="21450" rIns="42900" bIns="2145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800" b="0" i="0">
                    <a:solidFill>
                      <a:schemeClr val="lt1"/>
                    </a:solidFill>
                    <a:latin typeface="Helvetica" pitchFamily="2" charset="0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4" name="Google Shape;334;p30"/>
                <p:cNvSpPr/>
                <p:nvPr/>
              </p:nvSpPr>
              <p:spPr>
                <a:xfrm>
                  <a:off x="6326459" y="2482124"/>
                  <a:ext cx="1422000" cy="1422000"/>
                </a:xfrm>
                <a:prstGeom prst="ellipse">
                  <a:avLst/>
                </a:prstGeom>
                <a:solidFill>
                  <a:srgbClr val="1F9CF0">
                    <a:alpha val="56860"/>
                  </a:srgbClr>
                </a:solidFill>
                <a:ln>
                  <a:noFill/>
                </a:ln>
                <a:effectLst>
                  <a:outerShdw blurRad="889000" dist="50800" dir="5400000" sx="89000" sy="89000" algn="ctr" rotWithShape="0">
                    <a:srgbClr val="000000">
                      <a:alpha val="48630"/>
                    </a:srgbClr>
                  </a:outerShdw>
                </a:effectLst>
              </p:spPr>
              <p:txBody>
                <a:bodyPr spcFirstLastPara="1" wrap="square" lIns="42900" tIns="21450" rIns="42900" bIns="2145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800" b="0" i="0">
                    <a:solidFill>
                      <a:schemeClr val="lt1"/>
                    </a:solidFill>
                    <a:latin typeface="Helvetica" pitchFamily="2" charset="0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5" name="Google Shape;335;p30"/>
                <p:cNvSpPr/>
                <p:nvPr/>
              </p:nvSpPr>
              <p:spPr>
                <a:xfrm>
                  <a:off x="6566834" y="2724359"/>
                  <a:ext cx="942600" cy="942600"/>
                </a:xfrm>
                <a:prstGeom prst="ellipse">
                  <a:avLst/>
                </a:prstGeom>
                <a:solidFill>
                  <a:srgbClr val="1F9CF0"/>
                </a:solidFill>
                <a:ln>
                  <a:noFill/>
                </a:ln>
              </p:spPr>
              <p:txBody>
                <a:bodyPr spcFirstLastPara="1" wrap="square" lIns="42900" tIns="21450" rIns="42900" bIns="2145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800" b="0" i="0">
                    <a:solidFill>
                      <a:schemeClr val="lt1"/>
                    </a:solidFill>
                    <a:latin typeface="Helvetica" pitchFamily="2" charset="0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pic>
            <p:nvPicPr>
              <p:cNvPr id="336" name="Google Shape;336;p3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 preferRelativeResize="0"/>
              <p:nvPr/>
            </p:nvPicPr>
            <p:blipFill rotWithShape="1">
              <a:blip r:embed="rId2">
                <a:alphaModFix amt="30000"/>
              </a:blip>
              <a:srcRect/>
              <a:stretch/>
            </p:blipFill>
            <p:spPr>
              <a:xfrm>
                <a:off x="5078267" y="-3181130"/>
                <a:ext cx="3762369" cy="3762369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337" name="Google Shape;337;p3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 preferRelativeResize="0"/>
              <p:nvPr/>
            </p:nvPicPr>
            <p:blipFill rotWithShape="1">
              <a:blip r:embed="rId2">
                <a:alphaModFix amt="30000"/>
              </a:blip>
              <a:srcRect/>
              <a:stretch/>
            </p:blipFill>
            <p:spPr>
              <a:xfrm>
                <a:off x="8517534" y="823098"/>
                <a:ext cx="3762369" cy="3762369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338" name="Google Shape;338;p3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 rot="10800000">
                <a:off x="407925" y="350"/>
                <a:ext cx="73200" cy="1925700"/>
              </a:xfrm>
              <a:prstGeom prst="rect">
                <a:avLst/>
              </a:prstGeom>
              <a:gradFill>
                <a:gsLst>
                  <a:gs pos="0">
                    <a:srgbClr val="D59DFF"/>
                  </a:gs>
                  <a:gs pos="100000">
                    <a:srgbClr val="28AFEA"/>
                  </a:gs>
                </a:gsLst>
                <a:lin ang="5400012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b="0" i="0">
                  <a:latin typeface="Helvetica" pitchFamily="2" charset="0"/>
                </a:endParaRPr>
              </a:p>
            </p:txBody>
          </p:sp>
        </p:grpSp>
      </p:grpSp>
      <p:sp>
        <p:nvSpPr>
          <p:cNvPr id="340" name="Google Shape;340;p30"/>
          <p:cNvSpPr txBox="1">
            <a:spLocks noGrp="1"/>
          </p:cNvSpPr>
          <p:nvPr>
            <p:ph type="title"/>
          </p:nvPr>
        </p:nvSpPr>
        <p:spPr>
          <a:xfrm>
            <a:off x="795528" y="932688"/>
            <a:ext cx="3511200" cy="10791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1700"/>
              <a:buNone/>
              <a:defRPr sz="2000" b="0" i="0">
                <a:latin typeface="Helvetica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2pPr>
            <a:lvl3pPr lvl="2"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3pPr>
            <a:lvl4pPr lvl="3"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4pPr>
            <a:lvl5pPr lvl="4"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5pPr>
            <a:lvl6pPr lvl="5"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6pPr>
            <a:lvl7pPr lvl="6"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7pPr>
            <a:lvl8pPr lvl="7"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8pPr>
            <a:lvl9pPr lvl="8"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9pPr>
          </a:lstStyle>
          <a:p>
            <a:endParaRPr/>
          </a:p>
        </p:txBody>
      </p:sp>
      <p:sp>
        <p:nvSpPr>
          <p:cNvPr id="339" name="Google Shape;339;p30"/>
          <p:cNvSpPr txBox="1">
            <a:spLocks noGrp="1"/>
          </p:cNvSpPr>
          <p:nvPr>
            <p:ph type="subTitle" idx="1"/>
          </p:nvPr>
        </p:nvSpPr>
        <p:spPr>
          <a:xfrm>
            <a:off x="804672" y="548640"/>
            <a:ext cx="3026700" cy="1554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529;p35">
            <a:extLst>
              <a:ext uri="{FF2B5EF4-FFF2-40B4-BE49-F238E27FC236}">
                <a16:creationId xmlns:a16="http://schemas.microsoft.com/office/drawing/2014/main" id="{7BC10B83-334E-CA31-E327-359586F238C4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841248" y="2331004"/>
            <a:ext cx="247800" cy="247800"/>
          </a:xfrm>
          <a:prstGeom prst="ellipse">
            <a:avLst/>
          </a:prstGeom>
          <a:noFill/>
          <a:ln>
            <a:noFill/>
          </a:ln>
        </p:spPr>
        <p:txBody>
          <a:bodyPr wrap="square" lIns="0" tIns="0" rIns="0" bIns="0" anchor="ctr"/>
          <a:lstStyle>
            <a:lvl1pPr marL="0" indent="0" algn="ctr">
              <a:buNone/>
              <a:defRPr sz="200"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345" name="Google Shape;345;p30"/>
          <p:cNvSpPr txBox="1">
            <a:spLocks noGrp="1"/>
          </p:cNvSpPr>
          <p:nvPr>
            <p:ph type="body" idx="6"/>
          </p:nvPr>
        </p:nvSpPr>
        <p:spPr>
          <a:xfrm>
            <a:off x="1170432" y="2322934"/>
            <a:ext cx="1302744" cy="1737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1100" b="1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349" name="Google Shape;349;p30"/>
          <p:cNvSpPr txBox="1">
            <a:spLocks noGrp="1"/>
          </p:cNvSpPr>
          <p:nvPr>
            <p:ph type="body" idx="13"/>
          </p:nvPr>
        </p:nvSpPr>
        <p:spPr>
          <a:xfrm>
            <a:off x="1170432" y="2533246"/>
            <a:ext cx="1362600" cy="585300"/>
          </a:xfrm>
          <a:prstGeom prst="rect">
            <a:avLst/>
          </a:prstGeom>
        </p:spPr>
        <p:txBody>
          <a:bodyPr spcFirstLastPara="1" vert="horz" wrap="square" lIns="45700" tIns="18275" rIns="45700" bIns="18275" rtlCol="0" anchor="t" anchorCtr="0">
            <a:noAutofit/>
          </a:bodyPr>
          <a:lstStyle>
            <a:lvl1pPr>
              <a:defRPr sz="800" b="0" i="0" dirty="0">
                <a:latin typeface="Helvetica" pitchFamily="2" charset="0"/>
              </a:defRPr>
            </a:lvl1pPr>
            <a:lvl2pPr>
              <a:defRPr lang="en-US" sz="800" dirty="0" smtClean="0"/>
            </a:lvl2pPr>
            <a:lvl3pPr>
              <a:defRPr lang="en-US" sz="800" dirty="0" smtClean="0"/>
            </a:lvl3pPr>
            <a:lvl4pPr>
              <a:defRPr lang="en-US" sz="800" dirty="0" smtClean="0"/>
            </a:lvl4pPr>
            <a:lvl5pPr>
              <a:defRPr lang="en-US" sz="800" dirty="0" smtClean="0"/>
            </a:lvl5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/>
          </a:p>
        </p:txBody>
      </p:sp>
      <p:sp>
        <p:nvSpPr>
          <p:cNvPr id="46" name="Google Shape;529;p35">
            <a:extLst>
              <a:ext uri="{FF2B5EF4-FFF2-40B4-BE49-F238E27FC236}">
                <a16:creationId xmlns:a16="http://schemas.microsoft.com/office/drawing/2014/main" id="{9E7EC705-9E42-4703-81F6-DF51ACEEDE7E}"/>
              </a:ext>
            </a:extLst>
          </p:cNvPr>
          <p:cNvSpPr>
            <a:spLocks noGrp="1"/>
          </p:cNvSpPr>
          <p:nvPr>
            <p:ph type="pic" idx="26"/>
          </p:nvPr>
        </p:nvSpPr>
        <p:spPr>
          <a:xfrm>
            <a:off x="2795548" y="2331004"/>
            <a:ext cx="247800" cy="247800"/>
          </a:xfrm>
          <a:prstGeom prst="ellipse">
            <a:avLst/>
          </a:prstGeom>
          <a:noFill/>
          <a:ln>
            <a:noFill/>
          </a:ln>
        </p:spPr>
        <p:txBody>
          <a:bodyPr wrap="square" lIns="0" tIns="0" rIns="0" bIns="0" anchor="ctr"/>
          <a:lstStyle>
            <a:lvl1pPr marL="0" indent="0" algn="ctr">
              <a:buNone/>
              <a:defRPr sz="200"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346" name="Google Shape;346;p30"/>
          <p:cNvSpPr txBox="1">
            <a:spLocks noGrp="1"/>
          </p:cNvSpPr>
          <p:nvPr>
            <p:ph type="body" idx="7"/>
          </p:nvPr>
        </p:nvSpPr>
        <p:spPr>
          <a:xfrm>
            <a:off x="3127248" y="2322934"/>
            <a:ext cx="1302744" cy="1737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1100" b="1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352" name="Google Shape;352;p30"/>
          <p:cNvSpPr txBox="1">
            <a:spLocks noGrp="1"/>
          </p:cNvSpPr>
          <p:nvPr>
            <p:ph type="body" idx="16"/>
          </p:nvPr>
        </p:nvSpPr>
        <p:spPr>
          <a:xfrm>
            <a:off x="3127248" y="2524102"/>
            <a:ext cx="1362600" cy="585300"/>
          </a:xfrm>
          <a:prstGeom prst="rect">
            <a:avLst/>
          </a:prstGeom>
        </p:spPr>
        <p:txBody>
          <a:bodyPr spcFirstLastPara="1" vert="horz" wrap="square" lIns="45700" tIns="18275" rIns="45700" bIns="18275" rtlCol="0" anchor="t" anchorCtr="0">
            <a:noAutofit/>
          </a:bodyPr>
          <a:lstStyle>
            <a:lvl1pPr>
              <a:defRPr lang="en-US" sz="800" b="0" i="0" dirty="0">
                <a:latin typeface="Helvetica" pitchFamily="2" charset="0"/>
              </a:defRPr>
            </a:lvl1pPr>
            <a:lvl2pPr>
              <a:defRPr lang="en-US" sz="800" dirty="0" smtClean="0"/>
            </a:lvl2pPr>
            <a:lvl3pPr>
              <a:defRPr lang="en-US" sz="800" dirty="0" smtClean="0"/>
            </a:lvl3pPr>
            <a:lvl4pPr>
              <a:defRPr lang="en-US" sz="800" dirty="0" smtClean="0"/>
            </a:lvl4pPr>
            <a:lvl5pPr>
              <a:defRPr lang="en-US" sz="800" dirty="0" smtClean="0"/>
            </a:lvl5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 lang="en-US"/>
          </a:p>
        </p:txBody>
      </p:sp>
      <p:sp>
        <p:nvSpPr>
          <p:cNvPr id="45" name="Google Shape;529;p35">
            <a:extLst>
              <a:ext uri="{FF2B5EF4-FFF2-40B4-BE49-F238E27FC236}">
                <a16:creationId xmlns:a16="http://schemas.microsoft.com/office/drawing/2014/main" id="{47D20B33-4CCE-6357-77D9-C2A578FB6843}"/>
              </a:ext>
            </a:extLst>
          </p:cNvPr>
          <p:cNvSpPr>
            <a:spLocks noGrp="1"/>
          </p:cNvSpPr>
          <p:nvPr>
            <p:ph type="pic" idx="25"/>
          </p:nvPr>
        </p:nvSpPr>
        <p:spPr>
          <a:xfrm>
            <a:off x="841248" y="3578230"/>
            <a:ext cx="247800" cy="247800"/>
          </a:xfrm>
          <a:prstGeom prst="ellipse">
            <a:avLst/>
          </a:prstGeom>
          <a:noFill/>
          <a:ln>
            <a:noFill/>
          </a:ln>
        </p:spPr>
        <p:txBody>
          <a:bodyPr wrap="square" lIns="0" tIns="0" rIns="0" bIns="0" anchor="ctr"/>
          <a:lstStyle>
            <a:lvl1pPr marL="0" indent="0" algn="ctr">
              <a:buNone/>
              <a:defRPr sz="200"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347" name="Google Shape;347;p30"/>
          <p:cNvSpPr txBox="1">
            <a:spLocks noGrp="1"/>
          </p:cNvSpPr>
          <p:nvPr>
            <p:ph type="body" idx="8"/>
          </p:nvPr>
        </p:nvSpPr>
        <p:spPr>
          <a:xfrm>
            <a:off x="1170432" y="3584806"/>
            <a:ext cx="1302744" cy="1737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1100" b="1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350" name="Google Shape;350;p30"/>
          <p:cNvSpPr txBox="1">
            <a:spLocks noGrp="1"/>
          </p:cNvSpPr>
          <p:nvPr>
            <p:ph type="body" idx="14"/>
          </p:nvPr>
        </p:nvSpPr>
        <p:spPr>
          <a:xfrm>
            <a:off x="1170432" y="3785974"/>
            <a:ext cx="1362600" cy="585300"/>
          </a:xfrm>
          <a:prstGeom prst="rect">
            <a:avLst/>
          </a:prstGeom>
        </p:spPr>
        <p:txBody>
          <a:bodyPr spcFirstLastPara="1" vert="horz" wrap="square" lIns="45700" tIns="18275" rIns="45700" bIns="18275" rtlCol="0" anchor="t" anchorCtr="0">
            <a:noAutofit/>
          </a:bodyPr>
          <a:lstStyle>
            <a:lvl1pPr>
              <a:defRPr lang="en-US" sz="800" b="0" i="0" dirty="0">
                <a:latin typeface="Helvetica" pitchFamily="2" charset="0"/>
              </a:defRPr>
            </a:lvl1pPr>
            <a:lvl2pPr>
              <a:defRPr lang="en-US" sz="800" dirty="0" smtClean="0"/>
            </a:lvl2pPr>
            <a:lvl3pPr>
              <a:defRPr lang="en-US" sz="800" dirty="0" smtClean="0"/>
            </a:lvl3pPr>
            <a:lvl4pPr>
              <a:defRPr lang="en-US" sz="800" dirty="0" smtClean="0"/>
            </a:lvl4pPr>
            <a:lvl5pPr>
              <a:defRPr lang="en-US" sz="800" dirty="0" smtClean="0"/>
            </a:lvl5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 lang="en-US"/>
          </a:p>
        </p:txBody>
      </p:sp>
      <p:sp>
        <p:nvSpPr>
          <p:cNvPr id="47" name="Google Shape;529;p35">
            <a:extLst>
              <a:ext uri="{FF2B5EF4-FFF2-40B4-BE49-F238E27FC236}">
                <a16:creationId xmlns:a16="http://schemas.microsoft.com/office/drawing/2014/main" id="{3BE4CD98-91FB-1B51-5F85-8E6D84A6823C}"/>
              </a:ext>
            </a:extLst>
          </p:cNvPr>
          <p:cNvSpPr>
            <a:spLocks noGrp="1"/>
          </p:cNvSpPr>
          <p:nvPr>
            <p:ph type="pic" idx="27"/>
          </p:nvPr>
        </p:nvSpPr>
        <p:spPr>
          <a:xfrm>
            <a:off x="2795548" y="3578230"/>
            <a:ext cx="247800" cy="247800"/>
          </a:xfrm>
          <a:prstGeom prst="ellipse">
            <a:avLst/>
          </a:prstGeom>
          <a:noFill/>
          <a:ln>
            <a:noFill/>
          </a:ln>
        </p:spPr>
        <p:txBody>
          <a:bodyPr wrap="square" lIns="0" tIns="0" rIns="0" bIns="0" anchor="ctr"/>
          <a:lstStyle>
            <a:lvl1pPr marL="0" indent="0" algn="ctr">
              <a:buNone/>
              <a:defRPr sz="200"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348" name="Google Shape;348;p30"/>
          <p:cNvSpPr txBox="1">
            <a:spLocks noGrp="1"/>
          </p:cNvSpPr>
          <p:nvPr>
            <p:ph type="body" idx="9"/>
          </p:nvPr>
        </p:nvSpPr>
        <p:spPr>
          <a:xfrm>
            <a:off x="3127248" y="3575662"/>
            <a:ext cx="1302744" cy="1737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1100" b="1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351" name="Google Shape;351;p30"/>
          <p:cNvSpPr txBox="1">
            <a:spLocks noGrp="1"/>
          </p:cNvSpPr>
          <p:nvPr>
            <p:ph type="body" idx="15"/>
          </p:nvPr>
        </p:nvSpPr>
        <p:spPr>
          <a:xfrm>
            <a:off x="3127257" y="3785974"/>
            <a:ext cx="1362600" cy="585300"/>
          </a:xfrm>
          <a:prstGeom prst="rect">
            <a:avLst/>
          </a:prstGeom>
        </p:spPr>
        <p:txBody>
          <a:bodyPr spcFirstLastPara="1" vert="horz" wrap="square" lIns="45700" tIns="18275" rIns="45700" bIns="18275" rtlCol="0" anchor="t" anchorCtr="0">
            <a:noAutofit/>
          </a:bodyPr>
          <a:lstStyle>
            <a:lvl1pPr>
              <a:defRPr lang="en-US" sz="800" b="0" i="0" dirty="0">
                <a:latin typeface="Helvetica" pitchFamily="2" charset="0"/>
              </a:defRPr>
            </a:lvl1pPr>
            <a:lvl2pPr>
              <a:defRPr lang="en-US" sz="800" dirty="0" smtClean="0"/>
            </a:lvl2pPr>
            <a:lvl3pPr>
              <a:defRPr lang="en-US" sz="800" dirty="0" smtClean="0"/>
            </a:lvl3pPr>
            <a:lvl4pPr>
              <a:defRPr lang="en-US" sz="800" dirty="0" smtClean="0"/>
            </a:lvl4pPr>
            <a:lvl5pPr>
              <a:defRPr lang="en-US" sz="800" dirty="0" smtClean="0"/>
            </a:lvl5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 lang="en-US"/>
          </a:p>
        </p:txBody>
      </p:sp>
      <p:sp>
        <p:nvSpPr>
          <p:cNvPr id="353" name="Google Shape;353;p30"/>
          <p:cNvSpPr txBox="1">
            <a:spLocks noGrp="1"/>
          </p:cNvSpPr>
          <p:nvPr>
            <p:ph type="title" idx="17"/>
          </p:nvPr>
        </p:nvSpPr>
        <p:spPr>
          <a:xfrm>
            <a:off x="5394960" y="1280160"/>
            <a:ext cx="740700" cy="4299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sp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500"/>
              <a:buNone/>
              <a:defRPr sz="2500" b="1" i="0">
                <a:latin typeface="Helvetica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2pPr>
            <a:lvl3pPr lvl="2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3pPr>
            <a:lvl4pPr lvl="3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4pPr>
            <a:lvl5pPr lvl="4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5pPr>
            <a:lvl6pPr lvl="5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6pPr>
            <a:lvl7pPr lvl="6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7pPr>
            <a:lvl8pPr lvl="7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8pPr>
            <a:lvl9pPr lvl="8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9pPr>
          </a:lstStyle>
          <a:p>
            <a:endParaRPr/>
          </a:p>
        </p:txBody>
      </p:sp>
      <p:sp>
        <p:nvSpPr>
          <p:cNvPr id="354" name="Google Shape;354;p30"/>
          <p:cNvSpPr txBox="1">
            <a:spLocks noGrp="1"/>
          </p:cNvSpPr>
          <p:nvPr>
            <p:ph type="title" idx="18"/>
          </p:nvPr>
        </p:nvSpPr>
        <p:spPr>
          <a:xfrm>
            <a:off x="7251192" y="1755648"/>
            <a:ext cx="521100" cy="3018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sp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1700" b="1" i="0">
                <a:latin typeface="Helvetica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529;p35">
            <a:extLst>
              <a:ext uri="{FF2B5EF4-FFF2-40B4-BE49-F238E27FC236}">
                <a16:creationId xmlns:a16="http://schemas.microsoft.com/office/drawing/2014/main" id="{5ED9FBF0-06E9-FA7C-58B6-99E0ACE40C3F}"/>
              </a:ext>
            </a:extLst>
          </p:cNvPr>
          <p:cNvSpPr>
            <a:spLocks noGrp="1"/>
          </p:cNvSpPr>
          <p:nvPr>
            <p:ph type="pic" idx="28"/>
          </p:nvPr>
        </p:nvSpPr>
        <p:spPr>
          <a:xfrm>
            <a:off x="6601968" y="2542032"/>
            <a:ext cx="329100" cy="329100"/>
          </a:xfrm>
          <a:prstGeom prst="ellipse">
            <a:avLst/>
          </a:prstGeom>
          <a:noFill/>
          <a:ln>
            <a:noFill/>
          </a:ln>
        </p:spPr>
        <p:txBody>
          <a:bodyPr wrap="square" lIns="0" tIns="0" rIns="0" bIns="0" anchor="ctr"/>
          <a:lstStyle>
            <a:lvl1pPr marL="0" indent="0" algn="ctr">
              <a:buNone/>
              <a:defRPr sz="200"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357" name="Google Shape;357;p30"/>
          <p:cNvSpPr txBox="1">
            <a:spLocks noGrp="1"/>
          </p:cNvSpPr>
          <p:nvPr>
            <p:ph type="title" idx="21"/>
          </p:nvPr>
        </p:nvSpPr>
        <p:spPr>
          <a:xfrm>
            <a:off x="5989320" y="3209544"/>
            <a:ext cx="375000" cy="206184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sp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 b="1" i="0">
                <a:latin typeface="Helvetica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6" name="Google Shape;356;p30"/>
          <p:cNvSpPr txBox="1">
            <a:spLocks noGrp="1"/>
          </p:cNvSpPr>
          <p:nvPr>
            <p:ph type="title" idx="20"/>
          </p:nvPr>
        </p:nvSpPr>
        <p:spPr>
          <a:xfrm>
            <a:off x="7360920" y="3493008"/>
            <a:ext cx="630900" cy="3567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sp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 b="1" i="0">
                <a:latin typeface="Helvetica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2" name="Google Shape;322;p30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5450166" y="4900823"/>
            <a:ext cx="3595800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500" b="0" i="0">
                <a:solidFill>
                  <a:schemeClr val="lt1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‹#›</a:t>
            </a:fld>
            <a:endParaRPr sz="500" b="0" i="0">
              <a:solidFill>
                <a:schemeClr val="lt1"/>
              </a:solidFill>
              <a:latin typeface="Helvetica" pitchFamily="2" charset="0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4" name="Google Shape;67;p15">
            <a:extLst>
              <a:ext uri="{FF2B5EF4-FFF2-40B4-BE49-F238E27FC236}">
                <a16:creationId xmlns:a16="http://schemas.microsoft.com/office/drawing/2014/main" id="{CCADF844-AC2A-6431-8A57-63CCE0A5DC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" name="Google Shape;56;p14">
            <a:extLst>
              <a:ext uri="{FF2B5EF4-FFF2-40B4-BE49-F238E27FC236}">
                <a16:creationId xmlns:a16="http://schemas.microsoft.com/office/drawing/2014/main" id="{DDBBE63A-9504-C4B8-18F0-191A120AAF03}"/>
              </a:ext>
            </a:extLst>
          </p:cNvPr>
          <p:cNvSpPr/>
          <p:nvPr userDrawn="1"/>
        </p:nvSpPr>
        <p:spPr>
          <a:xfrm>
            <a:off x="569084" y="4900823"/>
            <a:ext cx="5054476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 dirty="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5 THINGS YOU CAN DO WITH GITHUB COPILOT</a:t>
            </a:r>
            <a:endParaRPr lang="en-US" sz="500" b="0" i="0" u="none" strike="noStrike" kern="1200" cap="none" spc="600" dirty="0">
              <a:solidFill>
                <a:srgbClr val="627597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2242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" preserve="1">
  <p:cSld name="Cover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1"/>
            <a:ext cx="9144000" cy="5143500"/>
          </a:xfrm>
          <a:prstGeom prst="rect">
            <a:avLst/>
          </a:prstGeom>
          <a:gradFill>
            <a:gsLst>
              <a:gs pos="0">
                <a:srgbClr val="161828"/>
              </a:gs>
              <a:gs pos="15000">
                <a:srgbClr val="161828"/>
              </a:gs>
              <a:gs pos="67000">
                <a:srgbClr val="1B1D30">
                  <a:alpha val="57647"/>
                </a:srgbClr>
              </a:gs>
              <a:gs pos="100000">
                <a:srgbClr val="2E3252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42900" tIns="21450" rIns="42900" bIns="214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 b="0" i="0" u="none" strike="noStrike" cap="none">
              <a:solidFill>
                <a:schemeClr val="lt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cxnSp>
        <p:nvCxnSpPr>
          <p:cNvPr id="3" name="Google Shape;67;p15">
            <a:extLst>
              <a:ext uri="{FF2B5EF4-FFF2-40B4-BE49-F238E27FC236}">
                <a16:creationId xmlns:a16="http://schemas.microsoft.com/office/drawing/2014/main" id="{D8874C25-5611-323B-E5C1-3C40189AAC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" name="Google Shape;74;p15"/>
          <p:cNvSpPr txBox="1">
            <a:spLocks noGrp="1"/>
          </p:cNvSpPr>
          <p:nvPr>
            <p:ph type="title"/>
          </p:nvPr>
        </p:nvSpPr>
        <p:spPr>
          <a:xfrm>
            <a:off x="612650" y="548650"/>
            <a:ext cx="4230900" cy="2358600"/>
          </a:xfrm>
          <a:prstGeom prst="rect">
            <a:avLst/>
          </a:prstGeom>
        </p:spPr>
        <p:txBody>
          <a:bodyPr spcFirstLastPara="1" wrap="square" lIns="0" tIns="18275" rIns="45700" bIns="1827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5400"/>
              <a:buNone/>
              <a:defRPr sz="5400" b="1" i="0">
                <a:latin typeface="Helvetica" pitchFamily="2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1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0800000">
            <a:off x="406475" y="0"/>
            <a:ext cx="73200" cy="2649900"/>
          </a:xfrm>
          <a:prstGeom prst="rect">
            <a:avLst/>
          </a:prstGeom>
          <a:gradFill>
            <a:gsLst>
              <a:gs pos="0">
                <a:srgbClr val="D59DFF"/>
              </a:gs>
              <a:gs pos="100000">
                <a:srgbClr val="28AFEA"/>
              </a:gs>
            </a:gsLst>
            <a:lin ang="5400012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0" i="0">
              <a:latin typeface="Helvetica" pitchFamily="2" charset="0"/>
            </a:endParaRPr>
          </a:p>
        </p:txBody>
      </p:sp>
      <p:sp>
        <p:nvSpPr>
          <p:cNvPr id="75" name="Google Shape;75;p15"/>
          <p:cNvSpPr txBox="1">
            <a:spLocks noGrp="1"/>
          </p:cNvSpPr>
          <p:nvPr>
            <p:ph type="body" idx="1"/>
          </p:nvPr>
        </p:nvSpPr>
        <p:spPr>
          <a:xfrm>
            <a:off x="612650" y="3072375"/>
            <a:ext cx="4230900" cy="1226100"/>
          </a:xfrm>
          <a:prstGeom prst="rect">
            <a:avLst/>
          </a:prstGeom>
        </p:spPr>
        <p:txBody>
          <a:bodyPr spcFirstLastPara="1" wrap="square" lIns="0" tIns="18275" rIns="45700" bIns="18275" anchor="t" anchorCtr="0">
            <a:noAutofit/>
          </a:bodyPr>
          <a:lstStyle>
            <a:lvl1pPr marL="0" lvl="0" indent="0">
              <a:spcBef>
                <a:spcPts val="0"/>
              </a:spcBef>
              <a:spcAft>
                <a:spcPts val="0"/>
              </a:spcAft>
              <a:buSzPts val="1000"/>
              <a:buNone/>
              <a:defRPr b="0" i="0">
                <a:latin typeface="Helvetica" pitchFamily="2" charset="0"/>
              </a:defRPr>
            </a:lvl1pPr>
            <a:lvl2pPr marL="914400" lvl="1" indent="-292100">
              <a:spcBef>
                <a:spcPts val="0"/>
              </a:spcBef>
              <a:spcAft>
                <a:spcPts val="0"/>
              </a:spcAft>
              <a:buSzPts val="1000"/>
              <a:buChar char="○"/>
              <a:defRPr/>
            </a:lvl2pPr>
            <a:lvl3pPr marL="1371600" lvl="2" indent="-292100">
              <a:spcBef>
                <a:spcPts val="0"/>
              </a:spcBef>
              <a:spcAft>
                <a:spcPts val="0"/>
              </a:spcAft>
              <a:buSzPts val="1000"/>
              <a:buChar char="■"/>
              <a:defRPr/>
            </a:lvl3pPr>
            <a:lvl4pPr marL="1828800" lvl="3" indent="-292100">
              <a:spcBef>
                <a:spcPts val="0"/>
              </a:spcBef>
              <a:spcAft>
                <a:spcPts val="0"/>
              </a:spcAft>
              <a:buSzPts val="1000"/>
              <a:buChar char="●"/>
              <a:defRPr/>
            </a:lvl4pPr>
            <a:lvl5pPr marL="2286000" lvl="4" indent="-292100">
              <a:spcBef>
                <a:spcPts val="0"/>
              </a:spcBef>
              <a:spcAft>
                <a:spcPts val="0"/>
              </a:spcAft>
              <a:buSzPts val="1000"/>
              <a:buChar char="○"/>
              <a:defRPr/>
            </a:lvl5pPr>
            <a:lvl6pPr marL="2743200" lvl="5" indent="-292100">
              <a:spcBef>
                <a:spcPts val="0"/>
              </a:spcBef>
              <a:spcAft>
                <a:spcPts val="0"/>
              </a:spcAft>
              <a:buSzPts val="1000"/>
              <a:buChar char="■"/>
              <a:defRPr/>
            </a:lvl6pPr>
            <a:lvl7pPr marL="3200400" lvl="6" indent="-292100">
              <a:spcBef>
                <a:spcPts val="0"/>
              </a:spcBef>
              <a:spcAft>
                <a:spcPts val="0"/>
              </a:spcAft>
              <a:buSzPts val="1000"/>
              <a:buChar char="●"/>
              <a:defRPr/>
            </a:lvl7pPr>
            <a:lvl8pPr marL="3657600" lvl="7" indent="-292100">
              <a:spcBef>
                <a:spcPts val="0"/>
              </a:spcBef>
              <a:spcAft>
                <a:spcPts val="0"/>
              </a:spcAft>
              <a:buSzPts val="1000"/>
              <a:buChar char="○"/>
              <a:defRPr/>
            </a:lvl8pPr>
            <a:lvl9pPr marL="4114800" lvl="8" indent="-292100">
              <a:spcBef>
                <a:spcPts val="0"/>
              </a:spcBef>
              <a:spcAft>
                <a:spcPts val="0"/>
              </a:spcAft>
              <a:buSzPts val="1000"/>
              <a:buChar char="■"/>
              <a:defRPr/>
            </a:lvl9pPr>
          </a:lstStyle>
          <a:p>
            <a:endParaRPr/>
          </a:p>
        </p:txBody>
      </p:sp>
      <p:pic>
        <p:nvPicPr>
          <p:cNvPr id="70" name="Google Shape;70;p1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2">
            <a:alphaModFix amt="30000"/>
          </a:blip>
          <a:srcRect/>
          <a:stretch/>
        </p:blipFill>
        <p:spPr>
          <a:xfrm>
            <a:off x="5243696" y="639540"/>
            <a:ext cx="3762369" cy="3762369"/>
          </a:xfrm>
          <a:prstGeom prst="rect">
            <a:avLst/>
          </a:prstGeom>
          <a:noFill/>
          <a:ln>
            <a:noFill/>
          </a:ln>
        </p:spPr>
      </p:pic>
      <p:pic>
        <p:nvPicPr>
          <p:cNvPr id="72" name="Google Shape;72;p1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12915" r="21622"/>
          <a:stretch/>
        </p:blipFill>
        <p:spPr>
          <a:xfrm>
            <a:off x="5004560" y="0"/>
            <a:ext cx="4139444" cy="5143496"/>
          </a:xfrm>
          <a:prstGeom prst="rect">
            <a:avLst/>
          </a:prstGeom>
          <a:noFill/>
          <a:ln>
            <a:noFill/>
          </a:ln>
        </p:spPr>
      </p:pic>
      <p:sp>
        <p:nvSpPr>
          <p:cNvPr id="71" name="Google Shape;71;p1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450166" y="4900823"/>
            <a:ext cx="3595800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500" b="0" i="0" u="none" strike="noStrike" cap="none">
                <a:solidFill>
                  <a:schemeClr val="lt1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1</a:t>
            </a:r>
            <a:endParaRPr sz="700" b="0" i="0">
              <a:latin typeface="Helvetica" pitchFamily="2" charset="0"/>
            </a:endParaRPr>
          </a:p>
        </p:txBody>
      </p:sp>
      <p:sp>
        <p:nvSpPr>
          <p:cNvPr id="69" name="Google Shape;69;p1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450166" y="4900823"/>
            <a:ext cx="3595800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500" b="0" i="0" u="none" strike="noStrike" cap="none">
                <a:solidFill>
                  <a:schemeClr val="lt1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‹#›</a:t>
            </a:fld>
            <a:endParaRPr sz="500" b="0" i="0" u="none" strike="noStrike" cap="none">
              <a:solidFill>
                <a:schemeClr val="lt1"/>
              </a:solidFill>
              <a:latin typeface="Helvetica" pitchFamily="2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4" name="Google Shape;56;p14">
            <a:extLst>
              <a:ext uri="{FF2B5EF4-FFF2-40B4-BE49-F238E27FC236}">
                <a16:creationId xmlns:a16="http://schemas.microsoft.com/office/drawing/2014/main" id="{C1A0999D-C387-2BCD-D277-3334818CA1DD}"/>
              </a:ext>
            </a:extLst>
          </p:cNvPr>
          <p:cNvSpPr/>
          <p:nvPr userDrawn="1"/>
        </p:nvSpPr>
        <p:spPr>
          <a:xfrm>
            <a:off x="569084" y="4900823"/>
            <a:ext cx="5054476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 dirty="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5 THINGS YOU CAN DO WITH GITHUB COPILOT</a:t>
            </a:r>
            <a:endParaRPr lang="en-US" sz="500" b="0" i="0" u="none" strike="noStrike" kern="1200" cap="none" spc="600" dirty="0">
              <a:solidFill>
                <a:srgbClr val="627597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5652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hree Photo Features" preserve="1" userDrawn="1">
  <p:cSld name="Three Photo Features">
    <p:spTree>
      <p:nvGrpSpPr>
        <p:cNvPr id="1" name="Shape 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87E2A12B-1511-1ED8-9CEB-D63E1BD3A3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2989394" y="613302"/>
            <a:ext cx="15116965" cy="3916806"/>
            <a:chOff x="-2989394" y="613302"/>
            <a:chExt cx="15116965" cy="3916806"/>
          </a:xfrm>
        </p:grpSpPr>
        <p:cxnSp>
          <p:nvCxnSpPr>
            <p:cNvPr id="362" name="Google Shape;362;p31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>
            <a:xfrm>
              <a:off x="3536833" y="613302"/>
              <a:ext cx="2070300" cy="0"/>
            </a:xfrm>
            <a:prstGeom prst="straightConnector1">
              <a:avLst/>
            </a:prstGeom>
            <a:noFill/>
            <a:ln w="12700" cap="flat" cmpd="sng">
              <a:solidFill>
                <a:srgbClr val="627597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363" name="Google Shape;363;p31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73666" y="4462608"/>
              <a:ext cx="2331900" cy="67500"/>
            </a:xfrm>
            <a:prstGeom prst="rect">
              <a:avLst/>
            </a:prstGeom>
            <a:gradFill>
              <a:gsLst>
                <a:gs pos="0">
                  <a:srgbClr val="EC2B8C"/>
                </a:gs>
                <a:gs pos="2000">
                  <a:srgbClr val="EC2B8C"/>
                </a:gs>
                <a:gs pos="99000">
                  <a:srgbClr val="9477E2"/>
                </a:gs>
                <a:gs pos="100000">
                  <a:srgbClr val="9477E2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" name="Google Shape;364;p31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406048" y="4462506"/>
              <a:ext cx="2331900" cy="67500"/>
            </a:xfrm>
            <a:prstGeom prst="rect">
              <a:avLst/>
            </a:prstGeom>
            <a:gradFill>
              <a:gsLst>
                <a:gs pos="0">
                  <a:srgbClr val="9477E2"/>
                </a:gs>
                <a:gs pos="100000">
                  <a:srgbClr val="5C30D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lvl="0" indent="0" algn="ctr" defTabSz="914400" eaLnBrk="1" fontAlgn="auto" latinLnBrk="0" hangingPunct="1">
                <a:buClrTx/>
                <a:buSzTx/>
                <a:buFontTx/>
                <a:buNone/>
                <a:tabLst/>
              </a:pPr>
              <a:endParaRPr kumimoji="0" sz="800" kern="0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Google Shape;365;p31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838427" y="4462507"/>
              <a:ext cx="2331900" cy="67500"/>
            </a:xfrm>
            <a:prstGeom prst="rect">
              <a:avLst/>
            </a:prstGeom>
            <a:gradFill>
              <a:gsLst>
                <a:gs pos="0">
                  <a:schemeClr val="accent3"/>
                </a:gs>
                <a:gs pos="100000">
                  <a:srgbClr val="0070C0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66" name="Google Shape;366;p31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 rotWithShape="1">
            <a:blip r:embed="rId2">
              <a:alphaModFix amt="30000"/>
            </a:blip>
            <a:srcRect/>
            <a:stretch/>
          </p:blipFill>
          <p:spPr>
            <a:xfrm>
              <a:off x="8365202" y="621803"/>
              <a:ext cx="3762369" cy="376236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67" name="Google Shape;367;p31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 rotWithShape="1">
            <a:blip r:embed="rId2">
              <a:alphaModFix amt="30000"/>
            </a:blip>
            <a:srcRect/>
            <a:stretch/>
          </p:blipFill>
          <p:spPr>
            <a:xfrm>
              <a:off x="-2989394" y="621803"/>
              <a:ext cx="3762369" cy="3762369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69" name="Google Shape;369;p31"/>
          <p:cNvSpPr txBox="1">
            <a:spLocks noGrp="1"/>
          </p:cNvSpPr>
          <p:nvPr>
            <p:ph type="title"/>
          </p:nvPr>
        </p:nvSpPr>
        <p:spPr>
          <a:xfrm>
            <a:off x="969264" y="841248"/>
            <a:ext cx="7196400" cy="4206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400"/>
              <a:buNone/>
              <a:defRPr b="1" i="0">
                <a:latin typeface="Helvetica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8" name="Google Shape;368;p31"/>
          <p:cNvSpPr txBox="1">
            <a:spLocks noGrp="1"/>
          </p:cNvSpPr>
          <p:nvPr>
            <p:ph type="subTitle" idx="1"/>
          </p:nvPr>
        </p:nvSpPr>
        <p:spPr>
          <a:xfrm>
            <a:off x="3063240" y="429768"/>
            <a:ext cx="3026700" cy="1554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9pPr>
          </a:lstStyle>
          <a:p>
            <a:endParaRPr/>
          </a:p>
        </p:txBody>
      </p:sp>
      <p:sp>
        <p:nvSpPr>
          <p:cNvPr id="370" name="Google Shape;370;p31"/>
          <p:cNvSpPr>
            <a:spLocks noGrp="1"/>
          </p:cNvSpPr>
          <p:nvPr>
            <p:ph type="pic" idx="2"/>
          </p:nvPr>
        </p:nvSpPr>
        <p:spPr>
          <a:xfrm>
            <a:off x="960120" y="1572768"/>
            <a:ext cx="2349900" cy="1490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373" name="Google Shape;373;p31"/>
          <p:cNvSpPr txBox="1">
            <a:spLocks noGrp="1"/>
          </p:cNvSpPr>
          <p:nvPr>
            <p:ph type="body" idx="5"/>
          </p:nvPr>
        </p:nvSpPr>
        <p:spPr>
          <a:xfrm>
            <a:off x="1291166" y="3191256"/>
            <a:ext cx="1701416" cy="2196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 b="1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984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  <p:sp>
        <p:nvSpPr>
          <p:cNvPr id="374" name="Google Shape;374;p31"/>
          <p:cNvSpPr txBox="1">
            <a:spLocks noGrp="1"/>
          </p:cNvSpPr>
          <p:nvPr>
            <p:ph type="body" idx="6"/>
          </p:nvPr>
        </p:nvSpPr>
        <p:spPr>
          <a:xfrm>
            <a:off x="1115568" y="3447288"/>
            <a:ext cx="2048400" cy="8133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914400" lvl="1" indent="-279400" algn="ctr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algn="ctr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algn="ctr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algn="ctr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algn="ctr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algn="ctr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algn="ctr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algn="ctr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22" name="Google Shape;370;p31">
            <a:extLst>
              <a:ext uri="{FF2B5EF4-FFF2-40B4-BE49-F238E27FC236}">
                <a16:creationId xmlns:a16="http://schemas.microsoft.com/office/drawing/2014/main" id="{26B93829-5EF5-CA41-B05B-10A28F1A387C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3401568" y="1572768"/>
            <a:ext cx="2349900" cy="1490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375" name="Google Shape;375;p31"/>
          <p:cNvSpPr txBox="1">
            <a:spLocks noGrp="1"/>
          </p:cNvSpPr>
          <p:nvPr>
            <p:ph type="body" idx="7"/>
          </p:nvPr>
        </p:nvSpPr>
        <p:spPr>
          <a:xfrm>
            <a:off x="3692208" y="3187023"/>
            <a:ext cx="1757958" cy="2196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 b="1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  <p:sp>
        <p:nvSpPr>
          <p:cNvPr id="376" name="Google Shape;376;p31"/>
          <p:cNvSpPr txBox="1">
            <a:spLocks noGrp="1"/>
          </p:cNvSpPr>
          <p:nvPr>
            <p:ph type="body" idx="8"/>
          </p:nvPr>
        </p:nvSpPr>
        <p:spPr>
          <a:xfrm>
            <a:off x="3544881" y="3447288"/>
            <a:ext cx="2048400" cy="8133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914400" lvl="1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23" name="Google Shape;370;p31">
            <a:extLst>
              <a:ext uri="{FF2B5EF4-FFF2-40B4-BE49-F238E27FC236}">
                <a16:creationId xmlns:a16="http://schemas.microsoft.com/office/drawing/2014/main" id="{1487CB7F-B5A7-BD46-92B5-05371B90E3A6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833872" y="1572768"/>
            <a:ext cx="2349900" cy="1490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377" name="Google Shape;377;p31"/>
          <p:cNvSpPr txBox="1">
            <a:spLocks noGrp="1"/>
          </p:cNvSpPr>
          <p:nvPr>
            <p:ph type="body" idx="9"/>
          </p:nvPr>
        </p:nvSpPr>
        <p:spPr>
          <a:xfrm>
            <a:off x="5984388" y="3182112"/>
            <a:ext cx="2044188" cy="2196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 b="1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  <p:sp>
        <p:nvSpPr>
          <p:cNvPr id="378" name="Google Shape;378;p31"/>
          <p:cNvSpPr txBox="1">
            <a:spLocks noGrp="1"/>
          </p:cNvSpPr>
          <p:nvPr>
            <p:ph type="body" idx="13"/>
          </p:nvPr>
        </p:nvSpPr>
        <p:spPr>
          <a:xfrm>
            <a:off x="5980176" y="3438144"/>
            <a:ext cx="2048400" cy="8133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914400" lvl="1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24" name="Google Shape;268;p27">
            <a:extLst>
              <a:ext uri="{FF2B5EF4-FFF2-40B4-BE49-F238E27FC236}">
                <a16:creationId xmlns:a16="http://schemas.microsoft.com/office/drawing/2014/main" id="{F8758C0D-7D77-1D4E-AAC0-350EE46A5A6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 userDrawn="1"/>
        </p:nvSpPr>
        <p:spPr>
          <a:xfrm>
            <a:off x="5450166" y="4900823"/>
            <a:ext cx="3595800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500" b="0" i="0">
                <a:solidFill>
                  <a:schemeClr val="lt1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‹#›</a:t>
            </a:fld>
            <a:endParaRPr sz="500" b="0" i="0">
              <a:solidFill>
                <a:schemeClr val="lt1"/>
              </a:solidFill>
              <a:latin typeface="Helvetica" pitchFamily="2" charset="0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3" name="Google Shape;67;p15">
            <a:extLst>
              <a:ext uri="{FF2B5EF4-FFF2-40B4-BE49-F238E27FC236}">
                <a16:creationId xmlns:a16="http://schemas.microsoft.com/office/drawing/2014/main" id="{2E814E9B-AD28-7D38-5D30-AB2C1FFFFE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" name="Google Shape;56;p14">
            <a:extLst>
              <a:ext uri="{FF2B5EF4-FFF2-40B4-BE49-F238E27FC236}">
                <a16:creationId xmlns:a16="http://schemas.microsoft.com/office/drawing/2014/main" id="{07505CAA-47F5-E8FD-7862-DFC5015FBB3D}"/>
              </a:ext>
            </a:extLst>
          </p:cNvPr>
          <p:cNvSpPr/>
          <p:nvPr userDrawn="1"/>
        </p:nvSpPr>
        <p:spPr>
          <a:xfrm>
            <a:off x="569084" y="4900823"/>
            <a:ext cx="5054476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 dirty="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5 THINGS YOU CAN DO WITH GITHUB COPILOT</a:t>
            </a:r>
            <a:endParaRPr lang="en-US" sz="500" b="0" i="0" u="none" strike="noStrike" kern="1200" cap="none" spc="600" dirty="0">
              <a:solidFill>
                <a:srgbClr val="627597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37621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Five Bars" preserve="1" userDrawn="1">
  <p:cSld name="Five Bars">
    <p:spTree>
      <p:nvGrpSpPr>
        <p:cNvPr id="1" name="Shape 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37A0049F-C128-6C1E-65AC-EACAE4F199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407925" y="275"/>
            <a:ext cx="9375704" cy="4646857"/>
            <a:chOff x="407925" y="275"/>
            <a:chExt cx="9375704" cy="4646857"/>
          </a:xfrm>
        </p:grpSpPr>
        <p:pic>
          <p:nvPicPr>
            <p:cNvPr id="383" name="Google Shape;383;p32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 rotWithShape="1">
            <a:blip r:embed="rId2">
              <a:alphaModFix amt="30000"/>
            </a:blip>
            <a:srcRect/>
            <a:stretch/>
          </p:blipFill>
          <p:spPr>
            <a:xfrm>
              <a:off x="6021260" y="692404"/>
              <a:ext cx="3762369" cy="376236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84" name="Google Shape;384;p32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742146" y="439574"/>
              <a:ext cx="3149100" cy="501000"/>
            </a:xfrm>
            <a:prstGeom prst="roundRect">
              <a:avLst>
                <a:gd name="adj" fmla="val 50000"/>
              </a:avLst>
            </a:prstGeom>
            <a:solidFill>
              <a:srgbClr val="1F9CF0"/>
            </a:soli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385" name="Google Shape;385;p32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3496129" y="195577"/>
              <a:ext cx="987842" cy="986358"/>
              <a:chOff x="6104965" y="2265289"/>
              <a:chExt cx="1855800" cy="1855800"/>
            </a:xfrm>
          </p:grpSpPr>
          <p:sp>
            <p:nvSpPr>
              <p:cNvPr id="386" name="Google Shape;386;p32"/>
              <p:cNvSpPr/>
              <p:nvPr/>
            </p:nvSpPr>
            <p:spPr>
              <a:xfrm>
                <a:off x="6104965" y="2265289"/>
                <a:ext cx="1855800" cy="1855800"/>
              </a:xfrm>
              <a:prstGeom prst="ellipse">
                <a:avLst/>
              </a:prstGeom>
              <a:solidFill>
                <a:srgbClr val="1F9CF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87" name="Google Shape;387;p32"/>
              <p:cNvSpPr/>
              <p:nvPr/>
            </p:nvSpPr>
            <p:spPr>
              <a:xfrm>
                <a:off x="6326458" y="2482124"/>
                <a:ext cx="1422000" cy="1422000"/>
              </a:xfrm>
              <a:prstGeom prst="ellipse">
                <a:avLst/>
              </a:prstGeom>
              <a:solidFill>
                <a:srgbClr val="1F9CF0">
                  <a:alpha val="49800"/>
                </a:srgbClr>
              </a:solidFill>
              <a:ln>
                <a:noFill/>
              </a:ln>
              <a:effectLst>
                <a:outerShdw blurRad="889000" dist="50800" dir="5400000" sx="89000" sy="89000" algn="ctr" rotWithShape="0">
                  <a:srgbClr val="000000">
                    <a:alpha val="48630"/>
                  </a:srgbClr>
                </a:outerShdw>
              </a:effectLst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88" name="Google Shape;388;p32"/>
              <p:cNvSpPr/>
              <p:nvPr/>
            </p:nvSpPr>
            <p:spPr>
              <a:xfrm>
                <a:off x="6566834" y="2724359"/>
                <a:ext cx="942600" cy="942600"/>
              </a:xfrm>
              <a:prstGeom prst="ellipse">
                <a:avLst/>
              </a:prstGeom>
              <a:solidFill>
                <a:srgbClr val="1F9CF0"/>
              </a:soli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89" name="Google Shape;389;p32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469544" y="1304571"/>
              <a:ext cx="3149100" cy="501000"/>
            </a:xfrm>
            <a:prstGeom prst="roundRect">
              <a:avLst>
                <a:gd name="adj" fmla="val 50000"/>
              </a:avLst>
            </a:prstGeom>
            <a:solidFill>
              <a:srgbClr val="007ACC"/>
            </a:soli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390" name="Google Shape;390;p32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4223528" y="1061877"/>
              <a:ext cx="987842" cy="986358"/>
              <a:chOff x="6104965" y="2265289"/>
              <a:chExt cx="1855800" cy="1855800"/>
            </a:xfrm>
          </p:grpSpPr>
          <p:sp>
            <p:nvSpPr>
              <p:cNvPr id="391" name="Google Shape;391;p32"/>
              <p:cNvSpPr/>
              <p:nvPr/>
            </p:nvSpPr>
            <p:spPr>
              <a:xfrm>
                <a:off x="6104965" y="2265289"/>
                <a:ext cx="1855800" cy="1855800"/>
              </a:xfrm>
              <a:prstGeom prst="ellipse">
                <a:avLst/>
              </a:prstGeom>
              <a:solidFill>
                <a:srgbClr val="007ACC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2" name="Google Shape;392;p32"/>
              <p:cNvSpPr/>
              <p:nvPr/>
            </p:nvSpPr>
            <p:spPr>
              <a:xfrm>
                <a:off x="6326458" y="2482124"/>
                <a:ext cx="1422000" cy="1422000"/>
              </a:xfrm>
              <a:prstGeom prst="ellipse">
                <a:avLst/>
              </a:prstGeom>
              <a:solidFill>
                <a:srgbClr val="007ACC">
                  <a:alpha val="49800"/>
                </a:srgbClr>
              </a:solidFill>
              <a:ln>
                <a:noFill/>
              </a:ln>
              <a:effectLst>
                <a:outerShdw blurRad="889000" dist="50800" dir="5400000" sx="89000" sy="89000" algn="ctr" rotWithShape="0">
                  <a:srgbClr val="000000">
                    <a:alpha val="48630"/>
                  </a:srgbClr>
                </a:outerShdw>
              </a:effectLst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3" name="Google Shape;393;p32"/>
              <p:cNvSpPr/>
              <p:nvPr/>
            </p:nvSpPr>
            <p:spPr>
              <a:xfrm>
                <a:off x="6566834" y="2724359"/>
                <a:ext cx="942600" cy="942600"/>
              </a:xfrm>
              <a:prstGeom prst="ellipse">
                <a:avLst/>
              </a:prstGeom>
              <a:solidFill>
                <a:srgbClr val="007ACC"/>
              </a:soli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94" name="Google Shape;394;p32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469544" y="3037169"/>
              <a:ext cx="3149100" cy="501000"/>
            </a:xfrm>
            <a:prstGeom prst="roundRect">
              <a:avLst>
                <a:gd name="adj" fmla="val 50000"/>
              </a:avLst>
            </a:prstGeom>
            <a:solidFill>
              <a:srgbClr val="8661C5"/>
            </a:soli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395" name="Google Shape;395;p32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4223528" y="2794475"/>
              <a:ext cx="987842" cy="986358"/>
              <a:chOff x="6104965" y="2265289"/>
              <a:chExt cx="1855800" cy="1855800"/>
            </a:xfrm>
          </p:grpSpPr>
          <p:sp>
            <p:nvSpPr>
              <p:cNvPr id="396" name="Google Shape;396;p32"/>
              <p:cNvSpPr/>
              <p:nvPr/>
            </p:nvSpPr>
            <p:spPr>
              <a:xfrm>
                <a:off x="6104965" y="2265289"/>
                <a:ext cx="1855800" cy="1855800"/>
              </a:xfrm>
              <a:prstGeom prst="ellipse">
                <a:avLst/>
              </a:prstGeom>
              <a:solidFill>
                <a:srgbClr val="8661C5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7" name="Google Shape;397;p32"/>
              <p:cNvSpPr/>
              <p:nvPr/>
            </p:nvSpPr>
            <p:spPr>
              <a:xfrm>
                <a:off x="6326458" y="2482124"/>
                <a:ext cx="1422000" cy="1422000"/>
              </a:xfrm>
              <a:prstGeom prst="ellipse">
                <a:avLst/>
              </a:prstGeom>
              <a:solidFill>
                <a:srgbClr val="8661C5">
                  <a:alpha val="49800"/>
                </a:srgbClr>
              </a:solidFill>
              <a:ln>
                <a:noFill/>
              </a:ln>
              <a:effectLst>
                <a:outerShdw blurRad="889000" dist="50800" dir="5400000" sx="89000" sy="89000" algn="ctr" rotWithShape="0">
                  <a:srgbClr val="000000">
                    <a:alpha val="48630"/>
                  </a:srgbClr>
                </a:outerShdw>
              </a:effectLst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8" name="Google Shape;398;p32"/>
              <p:cNvSpPr/>
              <p:nvPr/>
            </p:nvSpPr>
            <p:spPr>
              <a:xfrm>
                <a:off x="6566834" y="2724359"/>
                <a:ext cx="942600" cy="942600"/>
              </a:xfrm>
              <a:prstGeom prst="ellipse">
                <a:avLst/>
              </a:prstGeom>
              <a:solidFill>
                <a:srgbClr val="8661C5"/>
              </a:soli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99" name="Google Shape;399;p32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742146" y="3903468"/>
              <a:ext cx="3149100" cy="501000"/>
            </a:xfrm>
            <a:prstGeom prst="roundRect">
              <a:avLst>
                <a:gd name="adj" fmla="val 50000"/>
              </a:avLst>
            </a:prstGeom>
            <a:solidFill>
              <a:srgbClr val="352559"/>
            </a:soli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00" name="Google Shape;400;p32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3496129" y="3660774"/>
              <a:ext cx="987842" cy="986358"/>
              <a:chOff x="6104965" y="2265289"/>
              <a:chExt cx="1855800" cy="1855800"/>
            </a:xfrm>
          </p:grpSpPr>
          <p:sp>
            <p:nvSpPr>
              <p:cNvPr id="401" name="Google Shape;401;p32"/>
              <p:cNvSpPr/>
              <p:nvPr/>
            </p:nvSpPr>
            <p:spPr>
              <a:xfrm>
                <a:off x="6104965" y="2265289"/>
                <a:ext cx="1855800" cy="1855800"/>
              </a:xfrm>
              <a:prstGeom prst="ellipse">
                <a:avLst/>
              </a:prstGeom>
              <a:solidFill>
                <a:srgbClr val="352559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2" name="Google Shape;402;p32"/>
              <p:cNvSpPr/>
              <p:nvPr/>
            </p:nvSpPr>
            <p:spPr>
              <a:xfrm>
                <a:off x="6326458" y="2482124"/>
                <a:ext cx="1422000" cy="1422000"/>
              </a:xfrm>
              <a:prstGeom prst="ellipse">
                <a:avLst/>
              </a:prstGeom>
              <a:solidFill>
                <a:srgbClr val="352559">
                  <a:alpha val="49800"/>
                </a:srgbClr>
              </a:solidFill>
              <a:ln>
                <a:noFill/>
              </a:ln>
              <a:effectLst>
                <a:outerShdw blurRad="889000" dist="50800" dir="5400000" sx="89000" sy="89000" algn="ctr" rotWithShape="0">
                  <a:srgbClr val="000000">
                    <a:alpha val="48630"/>
                  </a:srgbClr>
                </a:outerShdw>
              </a:effectLst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3" name="Google Shape;403;p32"/>
              <p:cNvSpPr/>
              <p:nvPr/>
            </p:nvSpPr>
            <p:spPr>
              <a:xfrm>
                <a:off x="6566834" y="2724359"/>
                <a:ext cx="942600" cy="942600"/>
              </a:xfrm>
              <a:prstGeom prst="ellipse">
                <a:avLst/>
              </a:prstGeom>
              <a:solidFill>
                <a:srgbClr val="352559"/>
              </a:soli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404" name="Google Shape;404;p32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198187" y="2170870"/>
              <a:ext cx="3149100" cy="501000"/>
            </a:xfrm>
            <a:prstGeom prst="roundRect">
              <a:avLst>
                <a:gd name="adj" fmla="val 50000"/>
              </a:avLst>
            </a:prstGeom>
            <a:solidFill>
              <a:srgbClr val="28AFEA"/>
            </a:soli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05" name="Google Shape;405;p32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4952171" y="1928176"/>
              <a:ext cx="987842" cy="986358"/>
              <a:chOff x="6104965" y="2265289"/>
              <a:chExt cx="1855800" cy="1855800"/>
            </a:xfrm>
          </p:grpSpPr>
          <p:sp>
            <p:nvSpPr>
              <p:cNvPr id="406" name="Google Shape;406;p32"/>
              <p:cNvSpPr/>
              <p:nvPr/>
            </p:nvSpPr>
            <p:spPr>
              <a:xfrm>
                <a:off x="6104965" y="2265289"/>
                <a:ext cx="1855800" cy="1855800"/>
              </a:xfrm>
              <a:prstGeom prst="ellipse">
                <a:avLst/>
              </a:prstGeom>
              <a:solidFill>
                <a:srgbClr val="28AFEA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7" name="Google Shape;407;p32"/>
              <p:cNvSpPr/>
              <p:nvPr/>
            </p:nvSpPr>
            <p:spPr>
              <a:xfrm>
                <a:off x="6326458" y="2482124"/>
                <a:ext cx="1422000" cy="1422000"/>
              </a:xfrm>
              <a:prstGeom prst="ellipse">
                <a:avLst/>
              </a:prstGeom>
              <a:solidFill>
                <a:srgbClr val="28AFEA">
                  <a:alpha val="49800"/>
                </a:srgbClr>
              </a:solidFill>
              <a:ln>
                <a:noFill/>
              </a:ln>
              <a:effectLst>
                <a:outerShdw blurRad="889000" dist="50800" dir="5400000" sx="89000" sy="89000" algn="ctr" rotWithShape="0">
                  <a:srgbClr val="000000">
                    <a:alpha val="48630"/>
                  </a:srgbClr>
                </a:outerShdw>
              </a:effectLst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8" name="Google Shape;408;p32"/>
              <p:cNvSpPr/>
              <p:nvPr/>
            </p:nvSpPr>
            <p:spPr>
              <a:xfrm>
                <a:off x="6566834" y="2724359"/>
                <a:ext cx="942600" cy="942600"/>
              </a:xfrm>
              <a:prstGeom prst="ellipse">
                <a:avLst/>
              </a:prstGeom>
              <a:solidFill>
                <a:srgbClr val="28AFEA"/>
              </a:soli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</p:grpSp>
        <p:cxnSp>
          <p:nvCxnSpPr>
            <p:cNvPr id="409" name="Google Shape;409;p32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>
            <a:xfrm>
              <a:off x="836471" y="737356"/>
              <a:ext cx="2070300" cy="0"/>
            </a:xfrm>
            <a:prstGeom prst="straightConnector1">
              <a:avLst/>
            </a:prstGeom>
            <a:noFill/>
            <a:ln w="12700" cap="flat" cmpd="sng">
              <a:solidFill>
                <a:srgbClr val="627597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410" name="Google Shape;410;p32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 rot="10800000">
              <a:off x="407925" y="275"/>
              <a:ext cx="73200" cy="2995800"/>
            </a:xfrm>
            <a:prstGeom prst="rect">
              <a:avLst/>
            </a:prstGeom>
            <a:gradFill>
              <a:gsLst>
                <a:gs pos="0">
                  <a:srgbClr val="D59DFF"/>
                </a:gs>
                <a:gs pos="100000">
                  <a:srgbClr val="28AFEA"/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i="0">
                <a:latin typeface="Helvetica" pitchFamily="2" charset="0"/>
              </a:endParaRPr>
            </a:p>
          </p:txBody>
        </p:sp>
      </p:grpSp>
      <p:sp>
        <p:nvSpPr>
          <p:cNvPr id="422" name="Google Shape;422;p32"/>
          <p:cNvSpPr txBox="1">
            <a:spLocks noGrp="1"/>
          </p:cNvSpPr>
          <p:nvPr>
            <p:ph type="title"/>
          </p:nvPr>
        </p:nvSpPr>
        <p:spPr>
          <a:xfrm>
            <a:off x="795528" y="932688"/>
            <a:ext cx="2331600" cy="21213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1700"/>
              <a:buNone/>
              <a:defRPr sz="2000" b="0" i="0">
                <a:latin typeface="Helvetica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2pPr>
            <a:lvl3pPr lvl="2"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3pPr>
            <a:lvl4pPr lvl="3"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4pPr>
            <a:lvl5pPr lvl="4"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5pPr>
            <a:lvl6pPr lvl="5"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6pPr>
            <a:lvl7pPr lvl="6"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7pPr>
            <a:lvl8pPr lvl="7"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8pPr>
            <a:lvl9pPr lvl="8"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9pPr>
          </a:lstStyle>
          <a:p>
            <a:endParaRPr/>
          </a:p>
        </p:txBody>
      </p:sp>
      <p:sp>
        <p:nvSpPr>
          <p:cNvPr id="421" name="Google Shape;421;p32"/>
          <p:cNvSpPr txBox="1">
            <a:spLocks noGrp="1"/>
          </p:cNvSpPr>
          <p:nvPr>
            <p:ph type="subTitle" idx="14"/>
          </p:nvPr>
        </p:nvSpPr>
        <p:spPr>
          <a:xfrm>
            <a:off x="804672" y="548640"/>
            <a:ext cx="2103000" cy="1554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9;p35">
            <a:extLst>
              <a:ext uri="{FF2B5EF4-FFF2-40B4-BE49-F238E27FC236}">
                <a16:creationId xmlns:a16="http://schemas.microsoft.com/office/drawing/2014/main" id="{CD3576E2-AEB5-FF3E-CC5F-467FF2EE89AD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3825500" y="524206"/>
            <a:ext cx="329100" cy="329100"/>
          </a:xfrm>
          <a:prstGeom prst="ellipse">
            <a:avLst/>
          </a:prstGeom>
          <a:noFill/>
          <a:ln>
            <a:noFill/>
          </a:ln>
        </p:spPr>
        <p:txBody>
          <a:bodyPr wrap="square" lIns="0" tIns="0" rIns="0" bIns="0" anchor="ctr"/>
          <a:lstStyle>
            <a:lvl1pPr marL="0" indent="0" algn="ctr">
              <a:buNone/>
              <a:defRPr sz="200"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416" name="Google Shape;416;p32"/>
          <p:cNvSpPr txBox="1">
            <a:spLocks noGrp="1"/>
          </p:cNvSpPr>
          <p:nvPr>
            <p:ph type="body" idx="1"/>
          </p:nvPr>
        </p:nvSpPr>
        <p:spPr>
          <a:xfrm>
            <a:off x="4483975" y="512064"/>
            <a:ext cx="2212800" cy="347400"/>
          </a:xfrm>
          <a:prstGeom prst="rect">
            <a:avLst/>
          </a:prstGeom>
        </p:spPr>
        <p:txBody>
          <a:bodyPr spcFirstLastPara="1" wrap="square" lIns="45700" tIns="18275" rIns="45700" bIns="18275" anchor="ctr" anchorCtr="0">
            <a:noAutofit/>
          </a:bodyPr>
          <a:lstStyle>
            <a:lvl1pPr marL="0" lvl="0" indent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53" name="Google Shape;529;p35">
            <a:extLst>
              <a:ext uri="{FF2B5EF4-FFF2-40B4-BE49-F238E27FC236}">
                <a16:creationId xmlns:a16="http://schemas.microsoft.com/office/drawing/2014/main" id="{A5F644A9-640E-49D4-9BA3-19831FCDEAB1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4552899" y="1390506"/>
            <a:ext cx="329100" cy="329100"/>
          </a:xfrm>
          <a:prstGeom prst="ellipse">
            <a:avLst/>
          </a:prstGeom>
          <a:noFill/>
          <a:ln>
            <a:noFill/>
          </a:ln>
        </p:spPr>
        <p:txBody>
          <a:bodyPr wrap="square" lIns="0" tIns="0" rIns="0" bIns="0" anchor="ctr"/>
          <a:lstStyle>
            <a:lvl1pPr marL="0" indent="0" algn="ctr">
              <a:buNone/>
              <a:defRPr sz="200"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417" name="Google Shape;417;p32"/>
          <p:cNvSpPr txBox="1">
            <a:spLocks noGrp="1"/>
          </p:cNvSpPr>
          <p:nvPr>
            <p:ph type="body" idx="7"/>
          </p:nvPr>
        </p:nvSpPr>
        <p:spPr>
          <a:xfrm>
            <a:off x="5239512" y="1371600"/>
            <a:ext cx="2212800" cy="347400"/>
          </a:xfrm>
          <a:prstGeom prst="rect">
            <a:avLst/>
          </a:prstGeom>
        </p:spPr>
        <p:txBody>
          <a:bodyPr spcFirstLastPara="1" wrap="square" lIns="45700" tIns="18275" rIns="45700" bIns="18275" anchor="ctr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54" name="Google Shape;529;p35">
            <a:extLst>
              <a:ext uri="{FF2B5EF4-FFF2-40B4-BE49-F238E27FC236}">
                <a16:creationId xmlns:a16="http://schemas.microsoft.com/office/drawing/2014/main" id="{FBB95042-817E-B134-256C-4FB5A90FF06A}"/>
              </a:ext>
            </a:extLst>
          </p:cNvPr>
          <p:cNvSpPr>
            <a:spLocks noGrp="1"/>
          </p:cNvSpPr>
          <p:nvPr>
            <p:ph type="pic" idx="20"/>
          </p:nvPr>
        </p:nvSpPr>
        <p:spPr>
          <a:xfrm>
            <a:off x="5281542" y="2256805"/>
            <a:ext cx="329100" cy="329100"/>
          </a:xfrm>
          <a:prstGeom prst="ellipse">
            <a:avLst/>
          </a:prstGeom>
          <a:noFill/>
          <a:ln>
            <a:noFill/>
          </a:ln>
        </p:spPr>
        <p:txBody>
          <a:bodyPr wrap="square" lIns="0" tIns="0" rIns="0" bIns="0" anchor="ctr"/>
          <a:lstStyle>
            <a:lvl1pPr marL="0" indent="0" algn="ctr">
              <a:buNone/>
              <a:defRPr sz="200"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418" name="Google Shape;418;p32"/>
          <p:cNvSpPr txBox="1">
            <a:spLocks noGrp="1"/>
          </p:cNvSpPr>
          <p:nvPr>
            <p:ph type="body" idx="8"/>
          </p:nvPr>
        </p:nvSpPr>
        <p:spPr>
          <a:xfrm>
            <a:off x="5952744" y="2231136"/>
            <a:ext cx="2212800" cy="347400"/>
          </a:xfrm>
          <a:prstGeom prst="rect">
            <a:avLst/>
          </a:prstGeom>
        </p:spPr>
        <p:txBody>
          <a:bodyPr spcFirstLastPara="1" wrap="square" lIns="45700" tIns="18275" rIns="45700" bIns="18275" anchor="ctr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55" name="Google Shape;529;p35">
            <a:extLst>
              <a:ext uri="{FF2B5EF4-FFF2-40B4-BE49-F238E27FC236}">
                <a16:creationId xmlns:a16="http://schemas.microsoft.com/office/drawing/2014/main" id="{BEE85CE0-3794-8891-A799-BBC3CBBC2483}"/>
              </a:ext>
            </a:extLst>
          </p:cNvPr>
          <p:cNvSpPr>
            <a:spLocks noGrp="1"/>
          </p:cNvSpPr>
          <p:nvPr>
            <p:ph type="pic" idx="21"/>
          </p:nvPr>
        </p:nvSpPr>
        <p:spPr>
          <a:xfrm>
            <a:off x="4552899" y="3123104"/>
            <a:ext cx="329100" cy="329100"/>
          </a:xfrm>
          <a:prstGeom prst="ellipse">
            <a:avLst/>
          </a:prstGeom>
          <a:noFill/>
          <a:ln>
            <a:noFill/>
          </a:ln>
        </p:spPr>
        <p:txBody>
          <a:bodyPr wrap="square" lIns="0" tIns="0" rIns="0" bIns="0" anchor="ctr"/>
          <a:lstStyle>
            <a:lvl1pPr marL="0" indent="0" algn="ctr">
              <a:buNone/>
              <a:defRPr sz="200"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419" name="Google Shape;419;p32"/>
          <p:cNvSpPr txBox="1">
            <a:spLocks noGrp="1"/>
          </p:cNvSpPr>
          <p:nvPr>
            <p:ph type="body" idx="9"/>
          </p:nvPr>
        </p:nvSpPr>
        <p:spPr>
          <a:xfrm>
            <a:off x="5239512" y="3108960"/>
            <a:ext cx="2212800" cy="347400"/>
          </a:xfrm>
          <a:prstGeom prst="rect">
            <a:avLst/>
          </a:prstGeom>
        </p:spPr>
        <p:txBody>
          <a:bodyPr spcFirstLastPara="1" wrap="square" lIns="45700" tIns="18275" rIns="45700" bIns="18275" anchor="ctr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56" name="Google Shape;529;p35">
            <a:extLst>
              <a:ext uri="{FF2B5EF4-FFF2-40B4-BE49-F238E27FC236}">
                <a16:creationId xmlns:a16="http://schemas.microsoft.com/office/drawing/2014/main" id="{A65B01E9-D9F8-328D-5B1B-78BC9275ED6D}"/>
              </a:ext>
            </a:extLst>
          </p:cNvPr>
          <p:cNvSpPr>
            <a:spLocks noGrp="1"/>
          </p:cNvSpPr>
          <p:nvPr>
            <p:ph type="pic" idx="22"/>
          </p:nvPr>
        </p:nvSpPr>
        <p:spPr>
          <a:xfrm>
            <a:off x="3825500" y="3989403"/>
            <a:ext cx="329100" cy="329100"/>
          </a:xfrm>
          <a:prstGeom prst="ellipse">
            <a:avLst/>
          </a:prstGeom>
          <a:noFill/>
          <a:ln>
            <a:noFill/>
          </a:ln>
        </p:spPr>
        <p:txBody>
          <a:bodyPr wrap="square" lIns="0" tIns="0" rIns="0" bIns="0" anchor="ctr"/>
          <a:lstStyle>
            <a:lvl1pPr marL="0" indent="0" algn="ctr">
              <a:buNone/>
              <a:defRPr sz="200"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420" name="Google Shape;420;p32"/>
          <p:cNvSpPr txBox="1">
            <a:spLocks noGrp="1"/>
          </p:cNvSpPr>
          <p:nvPr>
            <p:ph type="body" idx="13"/>
          </p:nvPr>
        </p:nvSpPr>
        <p:spPr>
          <a:xfrm>
            <a:off x="4480560" y="3977640"/>
            <a:ext cx="2212800" cy="347400"/>
          </a:xfrm>
          <a:prstGeom prst="rect">
            <a:avLst/>
          </a:prstGeom>
        </p:spPr>
        <p:txBody>
          <a:bodyPr spcFirstLastPara="1" wrap="square" lIns="45700" tIns="18275" rIns="45700" bIns="18275" anchor="ctr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49" name="Google Shape;268;p27">
            <a:extLst>
              <a:ext uri="{FF2B5EF4-FFF2-40B4-BE49-F238E27FC236}">
                <a16:creationId xmlns:a16="http://schemas.microsoft.com/office/drawing/2014/main" id="{B3792982-19EA-CA41-8308-2AD5F0D23189}"/>
              </a:ext>
            </a:extLst>
          </p:cNvPr>
          <p:cNvSpPr/>
          <p:nvPr userDrawn="1"/>
        </p:nvSpPr>
        <p:spPr>
          <a:xfrm>
            <a:off x="5450166" y="4900823"/>
            <a:ext cx="3595800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500" b="0" i="0">
                <a:solidFill>
                  <a:schemeClr val="lt1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‹#›</a:t>
            </a:fld>
            <a:endParaRPr sz="500" b="0" i="0">
              <a:solidFill>
                <a:schemeClr val="lt1"/>
              </a:solidFill>
              <a:latin typeface="Helvetica" pitchFamily="2" charset="0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3" name="Google Shape;67;p15">
            <a:extLst>
              <a:ext uri="{FF2B5EF4-FFF2-40B4-BE49-F238E27FC236}">
                <a16:creationId xmlns:a16="http://schemas.microsoft.com/office/drawing/2014/main" id="{FEC29B87-BC56-C637-FEA6-67FACDD8DF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" name="Google Shape;56;p14">
            <a:extLst>
              <a:ext uri="{FF2B5EF4-FFF2-40B4-BE49-F238E27FC236}">
                <a16:creationId xmlns:a16="http://schemas.microsoft.com/office/drawing/2014/main" id="{2CFCBD88-F97A-E685-B111-FAE95DFB7AE0}"/>
              </a:ext>
            </a:extLst>
          </p:cNvPr>
          <p:cNvSpPr/>
          <p:nvPr userDrawn="1"/>
        </p:nvSpPr>
        <p:spPr>
          <a:xfrm>
            <a:off x="569084" y="4900823"/>
            <a:ext cx="5054476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 dirty="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5 THINGS YOU CAN DO WITH GITHUB COPILOT</a:t>
            </a:r>
            <a:endParaRPr lang="en-US" sz="500" b="0" i="0" u="none" strike="noStrike" kern="1200" cap="none" spc="600" dirty="0">
              <a:solidFill>
                <a:srgbClr val="627597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79808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meline" preserve="1">
  <p:cSld name="Timeline">
    <p:spTree>
      <p:nvGrpSpPr>
        <p:cNvPr id="1" name="Shape 4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AE88BE8E-7A9E-0109-4B50-E85B7DB08F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70550" y="3"/>
            <a:ext cx="8773455" cy="5143497"/>
            <a:chOff x="370550" y="3"/>
            <a:chExt cx="8773455" cy="5143497"/>
          </a:xfrm>
        </p:grpSpPr>
        <p:pic>
          <p:nvPicPr>
            <p:cNvPr id="427" name="Google Shape;427;p33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 userDrawn="1"/>
          </p:nvPicPr>
          <p:blipFill rotWithShape="1">
            <a:blip r:embed="rId2">
              <a:alphaModFix amt="40000"/>
            </a:blip>
            <a:srcRect r="33453" b="13524"/>
            <a:stretch/>
          </p:blipFill>
          <p:spPr>
            <a:xfrm>
              <a:off x="4878193" y="3"/>
              <a:ext cx="4265812" cy="5143497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428" name="Google Shape;428;p33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>
            <a:xfrm>
              <a:off x="1303867" y="3583747"/>
              <a:ext cx="6536400" cy="0"/>
            </a:xfrm>
            <a:prstGeom prst="straightConnector1">
              <a:avLst/>
            </a:prstGeom>
            <a:noFill/>
            <a:ln w="88900" cap="rnd" cmpd="sng">
              <a:solidFill>
                <a:srgbClr val="D8D8D8">
                  <a:alpha val="24710"/>
                </a:srgbClr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429" name="Google Shape;429;p33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 flipH="1">
              <a:off x="1526314" y="2447680"/>
              <a:ext cx="1811316" cy="863864"/>
              <a:chOff x="1851659" y="5043862"/>
              <a:chExt cx="4393200" cy="2356422"/>
            </a:xfrm>
          </p:grpSpPr>
          <p:sp>
            <p:nvSpPr>
              <p:cNvPr id="430" name="Google Shape;430;p33"/>
              <p:cNvSpPr/>
              <p:nvPr/>
            </p:nvSpPr>
            <p:spPr>
              <a:xfrm flipH="1">
                <a:off x="1851659" y="5043862"/>
                <a:ext cx="4393200" cy="2109000"/>
              </a:xfrm>
              <a:prstGeom prst="roundRect">
                <a:avLst>
                  <a:gd name="adj" fmla="val 3087"/>
                </a:avLst>
              </a:prstGeom>
              <a:gradFill>
                <a:gsLst>
                  <a:gs pos="0">
                    <a:srgbClr val="1F9CF0"/>
                  </a:gs>
                  <a:gs pos="2000">
                    <a:srgbClr val="1F9CF0"/>
                  </a:gs>
                  <a:gs pos="100000">
                    <a:srgbClr val="9477E2">
                      <a:alpha val="29803"/>
                    </a:srgbClr>
                  </a:gs>
                </a:gsLst>
                <a:lin ang="2700006" scaled="0"/>
              </a:gradFill>
              <a:ln>
                <a:noFill/>
              </a:ln>
              <a:effectLst>
                <a:outerShdw blurRad="1270000" dist="1219200" dir="8100000" sx="90000" sy="90000" algn="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1" name="Google Shape;431;p33"/>
              <p:cNvSpPr/>
              <p:nvPr/>
            </p:nvSpPr>
            <p:spPr>
              <a:xfrm rot="10800000">
                <a:off x="3863414" y="7153684"/>
                <a:ext cx="369600" cy="246600"/>
              </a:xfrm>
              <a:prstGeom prst="triangle">
                <a:avLst>
                  <a:gd name="adj" fmla="val 50000"/>
                </a:avLst>
              </a:prstGeom>
              <a:gradFill>
                <a:gsLst>
                  <a:gs pos="0">
                    <a:srgbClr val="1F9CF0"/>
                  </a:gs>
                  <a:gs pos="2000">
                    <a:srgbClr val="1F9CF0"/>
                  </a:gs>
                  <a:gs pos="100000">
                    <a:srgbClr val="9477E2">
                      <a:alpha val="29803"/>
                    </a:srgbClr>
                  </a:gs>
                </a:gsLst>
                <a:lin ang="2700006" scaled="0"/>
              </a:gra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32" name="Google Shape;432;p33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1290477" y="3525882"/>
              <a:ext cx="116624" cy="116450"/>
              <a:chOff x="2991668" y="6807571"/>
              <a:chExt cx="248400" cy="248400"/>
            </a:xfrm>
          </p:grpSpPr>
          <p:sp>
            <p:nvSpPr>
              <p:cNvPr id="433" name="Google Shape;433;p33"/>
              <p:cNvSpPr/>
              <p:nvPr/>
            </p:nvSpPr>
            <p:spPr>
              <a:xfrm>
                <a:off x="2991668" y="6807571"/>
                <a:ext cx="248400" cy="248400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  <a:effectLst>
                <a:outerShdw blurRad="1270000" algn="ctr" rotWithShape="0">
                  <a:schemeClr val="lt1">
                    <a:alpha val="40000"/>
                  </a:schemeClr>
                </a:outerShdw>
              </a:effectLst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4" name="Google Shape;434;p33"/>
              <p:cNvSpPr/>
              <p:nvPr/>
            </p:nvSpPr>
            <p:spPr>
              <a:xfrm>
                <a:off x="3049014" y="6864917"/>
                <a:ext cx="133800" cy="133800"/>
              </a:xfrm>
              <a:prstGeom prst="ellipse">
                <a:avLst/>
              </a:prstGeom>
              <a:gradFill>
                <a:gsLst>
                  <a:gs pos="0">
                    <a:schemeClr val="accent2"/>
                  </a:gs>
                  <a:gs pos="2000">
                    <a:schemeClr val="accent2"/>
                  </a:gs>
                  <a:gs pos="100000">
                    <a:srgbClr val="5C2FD2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1270000" algn="ctr" rotWithShape="0">
                  <a:schemeClr val="accent1">
                    <a:alpha val="40000"/>
                  </a:schemeClr>
                </a:outerShdw>
              </a:effectLst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35" name="Google Shape;435;p33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2373885" y="3525882"/>
              <a:ext cx="116624" cy="116450"/>
              <a:chOff x="2991668" y="6807571"/>
              <a:chExt cx="248400" cy="248400"/>
            </a:xfrm>
          </p:grpSpPr>
          <p:sp>
            <p:nvSpPr>
              <p:cNvPr id="436" name="Google Shape;436;p33"/>
              <p:cNvSpPr/>
              <p:nvPr/>
            </p:nvSpPr>
            <p:spPr>
              <a:xfrm>
                <a:off x="2991668" y="6807571"/>
                <a:ext cx="248400" cy="248400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  <a:effectLst>
                <a:outerShdw blurRad="1270000" algn="ctr" rotWithShape="0">
                  <a:schemeClr val="lt1">
                    <a:alpha val="40000"/>
                  </a:schemeClr>
                </a:outerShdw>
              </a:effectLst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" name="Google Shape;437;p33"/>
              <p:cNvSpPr/>
              <p:nvPr/>
            </p:nvSpPr>
            <p:spPr>
              <a:xfrm>
                <a:off x="3049014" y="6864917"/>
                <a:ext cx="133800" cy="133800"/>
              </a:xfrm>
              <a:prstGeom prst="ellipse">
                <a:avLst/>
              </a:prstGeom>
              <a:gradFill>
                <a:gsLst>
                  <a:gs pos="0">
                    <a:schemeClr val="accent1"/>
                  </a:gs>
                  <a:gs pos="2000">
                    <a:schemeClr val="accent1"/>
                  </a:gs>
                  <a:gs pos="100000">
                    <a:srgbClr val="C01169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1270000" algn="ctr" rotWithShape="0">
                  <a:schemeClr val="accent2">
                    <a:alpha val="40000"/>
                  </a:schemeClr>
                </a:outerShdw>
              </a:effectLst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38" name="Google Shape;438;p33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3443832" y="3525882"/>
              <a:ext cx="116624" cy="116450"/>
              <a:chOff x="2991668" y="6807571"/>
              <a:chExt cx="248400" cy="248400"/>
            </a:xfrm>
          </p:grpSpPr>
          <p:sp>
            <p:nvSpPr>
              <p:cNvPr id="439" name="Google Shape;439;p33"/>
              <p:cNvSpPr/>
              <p:nvPr/>
            </p:nvSpPr>
            <p:spPr>
              <a:xfrm>
                <a:off x="2991668" y="6807571"/>
                <a:ext cx="248400" cy="248400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  <a:effectLst>
                <a:outerShdw blurRad="1270000" algn="ctr" rotWithShape="0">
                  <a:schemeClr val="lt1">
                    <a:alpha val="40000"/>
                  </a:schemeClr>
                </a:outerShdw>
              </a:effectLst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0" name="Google Shape;440;p33"/>
              <p:cNvSpPr/>
              <p:nvPr/>
            </p:nvSpPr>
            <p:spPr>
              <a:xfrm>
                <a:off x="3049014" y="6864917"/>
                <a:ext cx="133800" cy="133800"/>
              </a:xfrm>
              <a:prstGeom prst="ellipse">
                <a:avLst/>
              </a:prstGeom>
              <a:gradFill>
                <a:gsLst>
                  <a:gs pos="0">
                    <a:schemeClr val="accent3"/>
                  </a:gs>
                  <a:gs pos="2000">
                    <a:schemeClr val="accent3"/>
                  </a:gs>
                  <a:gs pos="100000">
                    <a:srgbClr val="4F2995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1270000" algn="ctr" rotWithShape="0">
                  <a:schemeClr val="accent3">
                    <a:alpha val="40000"/>
                  </a:schemeClr>
                </a:outerShdw>
              </a:effectLst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41" name="Google Shape;441;p33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4513778" y="3525882"/>
              <a:ext cx="116624" cy="116450"/>
              <a:chOff x="2991668" y="6807571"/>
              <a:chExt cx="248400" cy="248400"/>
            </a:xfrm>
          </p:grpSpPr>
          <p:sp>
            <p:nvSpPr>
              <p:cNvPr id="442" name="Google Shape;442;p33"/>
              <p:cNvSpPr/>
              <p:nvPr/>
            </p:nvSpPr>
            <p:spPr>
              <a:xfrm>
                <a:off x="2991668" y="6807571"/>
                <a:ext cx="248400" cy="248400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  <a:effectLst>
                <a:outerShdw blurRad="1270000" algn="ctr" rotWithShape="0">
                  <a:schemeClr val="lt1">
                    <a:alpha val="40000"/>
                  </a:schemeClr>
                </a:outerShdw>
              </a:effectLst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3" name="Google Shape;443;p33"/>
              <p:cNvSpPr/>
              <p:nvPr/>
            </p:nvSpPr>
            <p:spPr>
              <a:xfrm>
                <a:off x="3049014" y="6864917"/>
                <a:ext cx="133800" cy="133800"/>
              </a:xfrm>
              <a:prstGeom prst="ellipse">
                <a:avLst/>
              </a:prstGeom>
              <a:gradFill>
                <a:gsLst>
                  <a:gs pos="0">
                    <a:schemeClr val="accent4"/>
                  </a:gs>
                  <a:gs pos="2000">
                    <a:schemeClr val="accent4"/>
                  </a:gs>
                  <a:gs pos="100000">
                    <a:srgbClr val="0F98B3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1270000" algn="ctr" rotWithShape="0">
                  <a:schemeClr val="accent4">
                    <a:alpha val="40000"/>
                  </a:schemeClr>
                </a:outerShdw>
              </a:effectLst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44" name="Google Shape;444;p33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5583725" y="3525882"/>
              <a:ext cx="116624" cy="116450"/>
              <a:chOff x="2991668" y="6807571"/>
              <a:chExt cx="248400" cy="248400"/>
            </a:xfrm>
          </p:grpSpPr>
          <p:sp>
            <p:nvSpPr>
              <p:cNvPr id="445" name="Google Shape;445;p33"/>
              <p:cNvSpPr/>
              <p:nvPr/>
            </p:nvSpPr>
            <p:spPr>
              <a:xfrm>
                <a:off x="2991668" y="6807571"/>
                <a:ext cx="248400" cy="248400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  <a:effectLst>
                <a:outerShdw blurRad="1270000" algn="ctr" rotWithShape="0">
                  <a:schemeClr val="lt1">
                    <a:alpha val="40000"/>
                  </a:schemeClr>
                </a:outerShdw>
              </a:effectLst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6" name="Google Shape;446;p33"/>
              <p:cNvSpPr/>
              <p:nvPr/>
            </p:nvSpPr>
            <p:spPr>
              <a:xfrm>
                <a:off x="3049014" y="6864917"/>
                <a:ext cx="133800" cy="133800"/>
              </a:xfrm>
              <a:prstGeom prst="ellipse">
                <a:avLst/>
              </a:prstGeom>
              <a:gradFill>
                <a:gsLst>
                  <a:gs pos="0">
                    <a:schemeClr val="accent5"/>
                  </a:gs>
                  <a:gs pos="2000">
                    <a:schemeClr val="accent5"/>
                  </a:gs>
                  <a:gs pos="100000">
                    <a:srgbClr val="66196E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1270000" algn="ctr" rotWithShape="0">
                  <a:schemeClr val="accent5">
                    <a:alpha val="40000"/>
                  </a:schemeClr>
                </a:outerShdw>
              </a:effectLst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47" name="Google Shape;447;p33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6653671" y="3525882"/>
              <a:ext cx="116624" cy="116450"/>
              <a:chOff x="2991668" y="6807571"/>
              <a:chExt cx="248400" cy="248400"/>
            </a:xfrm>
          </p:grpSpPr>
          <p:sp>
            <p:nvSpPr>
              <p:cNvPr id="448" name="Google Shape;448;p33"/>
              <p:cNvSpPr/>
              <p:nvPr/>
            </p:nvSpPr>
            <p:spPr>
              <a:xfrm>
                <a:off x="2991668" y="6807571"/>
                <a:ext cx="248400" cy="248400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  <a:effectLst>
                <a:outerShdw blurRad="1270000" algn="ctr" rotWithShape="0">
                  <a:schemeClr val="lt1">
                    <a:alpha val="40000"/>
                  </a:schemeClr>
                </a:outerShdw>
              </a:effectLst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9" name="Google Shape;449;p33"/>
              <p:cNvSpPr/>
              <p:nvPr/>
            </p:nvSpPr>
            <p:spPr>
              <a:xfrm>
                <a:off x="3049014" y="6864917"/>
                <a:ext cx="133800" cy="133800"/>
              </a:xfrm>
              <a:prstGeom prst="ellipse">
                <a:avLst/>
              </a:prstGeom>
              <a:gradFill>
                <a:gsLst>
                  <a:gs pos="0">
                    <a:schemeClr val="accent6"/>
                  </a:gs>
                  <a:gs pos="2000">
                    <a:schemeClr val="accent6"/>
                  </a:gs>
                  <a:gs pos="100000">
                    <a:srgbClr val="980B84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1270000" algn="ctr" rotWithShape="0">
                  <a:schemeClr val="accent6">
                    <a:alpha val="40000"/>
                  </a:schemeClr>
                </a:outerShdw>
              </a:effectLst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50" name="Google Shape;450;p33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7737080" y="3525882"/>
              <a:ext cx="116624" cy="116450"/>
              <a:chOff x="2991668" y="6807571"/>
              <a:chExt cx="248400" cy="248400"/>
            </a:xfrm>
          </p:grpSpPr>
          <p:sp>
            <p:nvSpPr>
              <p:cNvPr id="451" name="Google Shape;451;p33"/>
              <p:cNvSpPr/>
              <p:nvPr/>
            </p:nvSpPr>
            <p:spPr>
              <a:xfrm>
                <a:off x="2991668" y="6807571"/>
                <a:ext cx="248400" cy="248400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  <a:effectLst>
                <a:outerShdw blurRad="1270000" algn="ctr" rotWithShape="0">
                  <a:schemeClr val="lt1">
                    <a:alpha val="40000"/>
                  </a:schemeClr>
                </a:outerShdw>
              </a:effectLst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2" name="Google Shape;452;p33"/>
              <p:cNvSpPr/>
              <p:nvPr/>
            </p:nvSpPr>
            <p:spPr>
              <a:xfrm>
                <a:off x="3049014" y="6864917"/>
                <a:ext cx="133800" cy="133800"/>
              </a:xfrm>
              <a:prstGeom prst="ellipse">
                <a:avLst/>
              </a:prstGeom>
              <a:gradFill>
                <a:gsLst>
                  <a:gs pos="0">
                    <a:schemeClr val="accent1"/>
                  </a:gs>
                  <a:gs pos="2000">
                    <a:schemeClr val="accent1"/>
                  </a:gs>
                  <a:gs pos="100000">
                    <a:srgbClr val="C01169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1270000" algn="ctr" rotWithShape="0">
                  <a:schemeClr val="accent1">
                    <a:alpha val="40000"/>
                  </a:schemeClr>
                </a:outerShdw>
              </a:effectLst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</p:grpSp>
        <p:cxnSp>
          <p:nvCxnSpPr>
            <p:cNvPr id="453" name="Google Shape;453;p33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>
            <a:xfrm>
              <a:off x="783205" y="613302"/>
              <a:ext cx="2070300" cy="0"/>
            </a:xfrm>
            <a:prstGeom prst="straightConnector1">
              <a:avLst/>
            </a:prstGeom>
            <a:noFill/>
            <a:ln w="12700" cap="flat" cmpd="sng">
              <a:solidFill>
                <a:srgbClr val="627597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454" name="Google Shape;454;p33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 rot="10800000">
              <a:off x="370550" y="175"/>
              <a:ext cx="75000" cy="1734000"/>
            </a:xfrm>
            <a:prstGeom prst="rect">
              <a:avLst/>
            </a:prstGeom>
            <a:gradFill>
              <a:gsLst>
                <a:gs pos="0">
                  <a:srgbClr val="D59DFF"/>
                </a:gs>
                <a:gs pos="100000">
                  <a:srgbClr val="28AFEA"/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i="0">
                <a:latin typeface="Helvetica" pitchFamily="2" charset="0"/>
              </a:endParaRPr>
            </a:p>
          </p:txBody>
        </p:sp>
      </p:grpSp>
      <p:sp>
        <p:nvSpPr>
          <p:cNvPr id="456" name="Google Shape;456;p33"/>
          <p:cNvSpPr txBox="1">
            <a:spLocks noGrp="1"/>
          </p:cNvSpPr>
          <p:nvPr>
            <p:ph type="title"/>
          </p:nvPr>
        </p:nvSpPr>
        <p:spPr>
          <a:xfrm>
            <a:off x="740664" y="841248"/>
            <a:ext cx="3282600" cy="7773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400"/>
              <a:buNone/>
              <a:defRPr b="1" i="0">
                <a:solidFill>
                  <a:schemeClr val="bg1"/>
                </a:solidFill>
                <a:latin typeface="Helvetica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5" name="Google Shape;455;p33"/>
          <p:cNvSpPr txBox="1">
            <a:spLocks noGrp="1"/>
          </p:cNvSpPr>
          <p:nvPr>
            <p:ph type="subTitle" idx="1"/>
          </p:nvPr>
        </p:nvSpPr>
        <p:spPr>
          <a:xfrm>
            <a:off x="749808" y="429768"/>
            <a:ext cx="3026700" cy="1554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9pPr>
          </a:lstStyle>
          <a:p>
            <a:endParaRPr/>
          </a:p>
        </p:txBody>
      </p:sp>
      <p:sp>
        <p:nvSpPr>
          <p:cNvPr id="457" name="Google Shape;457;p33"/>
          <p:cNvSpPr txBox="1">
            <a:spLocks noGrp="1"/>
          </p:cNvSpPr>
          <p:nvPr>
            <p:ph type="body" idx="2"/>
          </p:nvPr>
        </p:nvSpPr>
        <p:spPr>
          <a:xfrm>
            <a:off x="4023264" y="841248"/>
            <a:ext cx="2926200" cy="8139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914400" lvl="1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458" name="Google Shape;458;p33"/>
          <p:cNvSpPr txBox="1">
            <a:spLocks noGrp="1"/>
          </p:cNvSpPr>
          <p:nvPr>
            <p:ph type="body" idx="3"/>
          </p:nvPr>
        </p:nvSpPr>
        <p:spPr>
          <a:xfrm>
            <a:off x="1819656" y="2514600"/>
            <a:ext cx="1225200" cy="1464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127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00"/>
              <a:buNone/>
              <a:defRPr sz="600" b="0" i="0">
                <a:latin typeface="Helvetica" pitchFamily="2" charset="0"/>
              </a:defRPr>
            </a:lvl1pPr>
            <a:lvl2pPr marL="914400" lvl="1" indent="-273050" algn="ctr">
              <a:spcBef>
                <a:spcPts val="0"/>
              </a:spcBef>
              <a:spcAft>
                <a:spcPts val="0"/>
              </a:spcAft>
              <a:buSzPts val="700"/>
              <a:buChar char="○"/>
              <a:defRPr sz="700"/>
            </a:lvl2pPr>
            <a:lvl3pPr marL="1371600" lvl="2" indent="-273050" algn="ctr">
              <a:spcBef>
                <a:spcPts val="0"/>
              </a:spcBef>
              <a:spcAft>
                <a:spcPts val="0"/>
              </a:spcAft>
              <a:buSzPts val="700"/>
              <a:buChar char="■"/>
              <a:defRPr sz="700"/>
            </a:lvl3pPr>
            <a:lvl4pPr marL="1828800" lvl="3" indent="-273050" algn="ctr">
              <a:spcBef>
                <a:spcPts val="0"/>
              </a:spcBef>
              <a:spcAft>
                <a:spcPts val="0"/>
              </a:spcAft>
              <a:buSzPts val="700"/>
              <a:buChar char="●"/>
              <a:defRPr sz="700"/>
            </a:lvl4pPr>
            <a:lvl5pPr marL="2286000" lvl="4" indent="-273050" algn="ctr">
              <a:spcBef>
                <a:spcPts val="0"/>
              </a:spcBef>
              <a:spcAft>
                <a:spcPts val="0"/>
              </a:spcAft>
              <a:buSzPts val="700"/>
              <a:buChar char="○"/>
              <a:defRPr sz="700"/>
            </a:lvl5pPr>
            <a:lvl6pPr marL="2743200" lvl="5" indent="-273050" algn="ctr">
              <a:spcBef>
                <a:spcPts val="0"/>
              </a:spcBef>
              <a:spcAft>
                <a:spcPts val="0"/>
              </a:spcAft>
              <a:buSzPts val="700"/>
              <a:buChar char="■"/>
              <a:defRPr sz="700"/>
            </a:lvl6pPr>
            <a:lvl7pPr marL="3200400" lvl="6" indent="-273050" algn="ctr">
              <a:spcBef>
                <a:spcPts val="0"/>
              </a:spcBef>
              <a:spcAft>
                <a:spcPts val="0"/>
              </a:spcAft>
              <a:buSzPts val="700"/>
              <a:buChar char="●"/>
              <a:defRPr sz="700"/>
            </a:lvl7pPr>
            <a:lvl8pPr marL="3657600" lvl="7" indent="-273050" algn="ctr">
              <a:spcBef>
                <a:spcPts val="0"/>
              </a:spcBef>
              <a:spcAft>
                <a:spcPts val="0"/>
              </a:spcAft>
              <a:buSzPts val="700"/>
              <a:buChar char="○"/>
              <a:defRPr sz="700"/>
            </a:lvl8pPr>
            <a:lvl9pPr marL="4114800" lvl="8" indent="-273050" algn="ctr">
              <a:spcBef>
                <a:spcPts val="0"/>
              </a:spcBef>
              <a:spcAft>
                <a:spcPts val="0"/>
              </a:spcAft>
              <a:buSzPts val="700"/>
              <a:buChar char="■"/>
              <a:defRPr sz="700"/>
            </a:lvl9pPr>
          </a:lstStyle>
          <a:p>
            <a:endParaRPr/>
          </a:p>
        </p:txBody>
      </p:sp>
      <p:sp>
        <p:nvSpPr>
          <p:cNvPr id="459" name="Google Shape;459;p33"/>
          <p:cNvSpPr txBox="1">
            <a:spLocks noGrp="1"/>
          </p:cNvSpPr>
          <p:nvPr>
            <p:ph type="body" idx="4"/>
          </p:nvPr>
        </p:nvSpPr>
        <p:spPr>
          <a:xfrm>
            <a:off x="1819656" y="2651760"/>
            <a:ext cx="1225200" cy="1737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900" b="1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460" name="Google Shape;460;p33"/>
          <p:cNvSpPr txBox="1">
            <a:spLocks noGrp="1"/>
          </p:cNvSpPr>
          <p:nvPr>
            <p:ph type="body" idx="5"/>
          </p:nvPr>
        </p:nvSpPr>
        <p:spPr>
          <a:xfrm>
            <a:off x="1527048" y="2834640"/>
            <a:ext cx="1810500" cy="3108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914400" lvl="1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461" name="Google Shape;461;p33"/>
          <p:cNvSpPr txBox="1">
            <a:spLocks noGrp="1"/>
          </p:cNvSpPr>
          <p:nvPr>
            <p:ph type="body" idx="6"/>
          </p:nvPr>
        </p:nvSpPr>
        <p:spPr>
          <a:xfrm>
            <a:off x="740664" y="3858768"/>
            <a:ext cx="1225200" cy="1737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900" b="1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467" name="Google Shape;467;p33"/>
          <p:cNvSpPr txBox="1">
            <a:spLocks noGrp="1"/>
          </p:cNvSpPr>
          <p:nvPr>
            <p:ph type="body" idx="15"/>
          </p:nvPr>
        </p:nvSpPr>
        <p:spPr>
          <a:xfrm>
            <a:off x="740664" y="4059936"/>
            <a:ext cx="1225200" cy="1737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914400" lvl="1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462" name="Google Shape;462;p33"/>
          <p:cNvSpPr txBox="1">
            <a:spLocks noGrp="1"/>
          </p:cNvSpPr>
          <p:nvPr>
            <p:ph type="body" idx="7"/>
          </p:nvPr>
        </p:nvSpPr>
        <p:spPr>
          <a:xfrm>
            <a:off x="2889527" y="3858768"/>
            <a:ext cx="1225200" cy="1737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900" b="1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468" name="Google Shape;468;p33"/>
          <p:cNvSpPr txBox="1">
            <a:spLocks noGrp="1"/>
          </p:cNvSpPr>
          <p:nvPr>
            <p:ph type="body" idx="16"/>
          </p:nvPr>
        </p:nvSpPr>
        <p:spPr>
          <a:xfrm>
            <a:off x="2889504" y="4059936"/>
            <a:ext cx="1225200" cy="1737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914400" lvl="1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463" name="Google Shape;463;p33"/>
          <p:cNvSpPr txBox="1">
            <a:spLocks noGrp="1"/>
          </p:cNvSpPr>
          <p:nvPr>
            <p:ph type="body" idx="8"/>
          </p:nvPr>
        </p:nvSpPr>
        <p:spPr>
          <a:xfrm>
            <a:off x="3959352" y="2798064"/>
            <a:ext cx="1225200" cy="1737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900" b="1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471" name="Google Shape;471;p33"/>
          <p:cNvSpPr txBox="1">
            <a:spLocks noGrp="1"/>
          </p:cNvSpPr>
          <p:nvPr>
            <p:ph type="body" idx="19"/>
          </p:nvPr>
        </p:nvSpPr>
        <p:spPr>
          <a:xfrm>
            <a:off x="3959352" y="2999232"/>
            <a:ext cx="1225200" cy="1737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914400" lvl="1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464" name="Google Shape;464;p33"/>
          <p:cNvSpPr txBox="1">
            <a:spLocks noGrp="1"/>
          </p:cNvSpPr>
          <p:nvPr>
            <p:ph type="body" idx="9"/>
          </p:nvPr>
        </p:nvSpPr>
        <p:spPr>
          <a:xfrm>
            <a:off x="5029200" y="3858768"/>
            <a:ext cx="1225200" cy="1737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900" b="1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469" name="Google Shape;469;p33"/>
          <p:cNvSpPr txBox="1">
            <a:spLocks noGrp="1"/>
          </p:cNvSpPr>
          <p:nvPr>
            <p:ph type="body" idx="17"/>
          </p:nvPr>
        </p:nvSpPr>
        <p:spPr>
          <a:xfrm>
            <a:off x="5029200" y="4059936"/>
            <a:ext cx="1225200" cy="1737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914400" lvl="1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465" name="Google Shape;465;p33"/>
          <p:cNvSpPr txBox="1">
            <a:spLocks noGrp="1"/>
          </p:cNvSpPr>
          <p:nvPr>
            <p:ph type="body" idx="13"/>
          </p:nvPr>
        </p:nvSpPr>
        <p:spPr>
          <a:xfrm>
            <a:off x="6099048" y="2807208"/>
            <a:ext cx="1225200" cy="1737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900" b="1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472" name="Google Shape;472;p33"/>
          <p:cNvSpPr txBox="1">
            <a:spLocks noGrp="1"/>
          </p:cNvSpPr>
          <p:nvPr>
            <p:ph type="body" idx="20"/>
          </p:nvPr>
        </p:nvSpPr>
        <p:spPr>
          <a:xfrm>
            <a:off x="6099048" y="3008376"/>
            <a:ext cx="1225200" cy="1737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914400" lvl="1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466" name="Google Shape;466;p33"/>
          <p:cNvSpPr txBox="1">
            <a:spLocks noGrp="1"/>
          </p:cNvSpPr>
          <p:nvPr>
            <p:ph type="body" idx="14"/>
          </p:nvPr>
        </p:nvSpPr>
        <p:spPr>
          <a:xfrm>
            <a:off x="7187184" y="3858768"/>
            <a:ext cx="1225200" cy="1737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900" b="1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470" name="Google Shape;470;p33"/>
          <p:cNvSpPr txBox="1">
            <a:spLocks noGrp="1"/>
          </p:cNvSpPr>
          <p:nvPr>
            <p:ph type="body" idx="18"/>
          </p:nvPr>
        </p:nvSpPr>
        <p:spPr>
          <a:xfrm>
            <a:off x="7187184" y="4059936"/>
            <a:ext cx="1225200" cy="1737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914400" lvl="1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51" name="Google Shape;268;p27">
            <a:extLst>
              <a:ext uri="{FF2B5EF4-FFF2-40B4-BE49-F238E27FC236}">
                <a16:creationId xmlns:a16="http://schemas.microsoft.com/office/drawing/2014/main" id="{BD598AAA-EC64-E247-A143-0FD7003A5EB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 userDrawn="1"/>
        </p:nvSpPr>
        <p:spPr>
          <a:xfrm>
            <a:off x="5450166" y="4900823"/>
            <a:ext cx="3595800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500" b="0" i="0">
                <a:solidFill>
                  <a:schemeClr val="lt1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‹#›</a:t>
            </a:fld>
            <a:endParaRPr sz="500" b="0" i="0">
              <a:solidFill>
                <a:schemeClr val="lt1"/>
              </a:solidFill>
              <a:latin typeface="Helvetica" pitchFamily="2" charset="0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3" name="Google Shape;67;p15">
            <a:extLst>
              <a:ext uri="{FF2B5EF4-FFF2-40B4-BE49-F238E27FC236}">
                <a16:creationId xmlns:a16="http://schemas.microsoft.com/office/drawing/2014/main" id="{8AEDA000-9512-14D3-A344-9414A28E5B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" name="Google Shape;56;p14">
            <a:extLst>
              <a:ext uri="{FF2B5EF4-FFF2-40B4-BE49-F238E27FC236}">
                <a16:creationId xmlns:a16="http://schemas.microsoft.com/office/drawing/2014/main" id="{EFCD2360-4CEE-1BD7-162E-771C0375C19E}"/>
              </a:ext>
            </a:extLst>
          </p:cNvPr>
          <p:cNvSpPr/>
          <p:nvPr userDrawn="1"/>
        </p:nvSpPr>
        <p:spPr>
          <a:xfrm>
            <a:off x="569084" y="4900823"/>
            <a:ext cx="5054476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 dirty="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5 THINGS YOU CAN DO WITH GITHUB COPILOT</a:t>
            </a:r>
            <a:endParaRPr lang="en-US" sz="500" b="0" i="0" u="none" strike="noStrike" kern="1200" cap="none" spc="600" dirty="0">
              <a:solidFill>
                <a:srgbClr val="627597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96006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eft-side Three Features" preserve="1" userDrawn="1">
  <p:cSld name="Left-side Three Features">
    <p:spTree>
      <p:nvGrpSpPr>
        <p:cNvPr id="1" name="Shape 4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6918A15B-1B0C-3FEA-A206-165286B4C3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20063" y="-1047201"/>
            <a:ext cx="12230605" cy="6821113"/>
            <a:chOff x="820063" y="-1047201"/>
            <a:chExt cx="12230605" cy="6821113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CEC1B788-A994-4CB3-5A96-6C8835D4CE3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820063" y="-1047201"/>
              <a:ext cx="12230605" cy="6821113"/>
              <a:chOff x="820063" y="-1047201"/>
              <a:chExt cx="12230605" cy="6821113"/>
            </a:xfrm>
          </p:grpSpPr>
          <p:sp>
            <p:nvSpPr>
              <p:cNvPr id="477" name="Google Shape;477;p3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6636368" y="-630488"/>
                <a:ext cx="6414300" cy="6404400"/>
              </a:xfrm>
              <a:prstGeom prst="ellipse">
                <a:avLst/>
              </a:prstGeom>
              <a:gradFill>
                <a:gsLst>
                  <a:gs pos="0">
                    <a:srgbClr val="1F9CF0"/>
                  </a:gs>
                  <a:gs pos="100000">
                    <a:srgbClr val="D59DFF">
                      <a:alpha val="42352"/>
                    </a:srgbClr>
                  </a:gs>
                </a:gsLst>
                <a:lin ang="2700006" scaled="0"/>
              </a:gra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8" name="Google Shape;478;p3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5273946" y="2868323"/>
                <a:ext cx="1612500" cy="1609800"/>
              </a:xfrm>
              <a:prstGeom prst="ellipse">
                <a:avLst/>
              </a:prstGeom>
              <a:gradFill>
                <a:gsLst>
                  <a:gs pos="0">
                    <a:srgbClr val="8661C5"/>
                  </a:gs>
                  <a:gs pos="100000">
                    <a:srgbClr val="161828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0" name="Google Shape;480;p34"/>
              <p:cNvSpPr/>
              <p:nvPr/>
            </p:nvSpPr>
            <p:spPr>
              <a:xfrm>
                <a:off x="1180602" y="1274407"/>
                <a:ext cx="3396854" cy="1087061"/>
              </a:xfrm>
              <a:prstGeom prst="roundRect">
                <a:avLst>
                  <a:gd name="adj" fmla="val 3188"/>
                </a:avLst>
              </a:prstGeom>
              <a:gradFill>
                <a:gsLst>
                  <a:gs pos="0">
                    <a:srgbClr val="1F9CF0"/>
                  </a:gs>
                  <a:gs pos="100000">
                    <a:srgbClr val="9477E2">
                      <a:alpha val="0"/>
                    </a:srgbClr>
                  </a:gs>
                </a:gsLst>
                <a:lin ang="2700006" scaled="0"/>
              </a:gra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3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pic>
            <p:nvPicPr>
              <p:cNvPr id="482" name="Google Shape;482;p3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 preferRelativeResize="0"/>
              <p:nvPr/>
            </p:nvPicPr>
            <p:blipFill rotWithShape="1">
              <a:blip r:embed="rId2">
                <a:alphaModFix amt="30000"/>
              </a:blip>
              <a:srcRect/>
              <a:stretch/>
            </p:blipFill>
            <p:spPr>
              <a:xfrm>
                <a:off x="5523874" y="-1047201"/>
                <a:ext cx="3762369" cy="3762369"/>
              </a:xfrm>
              <a:prstGeom prst="rect">
                <a:avLst/>
              </a:prstGeom>
              <a:noFill/>
              <a:ln>
                <a:noFill/>
              </a:ln>
            </p:spPr>
          </p:pic>
          <p:grpSp>
            <p:nvGrpSpPr>
              <p:cNvPr id="483" name="Google Shape;483;p3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GrpSpPr/>
              <p:nvPr/>
            </p:nvGrpSpPr>
            <p:grpSpPr>
              <a:xfrm>
                <a:off x="820220" y="1469444"/>
                <a:ext cx="705748" cy="704283"/>
                <a:chOff x="1551767" y="2937134"/>
                <a:chExt cx="1535400" cy="1534500"/>
              </a:xfrm>
            </p:grpSpPr>
            <p:sp>
              <p:nvSpPr>
                <p:cNvPr id="484" name="Google Shape;484;p34"/>
                <p:cNvSpPr/>
                <p:nvPr/>
              </p:nvSpPr>
              <p:spPr>
                <a:xfrm>
                  <a:off x="1551767" y="2937134"/>
                  <a:ext cx="1535400" cy="1534500"/>
                </a:xfrm>
                <a:prstGeom prst="ellipse">
                  <a:avLst/>
                </a:prstGeom>
                <a:solidFill>
                  <a:srgbClr val="1F9CF0">
                    <a:alpha val="56860"/>
                  </a:srgbClr>
                </a:solidFill>
                <a:ln>
                  <a:noFill/>
                </a:ln>
                <a:effectLst>
                  <a:outerShdw blurRad="889000" dist="50800" dir="5400000" sx="89000" sy="89000" algn="ctr" rotWithShape="0">
                    <a:srgbClr val="000000">
                      <a:alpha val="48630"/>
                    </a:srgbClr>
                  </a:outerShdw>
                </a:effectLst>
              </p:spPr>
              <p:txBody>
                <a:bodyPr spcFirstLastPara="1" wrap="square" lIns="42900" tIns="21450" rIns="42900" bIns="2145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800" b="0" i="0">
                    <a:solidFill>
                      <a:schemeClr val="lt1"/>
                    </a:solidFill>
                    <a:latin typeface="Helvetica" pitchFamily="2" charset="0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85" name="Google Shape;485;p34"/>
                <p:cNvSpPr/>
                <p:nvPr/>
              </p:nvSpPr>
              <p:spPr>
                <a:xfrm>
                  <a:off x="1811292" y="3198537"/>
                  <a:ext cx="1017600" cy="1017000"/>
                </a:xfrm>
                <a:prstGeom prst="ellipse">
                  <a:avLst/>
                </a:prstGeom>
                <a:solidFill>
                  <a:srgbClr val="1F9CF0"/>
                </a:solidFill>
                <a:ln>
                  <a:noFill/>
                </a:ln>
              </p:spPr>
              <p:txBody>
                <a:bodyPr spcFirstLastPara="1" wrap="square" lIns="42900" tIns="21450" rIns="42900" bIns="2145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800" b="0" i="0">
                    <a:solidFill>
                      <a:schemeClr val="lt1"/>
                    </a:solidFill>
                    <a:latin typeface="Helvetica" pitchFamily="2" charset="0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486" name="Google Shape;486;p3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820063" y="2601735"/>
                <a:ext cx="705778" cy="704309"/>
              </a:xfrm>
              <a:prstGeom prst="ellipse">
                <a:avLst/>
              </a:prstGeom>
              <a:solidFill>
                <a:schemeClr val="accent3">
                  <a:alpha val="56860"/>
                </a:schemeClr>
              </a:solidFill>
              <a:ln>
                <a:noFill/>
              </a:ln>
              <a:effectLst>
                <a:outerShdw blurRad="889000" dist="50800" dir="5400000" sx="89000" sy="89000" algn="ctr" rotWithShape="0">
                  <a:srgbClr val="000000">
                    <a:alpha val="48630"/>
                  </a:srgbClr>
                </a:outerShdw>
              </a:effectLst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8" name="Google Shape;488;p3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1180459" y="2445158"/>
                <a:ext cx="3396721" cy="1087009"/>
              </a:xfrm>
              <a:prstGeom prst="roundRect">
                <a:avLst>
                  <a:gd name="adj" fmla="val 3188"/>
                </a:avLst>
              </a:prstGeom>
              <a:gradFill>
                <a:gsLst>
                  <a:gs pos="0">
                    <a:srgbClr val="6A37C7">
                      <a:alpha val="20000"/>
                    </a:srgbClr>
                  </a:gs>
                  <a:gs pos="100000">
                    <a:srgbClr val="9477E2">
                      <a:alpha val="0"/>
                    </a:srgbClr>
                  </a:gs>
                </a:gsLst>
                <a:lin ang="2700006" scaled="0"/>
              </a:gra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3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9" name="Google Shape;489;p3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820063" y="3772667"/>
                <a:ext cx="705778" cy="704309"/>
              </a:xfrm>
              <a:prstGeom prst="ellipse">
                <a:avLst/>
              </a:prstGeom>
              <a:solidFill>
                <a:schemeClr val="accent3">
                  <a:alpha val="56860"/>
                </a:schemeClr>
              </a:solidFill>
              <a:ln>
                <a:noFill/>
              </a:ln>
              <a:effectLst>
                <a:outerShdw blurRad="889000" dist="50800" dir="5400000" sx="89000" sy="89000" algn="ctr" rotWithShape="0">
                  <a:srgbClr val="000000">
                    <a:alpha val="48630"/>
                  </a:srgbClr>
                </a:outerShdw>
              </a:effectLst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1" name="Google Shape;491;p3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1180459" y="3616090"/>
                <a:ext cx="3396721" cy="1087009"/>
              </a:xfrm>
              <a:prstGeom prst="roundRect">
                <a:avLst>
                  <a:gd name="adj" fmla="val 3188"/>
                </a:avLst>
              </a:prstGeom>
              <a:gradFill>
                <a:gsLst>
                  <a:gs pos="0">
                    <a:srgbClr val="6A37C7">
                      <a:alpha val="20000"/>
                    </a:srgbClr>
                  </a:gs>
                  <a:gs pos="100000">
                    <a:srgbClr val="9477E2">
                      <a:alpha val="0"/>
                    </a:srgbClr>
                  </a:gs>
                </a:gsLst>
                <a:lin ang="2700006" scaled="0"/>
              </a:gra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3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" name="Google Shape;261;p26">
                <a:extLst>
                  <a:ext uri="{FF2B5EF4-FFF2-40B4-BE49-F238E27FC236}">
                    <a16:creationId xmlns:a16="http://schemas.microsoft.com/office/drawing/2014/main" id="{CB6BFF36-3ECF-608B-68CB-D8F4A3277BCC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 userDrawn="1"/>
            </p:nvSpPr>
            <p:spPr>
              <a:xfrm rot="10800000">
                <a:off x="998900" y="0"/>
                <a:ext cx="73200" cy="1002821"/>
              </a:xfrm>
              <a:prstGeom prst="rect">
                <a:avLst/>
              </a:prstGeom>
              <a:gradFill>
                <a:gsLst>
                  <a:gs pos="0">
                    <a:srgbClr val="D59DFF"/>
                  </a:gs>
                  <a:gs pos="100000">
                    <a:srgbClr val="28AFEA"/>
                  </a:gs>
                </a:gsLst>
                <a:lin ang="5400012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b="0" i="0">
                  <a:latin typeface="Helvetica" pitchFamily="2" charset="0"/>
                </a:endParaRPr>
              </a:p>
            </p:txBody>
          </p:sp>
        </p:grpSp>
        <p:sp>
          <p:nvSpPr>
            <p:cNvPr id="487" name="Google Shape;487;p34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41843" y="2719176"/>
              <a:ext cx="467582" cy="46670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" name="Google Shape;490;p34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41843" y="3890108"/>
              <a:ext cx="467582" cy="46670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5" name="Google Shape;262;p26">
            <a:extLst>
              <a:ext uri="{FF2B5EF4-FFF2-40B4-BE49-F238E27FC236}">
                <a16:creationId xmlns:a16="http://schemas.microsoft.com/office/drawing/2014/main" id="{AB25E7C3-F3BF-0722-EC0A-A83C1769E12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25300" y="77812"/>
            <a:ext cx="4023300" cy="914400"/>
          </a:xfrm>
          <a:prstGeom prst="rect">
            <a:avLst/>
          </a:prstGeom>
        </p:spPr>
        <p:txBody>
          <a:bodyPr spcFirstLastPara="1" wrap="square" lIns="45700" tIns="18275" rIns="45700" bIns="1827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400"/>
              <a:buNone/>
              <a:defRPr sz="2400" b="1" i="0">
                <a:latin typeface="Helvetica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2" name="Google Shape;492;p34"/>
          <p:cNvSpPr>
            <a:spLocks noGrp="1"/>
          </p:cNvSpPr>
          <p:nvPr>
            <p:ph type="pic" idx="2"/>
          </p:nvPr>
        </p:nvSpPr>
        <p:spPr>
          <a:xfrm>
            <a:off x="981261" y="1628889"/>
            <a:ext cx="390340" cy="379612"/>
          </a:xfrm>
          <a:prstGeom prst="ellipse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300"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495" name="Google Shape;495;p34"/>
          <p:cNvSpPr txBox="1">
            <a:spLocks noGrp="1"/>
          </p:cNvSpPr>
          <p:nvPr>
            <p:ph type="body" idx="1"/>
          </p:nvPr>
        </p:nvSpPr>
        <p:spPr>
          <a:xfrm>
            <a:off x="1705724" y="1408411"/>
            <a:ext cx="1521990" cy="214994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 b="1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98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  <p:sp>
        <p:nvSpPr>
          <p:cNvPr id="496" name="Google Shape;496;p34"/>
          <p:cNvSpPr txBox="1">
            <a:spLocks noGrp="1"/>
          </p:cNvSpPr>
          <p:nvPr>
            <p:ph type="body" idx="5"/>
          </p:nvPr>
        </p:nvSpPr>
        <p:spPr>
          <a:xfrm>
            <a:off x="1705724" y="1670383"/>
            <a:ext cx="2506495" cy="492253"/>
          </a:xfrm>
          <a:prstGeom prst="rect">
            <a:avLst/>
          </a:prstGeom>
        </p:spPr>
        <p:txBody>
          <a:bodyPr spcFirstLastPara="1" vert="horz" wrap="square" lIns="45700" tIns="18275" rIns="45700" bIns="18275" rtlCol="0" anchor="t" anchorCtr="0">
            <a:noAutofit/>
          </a:bodyPr>
          <a:lstStyle>
            <a:lvl1pPr>
              <a:spcBef>
                <a:spcPts val="100"/>
              </a:spcBef>
              <a:spcAft>
                <a:spcPts val="0"/>
              </a:spcAft>
              <a:defRPr lang="en-US" sz="800" b="0" i="0" dirty="0" smtClean="0">
                <a:latin typeface="Helvetica" pitchFamily="2" charset="0"/>
              </a:defRPr>
            </a:lvl1pPr>
            <a:lvl2pPr>
              <a:spcBef>
                <a:spcPts val="100"/>
              </a:spcBef>
              <a:spcAft>
                <a:spcPts val="0"/>
              </a:spcAft>
              <a:defRPr lang="en-US" sz="800" dirty="0" smtClean="0"/>
            </a:lvl2pPr>
            <a:lvl3pPr>
              <a:spcBef>
                <a:spcPts val="100"/>
              </a:spcBef>
              <a:spcAft>
                <a:spcPts val="0"/>
              </a:spcAft>
              <a:defRPr lang="en-US" sz="800" dirty="0" smtClean="0"/>
            </a:lvl3pPr>
            <a:lvl4pPr>
              <a:spcBef>
                <a:spcPts val="100"/>
              </a:spcBef>
              <a:spcAft>
                <a:spcPts val="0"/>
              </a:spcAft>
              <a:defRPr lang="en-US" sz="800" dirty="0" smtClean="0"/>
            </a:lvl4pPr>
            <a:lvl5pPr>
              <a:spcBef>
                <a:spcPts val="100"/>
              </a:spcBef>
              <a:spcAft>
                <a:spcPts val="0"/>
              </a:spcAft>
              <a:defRPr lang="en-US" sz="800" dirty="0"/>
            </a:lvl5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 lang="en-US"/>
          </a:p>
        </p:txBody>
      </p:sp>
      <p:sp>
        <p:nvSpPr>
          <p:cNvPr id="29" name="Google Shape;492;p34">
            <a:extLst>
              <a:ext uri="{FF2B5EF4-FFF2-40B4-BE49-F238E27FC236}">
                <a16:creationId xmlns:a16="http://schemas.microsoft.com/office/drawing/2014/main" id="{B2961469-D98A-3946-8147-3909918D86A6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981261" y="2759991"/>
            <a:ext cx="390340" cy="379612"/>
          </a:xfrm>
          <a:prstGeom prst="ellipse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300"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497" name="Google Shape;497;p34"/>
          <p:cNvSpPr txBox="1">
            <a:spLocks noGrp="1"/>
          </p:cNvSpPr>
          <p:nvPr>
            <p:ph type="body" idx="6"/>
          </p:nvPr>
        </p:nvSpPr>
        <p:spPr>
          <a:xfrm>
            <a:off x="1705724" y="2578843"/>
            <a:ext cx="1521990" cy="214994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 b="1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  <p:sp>
        <p:nvSpPr>
          <p:cNvPr id="498" name="Google Shape;498;p34"/>
          <p:cNvSpPr txBox="1">
            <a:spLocks noGrp="1"/>
          </p:cNvSpPr>
          <p:nvPr>
            <p:ph type="body" idx="7"/>
          </p:nvPr>
        </p:nvSpPr>
        <p:spPr>
          <a:xfrm>
            <a:off x="1705724" y="2840815"/>
            <a:ext cx="2506495" cy="492253"/>
          </a:xfrm>
          <a:prstGeom prst="rect">
            <a:avLst/>
          </a:prstGeom>
        </p:spPr>
        <p:txBody>
          <a:bodyPr spcFirstLastPara="1" vert="horz" wrap="square" lIns="45700" tIns="18275" rIns="45700" bIns="18275" rtlCol="0" anchor="t" anchorCtr="0">
            <a:noAutofit/>
          </a:bodyPr>
          <a:lstStyle>
            <a:lvl1pPr>
              <a:defRPr lang="en-US" sz="800" b="0" i="0" dirty="0" smtClean="0">
                <a:latin typeface="Helvetica" pitchFamily="2" charset="0"/>
              </a:defRPr>
            </a:lvl1pPr>
            <a:lvl2pPr>
              <a:defRPr lang="en-US" sz="800" dirty="0" smtClean="0"/>
            </a:lvl2pPr>
            <a:lvl3pPr>
              <a:defRPr lang="en-US" sz="800" dirty="0" smtClean="0"/>
            </a:lvl3pPr>
            <a:lvl4pPr>
              <a:defRPr lang="en-US" sz="800" dirty="0" smtClean="0"/>
            </a:lvl4pPr>
            <a:lvl5pPr>
              <a:defRPr lang="en-US" sz="800" dirty="0"/>
            </a:lvl5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 lang="en-US"/>
          </a:p>
        </p:txBody>
      </p:sp>
      <p:sp>
        <p:nvSpPr>
          <p:cNvPr id="30" name="Google Shape;492;p34">
            <a:extLst>
              <a:ext uri="{FF2B5EF4-FFF2-40B4-BE49-F238E27FC236}">
                <a16:creationId xmlns:a16="http://schemas.microsoft.com/office/drawing/2014/main" id="{196967CD-4856-9243-9EFE-A327D7763891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981261" y="3930923"/>
            <a:ext cx="390340" cy="379612"/>
          </a:xfrm>
          <a:prstGeom prst="ellipse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300"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499" name="Google Shape;499;p34"/>
          <p:cNvSpPr txBox="1">
            <a:spLocks noGrp="1"/>
          </p:cNvSpPr>
          <p:nvPr>
            <p:ph type="body" idx="8"/>
          </p:nvPr>
        </p:nvSpPr>
        <p:spPr>
          <a:xfrm>
            <a:off x="1705724" y="3749275"/>
            <a:ext cx="1521990" cy="214994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 b="1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  <p:sp>
        <p:nvSpPr>
          <p:cNvPr id="500" name="Google Shape;500;p34"/>
          <p:cNvSpPr txBox="1">
            <a:spLocks noGrp="1"/>
          </p:cNvSpPr>
          <p:nvPr>
            <p:ph type="body" idx="9"/>
          </p:nvPr>
        </p:nvSpPr>
        <p:spPr>
          <a:xfrm>
            <a:off x="1705724" y="4011247"/>
            <a:ext cx="2506495" cy="492253"/>
          </a:xfrm>
          <a:prstGeom prst="rect">
            <a:avLst/>
          </a:prstGeom>
        </p:spPr>
        <p:txBody>
          <a:bodyPr spcFirstLastPara="1" vert="horz" wrap="square" lIns="45700" tIns="18275" rIns="45700" bIns="18275" rtlCol="0" anchor="t" anchorCtr="0">
            <a:noAutofit/>
          </a:bodyPr>
          <a:lstStyle>
            <a:lvl1pPr>
              <a:defRPr lang="en-US" sz="800" b="0" i="0" dirty="0" smtClean="0">
                <a:latin typeface="Helvetica" pitchFamily="2" charset="0"/>
              </a:defRPr>
            </a:lvl1pPr>
            <a:lvl2pPr>
              <a:defRPr lang="en-US" sz="800" dirty="0" smtClean="0"/>
            </a:lvl2pPr>
            <a:lvl3pPr>
              <a:defRPr lang="en-US" sz="800" dirty="0" smtClean="0"/>
            </a:lvl3pPr>
            <a:lvl4pPr>
              <a:defRPr lang="en-US" sz="800" dirty="0" smtClean="0"/>
            </a:lvl4pPr>
            <a:lvl5pPr>
              <a:defRPr lang="en-US" sz="800" dirty="0"/>
            </a:lvl5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 lang="en-US"/>
          </a:p>
        </p:txBody>
      </p:sp>
      <p:sp>
        <p:nvSpPr>
          <p:cNvPr id="31" name="Google Shape;268;p27">
            <a:extLst>
              <a:ext uri="{FF2B5EF4-FFF2-40B4-BE49-F238E27FC236}">
                <a16:creationId xmlns:a16="http://schemas.microsoft.com/office/drawing/2014/main" id="{5366E105-BBFE-6A48-9C65-CFF9CF06D74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 userDrawn="1"/>
        </p:nvSpPr>
        <p:spPr>
          <a:xfrm>
            <a:off x="5450166" y="4900823"/>
            <a:ext cx="3595800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500" b="0" i="0">
                <a:solidFill>
                  <a:schemeClr val="lt1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‹#›</a:t>
            </a:fld>
            <a:endParaRPr sz="500" b="0" i="0">
              <a:solidFill>
                <a:schemeClr val="lt1"/>
              </a:solidFill>
              <a:latin typeface="Helvetica" pitchFamily="2" charset="0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6" name="Google Shape;67;p15">
            <a:extLst>
              <a:ext uri="{FF2B5EF4-FFF2-40B4-BE49-F238E27FC236}">
                <a16:creationId xmlns:a16="http://schemas.microsoft.com/office/drawing/2014/main" id="{921554B2-66D4-DC6D-D27C-2F986B9661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" name="Google Shape;56;p14">
            <a:extLst>
              <a:ext uri="{FF2B5EF4-FFF2-40B4-BE49-F238E27FC236}">
                <a16:creationId xmlns:a16="http://schemas.microsoft.com/office/drawing/2014/main" id="{7C5E121F-E474-9200-CEF0-871A807275D4}"/>
              </a:ext>
            </a:extLst>
          </p:cNvPr>
          <p:cNvSpPr/>
          <p:nvPr userDrawn="1"/>
        </p:nvSpPr>
        <p:spPr>
          <a:xfrm>
            <a:off x="569084" y="4900823"/>
            <a:ext cx="5054476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 dirty="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5 THINGS YOU CAN DO WITH GITHUB COPILOT</a:t>
            </a:r>
            <a:endParaRPr lang="en-US" sz="500" b="0" i="0" u="none" strike="noStrike" kern="1200" cap="none" spc="600" dirty="0">
              <a:solidFill>
                <a:srgbClr val="627597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61138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Four Features - Right" preserve="1" userDrawn="1">
  <p:cSld name="Four Features - Right">
    <p:spTree>
      <p:nvGrpSpPr>
        <p:cNvPr id="1" name="Shape 5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B4028172-C77B-BDC7-911D-9C09143BB6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994069" y="-2928776"/>
            <a:ext cx="10480167" cy="8934176"/>
            <a:chOff x="-1994069" y="-2928776"/>
            <a:chExt cx="10480167" cy="8934176"/>
          </a:xfrm>
        </p:grpSpPr>
        <p:sp>
          <p:nvSpPr>
            <p:cNvPr id="505" name="Google Shape;505;p35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-1994069" y="-399000"/>
              <a:ext cx="6414300" cy="6404400"/>
            </a:xfrm>
            <a:prstGeom prst="ellipse">
              <a:avLst/>
            </a:prstGeom>
            <a:gradFill>
              <a:gsLst>
                <a:gs pos="0">
                  <a:srgbClr val="1F9CF0">
                    <a:alpha val="74901"/>
                  </a:srgbClr>
                </a:gs>
                <a:gs pos="72000">
                  <a:srgbClr val="D59DFF">
                    <a:alpha val="0"/>
                  </a:srgbClr>
                </a:gs>
                <a:gs pos="100000">
                  <a:srgbClr val="D59DFF">
                    <a:alpha val="0"/>
                  </a:srgbClr>
                </a:gs>
              </a:gsLst>
              <a:lin ang="2700006" scaled="0"/>
            </a:gra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506" name="Google Shape;506;p35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836471" y="737356"/>
              <a:ext cx="2070300" cy="0"/>
            </a:xfrm>
            <a:prstGeom prst="straightConnector1">
              <a:avLst/>
            </a:prstGeom>
            <a:noFill/>
            <a:ln w="12700" cap="flat" cmpd="sng">
              <a:solidFill>
                <a:srgbClr val="627597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pic>
          <p:nvPicPr>
            <p:cNvPr id="507" name="Google Shape;507;p35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 rotWithShape="1">
            <a:blip r:embed="rId2">
              <a:alphaModFix amt="30000"/>
            </a:blip>
            <a:srcRect/>
            <a:stretch/>
          </p:blipFill>
          <p:spPr>
            <a:xfrm>
              <a:off x="4723729" y="-2928776"/>
              <a:ext cx="3762369" cy="376236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08" name="Google Shape;508;p35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-807350" y="3339348"/>
              <a:ext cx="1410000" cy="1407900"/>
            </a:xfrm>
            <a:prstGeom prst="ellipse">
              <a:avLst/>
            </a:prstGeom>
            <a:gradFill>
              <a:gsLst>
                <a:gs pos="0">
                  <a:srgbClr val="8661C5"/>
                </a:gs>
                <a:gs pos="100000">
                  <a:srgbClr val="161828">
                    <a:alpha val="74901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09" name="Google Shape;509;p35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4959237" y="1033679"/>
              <a:ext cx="488257" cy="487204"/>
              <a:chOff x="9522579" y="1481845"/>
              <a:chExt cx="1535400" cy="1534500"/>
            </a:xfrm>
          </p:grpSpPr>
          <p:sp>
            <p:nvSpPr>
              <p:cNvPr id="510" name="Google Shape;510;p35"/>
              <p:cNvSpPr/>
              <p:nvPr/>
            </p:nvSpPr>
            <p:spPr>
              <a:xfrm>
                <a:off x="9522579" y="1481845"/>
                <a:ext cx="1535400" cy="1534500"/>
              </a:xfrm>
              <a:prstGeom prst="ellipse">
                <a:avLst/>
              </a:prstGeom>
              <a:solidFill>
                <a:srgbClr val="1F9CF0">
                  <a:alpha val="56860"/>
                </a:srgbClr>
              </a:solidFill>
              <a:ln>
                <a:noFill/>
              </a:ln>
              <a:effectLst>
                <a:outerShdw blurRad="889000" dist="50800" dir="5400000" sx="89000" sy="89000" algn="ctr" rotWithShape="0">
                  <a:srgbClr val="000000">
                    <a:alpha val="48630"/>
                  </a:srgbClr>
                </a:outerShdw>
              </a:effectLst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1" name="Google Shape;511;p35"/>
              <p:cNvSpPr/>
              <p:nvPr/>
            </p:nvSpPr>
            <p:spPr>
              <a:xfrm>
                <a:off x="9782104" y="1743248"/>
                <a:ext cx="1017600" cy="1017000"/>
              </a:xfrm>
              <a:prstGeom prst="ellipse">
                <a:avLst/>
              </a:prstGeom>
              <a:solidFill>
                <a:srgbClr val="1F9CF0"/>
              </a:soli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512" name="Google Shape;512;p35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6926359" y="1038076"/>
              <a:ext cx="488257" cy="487204"/>
              <a:chOff x="9522579" y="1481845"/>
              <a:chExt cx="1535400" cy="1534500"/>
            </a:xfrm>
          </p:grpSpPr>
          <p:sp>
            <p:nvSpPr>
              <p:cNvPr id="513" name="Google Shape;513;p35"/>
              <p:cNvSpPr/>
              <p:nvPr/>
            </p:nvSpPr>
            <p:spPr>
              <a:xfrm>
                <a:off x="9522579" y="1481845"/>
                <a:ext cx="1535400" cy="1534500"/>
              </a:xfrm>
              <a:prstGeom prst="ellipse">
                <a:avLst/>
              </a:prstGeom>
              <a:solidFill>
                <a:srgbClr val="8661C5">
                  <a:alpha val="56860"/>
                </a:srgbClr>
              </a:solidFill>
              <a:ln>
                <a:noFill/>
              </a:ln>
              <a:effectLst>
                <a:outerShdw blurRad="889000" dist="50800" dir="5400000" sx="89000" sy="89000" algn="ctr" rotWithShape="0">
                  <a:srgbClr val="000000">
                    <a:alpha val="48630"/>
                  </a:srgbClr>
                </a:outerShdw>
              </a:effectLst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4" name="Google Shape;514;p35"/>
              <p:cNvSpPr/>
              <p:nvPr/>
            </p:nvSpPr>
            <p:spPr>
              <a:xfrm>
                <a:off x="9782104" y="1743248"/>
                <a:ext cx="1017600" cy="1017000"/>
              </a:xfrm>
              <a:prstGeom prst="ellipse">
                <a:avLst/>
              </a:prstGeom>
              <a:solidFill>
                <a:srgbClr val="8661C5"/>
              </a:soli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515" name="Google Shape;515;p35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4959237" y="2814668"/>
              <a:ext cx="488257" cy="487204"/>
              <a:chOff x="9522579" y="1481845"/>
              <a:chExt cx="1535400" cy="1534500"/>
            </a:xfrm>
          </p:grpSpPr>
          <p:sp>
            <p:nvSpPr>
              <p:cNvPr id="516" name="Google Shape;516;p35"/>
              <p:cNvSpPr/>
              <p:nvPr/>
            </p:nvSpPr>
            <p:spPr>
              <a:xfrm>
                <a:off x="9522579" y="1481845"/>
                <a:ext cx="1535400" cy="1534500"/>
              </a:xfrm>
              <a:prstGeom prst="ellipse">
                <a:avLst/>
              </a:prstGeom>
              <a:solidFill>
                <a:srgbClr val="8661C5">
                  <a:alpha val="56860"/>
                </a:srgbClr>
              </a:solidFill>
              <a:ln>
                <a:noFill/>
              </a:ln>
              <a:effectLst>
                <a:outerShdw blurRad="889000" dist="50800" dir="5400000" sx="89000" sy="89000" algn="ctr" rotWithShape="0">
                  <a:srgbClr val="000000">
                    <a:alpha val="48630"/>
                  </a:srgbClr>
                </a:outerShdw>
              </a:effectLst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7" name="Google Shape;517;p35"/>
              <p:cNvSpPr/>
              <p:nvPr/>
            </p:nvSpPr>
            <p:spPr>
              <a:xfrm>
                <a:off x="9782104" y="1743248"/>
                <a:ext cx="1017600" cy="1017000"/>
              </a:xfrm>
              <a:prstGeom prst="ellipse">
                <a:avLst/>
              </a:prstGeom>
              <a:solidFill>
                <a:srgbClr val="8661C5"/>
              </a:soli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518" name="Google Shape;518;p35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6926359" y="2819066"/>
              <a:ext cx="488257" cy="487204"/>
              <a:chOff x="9522579" y="1481845"/>
              <a:chExt cx="1535400" cy="1534500"/>
            </a:xfrm>
          </p:grpSpPr>
          <p:sp>
            <p:nvSpPr>
              <p:cNvPr id="519" name="Google Shape;519;p35"/>
              <p:cNvSpPr/>
              <p:nvPr/>
            </p:nvSpPr>
            <p:spPr>
              <a:xfrm>
                <a:off x="9522579" y="1481845"/>
                <a:ext cx="1535400" cy="1534500"/>
              </a:xfrm>
              <a:prstGeom prst="ellipse">
                <a:avLst/>
              </a:prstGeom>
              <a:solidFill>
                <a:srgbClr val="8661C5">
                  <a:alpha val="56860"/>
                </a:srgbClr>
              </a:solidFill>
              <a:ln>
                <a:noFill/>
              </a:ln>
              <a:effectLst>
                <a:outerShdw blurRad="889000" dist="50800" dir="5400000" sx="89000" sy="89000" algn="ctr" rotWithShape="0">
                  <a:srgbClr val="000000">
                    <a:alpha val="48630"/>
                  </a:srgbClr>
                </a:outerShdw>
              </a:effectLst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0" name="Google Shape;520;p35"/>
              <p:cNvSpPr/>
              <p:nvPr/>
            </p:nvSpPr>
            <p:spPr>
              <a:xfrm>
                <a:off x="9782104" y="1743248"/>
                <a:ext cx="1017600" cy="1017000"/>
              </a:xfrm>
              <a:prstGeom prst="ellipse">
                <a:avLst/>
              </a:prstGeom>
              <a:solidFill>
                <a:srgbClr val="8661C5"/>
              </a:soli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</p:grpSp>
        <p:cxnSp>
          <p:nvCxnSpPr>
            <p:cNvPr id="521" name="Google Shape;521;p35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>
            <a:xfrm>
              <a:off x="6635633" y="1050271"/>
              <a:ext cx="0" cy="1466400"/>
            </a:xfrm>
            <a:prstGeom prst="straightConnector1">
              <a:avLst/>
            </a:prstGeom>
            <a:noFill/>
            <a:ln w="12700" cap="flat" cmpd="sng">
              <a:solidFill>
                <a:srgbClr val="627597">
                  <a:alpha val="4980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22" name="Google Shape;522;p35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>
            <a:xfrm>
              <a:off x="6635633" y="2843507"/>
              <a:ext cx="0" cy="1466400"/>
            </a:xfrm>
            <a:prstGeom prst="straightConnector1">
              <a:avLst/>
            </a:prstGeom>
            <a:noFill/>
            <a:ln w="12700" cap="flat" cmpd="sng">
              <a:solidFill>
                <a:srgbClr val="627597">
                  <a:alpha val="4980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23" name="Google Shape;523;p35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>
            <a:xfrm>
              <a:off x="4723729" y="1050271"/>
              <a:ext cx="0" cy="1466400"/>
            </a:xfrm>
            <a:prstGeom prst="straightConnector1">
              <a:avLst/>
            </a:prstGeom>
            <a:noFill/>
            <a:ln w="12700" cap="flat" cmpd="sng">
              <a:solidFill>
                <a:srgbClr val="627597">
                  <a:alpha val="4980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24" name="Google Shape;524;p35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>
            <a:xfrm>
              <a:off x="4723729" y="2843507"/>
              <a:ext cx="0" cy="1466400"/>
            </a:xfrm>
            <a:prstGeom prst="straightConnector1">
              <a:avLst/>
            </a:prstGeom>
            <a:noFill/>
            <a:ln w="12700" cap="flat" cmpd="sng">
              <a:solidFill>
                <a:srgbClr val="627597">
                  <a:alpha val="4980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525" name="Google Shape;525;p35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 rot="10800000">
              <a:off x="407925" y="525"/>
              <a:ext cx="73200" cy="2172900"/>
            </a:xfrm>
            <a:prstGeom prst="rect">
              <a:avLst/>
            </a:prstGeom>
            <a:gradFill>
              <a:gsLst>
                <a:gs pos="0">
                  <a:srgbClr val="D59DFF"/>
                </a:gs>
                <a:gs pos="100000">
                  <a:srgbClr val="28AFEA"/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i="0">
                <a:latin typeface="Helvetica" pitchFamily="2" charset="0"/>
              </a:endParaRPr>
            </a:p>
          </p:txBody>
        </p:sp>
      </p:grpSp>
      <p:sp>
        <p:nvSpPr>
          <p:cNvPr id="527" name="Google Shape;527;p35"/>
          <p:cNvSpPr txBox="1">
            <a:spLocks noGrp="1"/>
          </p:cNvSpPr>
          <p:nvPr>
            <p:ph type="title"/>
          </p:nvPr>
        </p:nvSpPr>
        <p:spPr>
          <a:xfrm>
            <a:off x="804672" y="1033272"/>
            <a:ext cx="2432400" cy="7773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700"/>
              <a:buNone/>
              <a:defRPr sz="1700" b="0" i="0">
                <a:latin typeface="Helvetica" pitchFamily="2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6" name="Google Shape;526;p35"/>
          <p:cNvSpPr txBox="1">
            <a:spLocks noGrp="1"/>
          </p:cNvSpPr>
          <p:nvPr>
            <p:ph type="subTitle" idx="1"/>
          </p:nvPr>
        </p:nvSpPr>
        <p:spPr>
          <a:xfrm>
            <a:off x="804672" y="548640"/>
            <a:ext cx="3026700" cy="1554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9pPr>
          </a:lstStyle>
          <a:p>
            <a:endParaRPr/>
          </a:p>
        </p:txBody>
      </p:sp>
      <p:sp>
        <p:nvSpPr>
          <p:cNvPr id="528" name="Google Shape;528;p35"/>
          <p:cNvSpPr txBox="1">
            <a:spLocks noGrp="1"/>
          </p:cNvSpPr>
          <p:nvPr>
            <p:ph type="body" idx="2"/>
          </p:nvPr>
        </p:nvSpPr>
        <p:spPr>
          <a:xfrm>
            <a:off x="804672" y="2386584"/>
            <a:ext cx="2432400" cy="1591200"/>
          </a:xfrm>
          <a:prstGeom prst="rect">
            <a:avLst/>
          </a:prstGeom>
        </p:spPr>
        <p:txBody>
          <a:bodyPr spcFirstLastPara="1" vert="horz" wrap="square" lIns="45700" tIns="18275" rIns="45700" bIns="18275" rtlCol="0" anchor="t" anchorCtr="0">
            <a:noAutofit/>
          </a:bodyPr>
          <a:lstStyle>
            <a:lvl1pPr>
              <a:defRPr lang="en-US" sz="800" b="0" i="0" dirty="0" smtClean="0">
                <a:latin typeface="Helvetica" pitchFamily="2" charset="0"/>
              </a:defRPr>
            </a:lvl1pPr>
            <a:lvl2pPr>
              <a:defRPr lang="en-US" sz="800" dirty="0" smtClean="0"/>
            </a:lvl2pPr>
            <a:lvl3pPr>
              <a:defRPr lang="en-US" sz="800" dirty="0" smtClean="0"/>
            </a:lvl3pPr>
            <a:lvl4pPr>
              <a:defRPr lang="en-US" sz="800" dirty="0" smtClean="0"/>
            </a:lvl4pPr>
            <a:lvl5pPr>
              <a:defRPr sz="800" dirty="0"/>
            </a:lvl5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/>
          </a:p>
        </p:txBody>
      </p:sp>
      <p:sp>
        <p:nvSpPr>
          <p:cNvPr id="529" name="Google Shape;529;p35"/>
          <p:cNvSpPr>
            <a:spLocks noGrp="1"/>
          </p:cNvSpPr>
          <p:nvPr>
            <p:ph type="pic" idx="3"/>
          </p:nvPr>
        </p:nvSpPr>
        <p:spPr>
          <a:xfrm>
            <a:off x="5093208" y="1170432"/>
            <a:ext cx="228600" cy="228600"/>
          </a:xfrm>
          <a:prstGeom prst="ellipse">
            <a:avLst/>
          </a:prstGeom>
          <a:noFill/>
          <a:ln>
            <a:noFill/>
          </a:ln>
        </p:spPr>
        <p:txBody>
          <a:bodyPr wrap="square" lIns="0" tIns="0" rIns="0" bIns="0" anchor="ctr"/>
          <a:lstStyle>
            <a:lvl1pPr marL="0" indent="0" algn="ctr">
              <a:buNone/>
              <a:defRPr sz="200"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534" name="Google Shape;534;p35"/>
          <p:cNvSpPr txBox="1">
            <a:spLocks noGrp="1"/>
          </p:cNvSpPr>
          <p:nvPr>
            <p:ph type="body" idx="8"/>
          </p:nvPr>
        </p:nvSpPr>
        <p:spPr>
          <a:xfrm>
            <a:off x="4956048" y="1645920"/>
            <a:ext cx="1152000" cy="160018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spAutoFit/>
          </a:bodyPr>
          <a:lstStyle>
            <a:lvl1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 b="1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533" name="Google Shape;533;p35"/>
          <p:cNvSpPr txBox="1">
            <a:spLocks noGrp="1"/>
          </p:cNvSpPr>
          <p:nvPr>
            <p:ph type="body" idx="7"/>
          </p:nvPr>
        </p:nvSpPr>
        <p:spPr>
          <a:xfrm>
            <a:off x="4956048" y="1828800"/>
            <a:ext cx="1362600" cy="731400"/>
          </a:xfrm>
          <a:prstGeom prst="rect">
            <a:avLst/>
          </a:prstGeom>
        </p:spPr>
        <p:txBody>
          <a:bodyPr spcFirstLastPara="1" vert="horz" wrap="square" lIns="45700" tIns="18275" rIns="45700" bIns="18275" rtlCol="0" anchor="t" anchorCtr="0">
            <a:noAutofit/>
          </a:bodyPr>
          <a:lstStyle>
            <a:lvl1pPr>
              <a:spcBef>
                <a:spcPts val="200"/>
              </a:spcBef>
              <a:defRPr lang="en-US" sz="800" b="0" i="0" dirty="0" smtClean="0">
                <a:latin typeface="Helvetica" pitchFamily="2" charset="0"/>
              </a:defRPr>
            </a:lvl1pPr>
            <a:lvl2pPr>
              <a:spcBef>
                <a:spcPts val="200"/>
              </a:spcBef>
              <a:defRPr lang="en-US" sz="800" dirty="0" smtClean="0"/>
            </a:lvl2pPr>
            <a:lvl3pPr>
              <a:spcBef>
                <a:spcPts val="200"/>
              </a:spcBef>
              <a:defRPr lang="en-US" sz="800" dirty="0" smtClean="0"/>
            </a:lvl3pPr>
            <a:lvl4pPr>
              <a:spcBef>
                <a:spcPts val="200"/>
              </a:spcBef>
              <a:defRPr lang="en-US" sz="800" dirty="0" smtClean="0"/>
            </a:lvl4pPr>
            <a:lvl5pPr>
              <a:spcBef>
                <a:spcPts val="200"/>
              </a:spcBef>
              <a:defRPr lang="en-US" sz="800" dirty="0"/>
            </a:lvl5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 lang="en-US"/>
          </a:p>
        </p:txBody>
      </p:sp>
      <p:sp>
        <p:nvSpPr>
          <p:cNvPr id="47" name="Google Shape;529;p35">
            <a:extLst>
              <a:ext uri="{FF2B5EF4-FFF2-40B4-BE49-F238E27FC236}">
                <a16:creationId xmlns:a16="http://schemas.microsoft.com/office/drawing/2014/main" id="{729EA799-ABE1-53C2-EEAF-D65055BB3DE1}"/>
              </a:ext>
            </a:extLst>
          </p:cNvPr>
          <p:cNvSpPr>
            <a:spLocks noGrp="1"/>
          </p:cNvSpPr>
          <p:nvPr>
            <p:ph type="pic" idx="21"/>
          </p:nvPr>
        </p:nvSpPr>
        <p:spPr>
          <a:xfrm>
            <a:off x="7056187" y="1170432"/>
            <a:ext cx="228600" cy="228600"/>
          </a:xfrm>
          <a:prstGeom prst="ellipse">
            <a:avLst/>
          </a:prstGeom>
          <a:noFill/>
          <a:ln>
            <a:noFill/>
          </a:ln>
        </p:spPr>
        <p:txBody>
          <a:bodyPr wrap="square" lIns="0" tIns="0" rIns="0" bIns="0" anchor="ctr"/>
          <a:lstStyle>
            <a:lvl1pPr marL="0" indent="0" algn="ctr">
              <a:buNone/>
              <a:defRPr sz="200"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538" name="Google Shape;538;p35"/>
          <p:cNvSpPr txBox="1">
            <a:spLocks noGrp="1"/>
          </p:cNvSpPr>
          <p:nvPr>
            <p:ph type="body" idx="15"/>
          </p:nvPr>
        </p:nvSpPr>
        <p:spPr>
          <a:xfrm>
            <a:off x="6894576" y="1645920"/>
            <a:ext cx="1152000" cy="1737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 b="1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79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535" name="Google Shape;535;p35"/>
          <p:cNvSpPr txBox="1">
            <a:spLocks noGrp="1"/>
          </p:cNvSpPr>
          <p:nvPr>
            <p:ph type="body" idx="9"/>
          </p:nvPr>
        </p:nvSpPr>
        <p:spPr>
          <a:xfrm>
            <a:off x="6894576" y="1828800"/>
            <a:ext cx="1362600" cy="731400"/>
          </a:xfrm>
          <a:prstGeom prst="rect">
            <a:avLst/>
          </a:prstGeom>
        </p:spPr>
        <p:txBody>
          <a:bodyPr spcFirstLastPara="1" vert="horz" wrap="square" lIns="45700" tIns="18275" rIns="45700" bIns="18275" rtlCol="0" anchor="t" anchorCtr="0">
            <a:noAutofit/>
          </a:bodyPr>
          <a:lstStyle>
            <a:lvl1pPr>
              <a:spcBef>
                <a:spcPts val="200"/>
              </a:spcBef>
              <a:defRPr lang="en-US" sz="800" b="0" i="0" dirty="0" smtClean="0">
                <a:latin typeface="Helvetica" pitchFamily="2" charset="0"/>
              </a:defRPr>
            </a:lvl1pPr>
            <a:lvl2pPr>
              <a:spcBef>
                <a:spcPts val="200"/>
              </a:spcBef>
              <a:defRPr lang="en-US" sz="800" dirty="0" smtClean="0"/>
            </a:lvl2pPr>
            <a:lvl3pPr>
              <a:spcBef>
                <a:spcPts val="200"/>
              </a:spcBef>
              <a:defRPr lang="en-US" sz="800" dirty="0" smtClean="0"/>
            </a:lvl3pPr>
            <a:lvl4pPr>
              <a:spcBef>
                <a:spcPts val="200"/>
              </a:spcBef>
              <a:defRPr lang="en-US" sz="800" dirty="0" smtClean="0"/>
            </a:lvl4pPr>
            <a:lvl5pPr>
              <a:spcBef>
                <a:spcPts val="200"/>
              </a:spcBef>
              <a:defRPr lang="en-US" sz="800" dirty="0"/>
            </a:lvl5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 lang="en-US"/>
          </a:p>
        </p:txBody>
      </p:sp>
      <p:sp>
        <p:nvSpPr>
          <p:cNvPr id="48" name="Google Shape;529;p35">
            <a:extLst>
              <a:ext uri="{FF2B5EF4-FFF2-40B4-BE49-F238E27FC236}">
                <a16:creationId xmlns:a16="http://schemas.microsoft.com/office/drawing/2014/main" id="{F69F98B3-729F-58A4-712C-0D35F0AE5418}"/>
              </a:ext>
            </a:extLst>
          </p:cNvPr>
          <p:cNvSpPr>
            <a:spLocks noGrp="1"/>
          </p:cNvSpPr>
          <p:nvPr>
            <p:ph type="pic" idx="22"/>
          </p:nvPr>
        </p:nvSpPr>
        <p:spPr>
          <a:xfrm>
            <a:off x="5093208" y="2944463"/>
            <a:ext cx="228600" cy="228600"/>
          </a:xfrm>
          <a:prstGeom prst="ellipse">
            <a:avLst/>
          </a:prstGeom>
          <a:noFill/>
          <a:ln>
            <a:noFill/>
          </a:ln>
        </p:spPr>
        <p:txBody>
          <a:bodyPr wrap="square" lIns="0" tIns="0" rIns="0" bIns="0" anchor="ctr"/>
          <a:lstStyle>
            <a:lvl1pPr marL="0" indent="0" algn="ctr">
              <a:buNone/>
              <a:defRPr sz="200"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539" name="Google Shape;539;p35"/>
          <p:cNvSpPr txBox="1">
            <a:spLocks noGrp="1"/>
          </p:cNvSpPr>
          <p:nvPr>
            <p:ph type="body" idx="16"/>
          </p:nvPr>
        </p:nvSpPr>
        <p:spPr>
          <a:xfrm>
            <a:off x="4937760" y="3438144"/>
            <a:ext cx="1152000" cy="1737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 b="1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536" name="Google Shape;536;p35"/>
          <p:cNvSpPr txBox="1">
            <a:spLocks noGrp="1"/>
          </p:cNvSpPr>
          <p:nvPr>
            <p:ph type="body" idx="13"/>
          </p:nvPr>
        </p:nvSpPr>
        <p:spPr>
          <a:xfrm>
            <a:off x="4956048" y="3621024"/>
            <a:ext cx="1362600" cy="731400"/>
          </a:xfrm>
          <a:prstGeom prst="rect">
            <a:avLst/>
          </a:prstGeom>
        </p:spPr>
        <p:txBody>
          <a:bodyPr spcFirstLastPara="1" vert="horz" wrap="square" lIns="45700" tIns="18275" rIns="45700" bIns="18275" rtlCol="0" anchor="t" anchorCtr="0">
            <a:noAutofit/>
          </a:bodyPr>
          <a:lstStyle>
            <a:lvl1pPr>
              <a:spcBef>
                <a:spcPts val="200"/>
              </a:spcBef>
              <a:defRPr sz="800" b="0" i="0" dirty="0">
                <a:latin typeface="Helvetica" pitchFamily="2" charset="0"/>
              </a:defRPr>
            </a:lvl1pPr>
            <a:lvl2pPr>
              <a:spcBef>
                <a:spcPts val="200"/>
              </a:spcBef>
              <a:defRPr lang="en-US" sz="800" dirty="0" smtClean="0"/>
            </a:lvl2pPr>
            <a:lvl3pPr>
              <a:spcBef>
                <a:spcPts val="200"/>
              </a:spcBef>
              <a:defRPr lang="en-US" sz="800" dirty="0" smtClean="0"/>
            </a:lvl3pPr>
            <a:lvl4pPr>
              <a:spcBef>
                <a:spcPts val="200"/>
              </a:spcBef>
              <a:defRPr lang="en-US" sz="800" dirty="0" smtClean="0"/>
            </a:lvl4pPr>
            <a:lvl5pPr>
              <a:spcBef>
                <a:spcPts val="200"/>
              </a:spcBef>
              <a:defRPr lang="en-US" sz="800" dirty="0" smtClean="0"/>
            </a:lvl5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/>
          </a:p>
        </p:txBody>
      </p:sp>
      <p:sp>
        <p:nvSpPr>
          <p:cNvPr id="49" name="Google Shape;529;p35">
            <a:extLst>
              <a:ext uri="{FF2B5EF4-FFF2-40B4-BE49-F238E27FC236}">
                <a16:creationId xmlns:a16="http://schemas.microsoft.com/office/drawing/2014/main" id="{22E7ED28-AC2C-AD47-BE45-C32830409176}"/>
              </a:ext>
            </a:extLst>
          </p:cNvPr>
          <p:cNvSpPr>
            <a:spLocks noGrp="1"/>
          </p:cNvSpPr>
          <p:nvPr>
            <p:ph type="pic" idx="23"/>
          </p:nvPr>
        </p:nvSpPr>
        <p:spPr>
          <a:xfrm>
            <a:off x="7056187" y="2944463"/>
            <a:ext cx="228600" cy="228600"/>
          </a:xfrm>
          <a:prstGeom prst="ellipse">
            <a:avLst/>
          </a:prstGeom>
          <a:noFill/>
          <a:ln>
            <a:noFill/>
          </a:ln>
        </p:spPr>
        <p:txBody>
          <a:bodyPr wrap="square" lIns="0" tIns="0" rIns="0" bIns="0" anchor="ctr"/>
          <a:lstStyle>
            <a:lvl1pPr marL="0" indent="0" algn="ctr">
              <a:buNone/>
              <a:defRPr sz="200"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540" name="Google Shape;540;p35"/>
          <p:cNvSpPr txBox="1">
            <a:spLocks noGrp="1"/>
          </p:cNvSpPr>
          <p:nvPr>
            <p:ph type="body" idx="17"/>
          </p:nvPr>
        </p:nvSpPr>
        <p:spPr>
          <a:xfrm>
            <a:off x="6867144" y="3438144"/>
            <a:ext cx="1152000" cy="1737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 b="1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537" name="Google Shape;537;p35"/>
          <p:cNvSpPr txBox="1">
            <a:spLocks noGrp="1"/>
          </p:cNvSpPr>
          <p:nvPr>
            <p:ph type="body" idx="14"/>
          </p:nvPr>
        </p:nvSpPr>
        <p:spPr>
          <a:xfrm>
            <a:off x="6894576" y="3621024"/>
            <a:ext cx="1362600" cy="731400"/>
          </a:xfrm>
          <a:prstGeom prst="rect">
            <a:avLst/>
          </a:prstGeom>
        </p:spPr>
        <p:txBody>
          <a:bodyPr spcFirstLastPara="1" vert="horz" wrap="square" lIns="45700" tIns="18275" rIns="45700" bIns="18275" rtlCol="0" anchor="t" anchorCtr="0">
            <a:noAutofit/>
          </a:bodyPr>
          <a:lstStyle>
            <a:lvl1pPr>
              <a:spcBef>
                <a:spcPts val="200"/>
              </a:spcBef>
              <a:defRPr lang="en-US" sz="800" b="0" i="0" dirty="0" smtClean="0">
                <a:latin typeface="Helvetica" pitchFamily="2" charset="0"/>
              </a:defRPr>
            </a:lvl1pPr>
            <a:lvl2pPr>
              <a:spcBef>
                <a:spcPts val="200"/>
              </a:spcBef>
              <a:defRPr lang="en-US" sz="800" dirty="0" smtClean="0"/>
            </a:lvl2pPr>
            <a:lvl3pPr>
              <a:spcBef>
                <a:spcPts val="200"/>
              </a:spcBef>
              <a:defRPr lang="en-US" sz="800" dirty="0" smtClean="0"/>
            </a:lvl3pPr>
            <a:lvl4pPr>
              <a:spcBef>
                <a:spcPts val="200"/>
              </a:spcBef>
              <a:defRPr lang="en-US" sz="800" dirty="0" smtClean="0"/>
            </a:lvl4pPr>
            <a:lvl5pPr>
              <a:spcBef>
                <a:spcPts val="200"/>
              </a:spcBef>
              <a:defRPr lang="en-US" sz="800" dirty="0"/>
            </a:lvl5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 lang="en-US"/>
          </a:p>
        </p:txBody>
      </p:sp>
      <p:sp>
        <p:nvSpPr>
          <p:cNvPr id="44" name="Google Shape;268;p27">
            <a:extLst>
              <a:ext uri="{FF2B5EF4-FFF2-40B4-BE49-F238E27FC236}">
                <a16:creationId xmlns:a16="http://schemas.microsoft.com/office/drawing/2014/main" id="{2A6E29A0-D670-464E-AA55-EA5B586AC6C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 userDrawn="1"/>
        </p:nvSpPr>
        <p:spPr>
          <a:xfrm>
            <a:off x="5450166" y="4900823"/>
            <a:ext cx="3595800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500" b="0" i="0">
                <a:solidFill>
                  <a:schemeClr val="lt1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‹#›</a:t>
            </a:fld>
            <a:endParaRPr sz="500" b="0" i="0">
              <a:solidFill>
                <a:schemeClr val="lt1"/>
              </a:solidFill>
              <a:latin typeface="Helvetica" pitchFamily="2" charset="0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2" name="Google Shape;67;p15">
            <a:extLst>
              <a:ext uri="{FF2B5EF4-FFF2-40B4-BE49-F238E27FC236}">
                <a16:creationId xmlns:a16="http://schemas.microsoft.com/office/drawing/2014/main" id="{2369748B-893C-5893-C0C9-FE3921D92B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" name="Google Shape;56;p14">
            <a:extLst>
              <a:ext uri="{FF2B5EF4-FFF2-40B4-BE49-F238E27FC236}">
                <a16:creationId xmlns:a16="http://schemas.microsoft.com/office/drawing/2014/main" id="{AFD725F6-6736-7D83-02C4-FF4EF7E2D4BB}"/>
              </a:ext>
            </a:extLst>
          </p:cNvPr>
          <p:cNvSpPr/>
          <p:nvPr userDrawn="1"/>
        </p:nvSpPr>
        <p:spPr>
          <a:xfrm>
            <a:off x="569084" y="4900823"/>
            <a:ext cx="5054476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 dirty="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5 THINGS YOU CAN DO WITH GITHUB COPILOT</a:t>
            </a:r>
            <a:endParaRPr lang="en-US" sz="500" b="0" i="0" u="none" strike="noStrike" kern="1200" cap="none" spc="600" dirty="0">
              <a:solidFill>
                <a:srgbClr val="627597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51200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Monitor Graphic" preserve="1">
  <p:cSld name="Monitor Graphic">
    <p:spTree>
      <p:nvGrpSpPr>
        <p:cNvPr id="1" name="Shape 5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BF03BAE5-7898-A7A2-D1A5-B19F83DA9E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3144462" y="-399000"/>
            <a:ext cx="15475450" cy="6404400"/>
            <a:chOff x="-3144462" y="-399000"/>
            <a:chExt cx="15475450" cy="6404400"/>
          </a:xfrm>
        </p:grpSpPr>
        <p:sp>
          <p:nvSpPr>
            <p:cNvPr id="545" name="Google Shape;545;p36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-1994069" y="-399000"/>
              <a:ext cx="6414300" cy="6404400"/>
            </a:xfrm>
            <a:prstGeom prst="ellipse">
              <a:avLst/>
            </a:prstGeom>
            <a:gradFill>
              <a:gsLst>
                <a:gs pos="0">
                  <a:schemeClr val="accent3"/>
                </a:gs>
                <a:gs pos="72000">
                  <a:srgbClr val="D59DFF">
                    <a:alpha val="0"/>
                  </a:srgbClr>
                </a:gs>
                <a:gs pos="100000">
                  <a:srgbClr val="D59DFF">
                    <a:alpha val="0"/>
                  </a:srgbClr>
                </a:gs>
              </a:gsLst>
              <a:lin ang="2700006" scaled="0"/>
            </a:gra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546" name="Google Shape;546;p36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>
            <a:xfrm>
              <a:off x="5579309" y="896053"/>
              <a:ext cx="2070300" cy="0"/>
            </a:xfrm>
            <a:prstGeom prst="straightConnector1">
              <a:avLst/>
            </a:prstGeom>
            <a:noFill/>
            <a:ln w="12700" cap="flat" cmpd="sng">
              <a:solidFill>
                <a:srgbClr val="627597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pic>
          <p:nvPicPr>
            <p:cNvPr id="547" name="Google Shape;547;p36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 rotWithShape="1">
            <a:blip r:embed="rId2">
              <a:alphaModFix amt="30000"/>
            </a:blip>
            <a:srcRect/>
            <a:stretch/>
          </p:blipFill>
          <p:spPr>
            <a:xfrm>
              <a:off x="-3144462" y="580234"/>
              <a:ext cx="3762369" cy="376236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48" name="Google Shape;548;p36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 rotWithShape="1">
            <a:blip r:embed="rId2">
              <a:alphaModFix amt="30000"/>
            </a:blip>
            <a:srcRect/>
            <a:stretch/>
          </p:blipFill>
          <p:spPr>
            <a:xfrm>
              <a:off x="8568619" y="580234"/>
              <a:ext cx="3762369" cy="3762369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50" name="Google Shape;550;p36"/>
          <p:cNvSpPr txBox="1">
            <a:spLocks noGrp="1"/>
          </p:cNvSpPr>
          <p:nvPr>
            <p:ph type="title"/>
          </p:nvPr>
        </p:nvSpPr>
        <p:spPr>
          <a:xfrm>
            <a:off x="5541264" y="1188720"/>
            <a:ext cx="2432400" cy="7773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700"/>
              <a:buNone/>
              <a:defRPr sz="1700" b="0" i="0">
                <a:latin typeface="Helvetica" pitchFamily="2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9" name="Google Shape;549;p36"/>
          <p:cNvSpPr txBox="1">
            <a:spLocks noGrp="1"/>
          </p:cNvSpPr>
          <p:nvPr>
            <p:ph type="subTitle" idx="1"/>
          </p:nvPr>
        </p:nvSpPr>
        <p:spPr>
          <a:xfrm>
            <a:off x="5541264" y="704088"/>
            <a:ext cx="3026700" cy="1554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9pPr>
          </a:lstStyle>
          <a:p>
            <a:endParaRPr/>
          </a:p>
        </p:txBody>
      </p:sp>
      <p:sp>
        <p:nvSpPr>
          <p:cNvPr id="551" name="Google Shape;551;p36"/>
          <p:cNvSpPr txBox="1">
            <a:spLocks noGrp="1"/>
          </p:cNvSpPr>
          <p:nvPr>
            <p:ph type="body" idx="2"/>
          </p:nvPr>
        </p:nvSpPr>
        <p:spPr>
          <a:xfrm>
            <a:off x="5541264" y="2542032"/>
            <a:ext cx="2432400" cy="1591200"/>
          </a:xfrm>
          <a:prstGeom prst="rect">
            <a:avLst/>
          </a:prstGeom>
        </p:spPr>
        <p:txBody>
          <a:bodyPr spcFirstLastPara="1" vert="horz" wrap="square" lIns="45700" tIns="18275" rIns="45700" bIns="18275" rtlCol="0" anchor="t" anchorCtr="0">
            <a:noAutofit/>
          </a:bodyPr>
          <a:lstStyle>
            <a:lvl1pPr>
              <a:defRPr lang="en-US" sz="800" b="0" i="0" dirty="0" smtClean="0">
                <a:latin typeface="Helvetica" pitchFamily="2" charset="0"/>
              </a:defRPr>
            </a:lvl1pPr>
            <a:lvl2pPr>
              <a:defRPr lang="en-US" sz="800" dirty="0" smtClean="0"/>
            </a:lvl2pPr>
            <a:lvl3pPr>
              <a:defRPr lang="en-US" sz="800" dirty="0" smtClean="0"/>
            </a:lvl3pPr>
            <a:lvl4pPr>
              <a:defRPr lang="en-US" sz="800" dirty="0" smtClean="0"/>
            </a:lvl4pPr>
            <a:lvl5pPr>
              <a:defRPr lang="en-US" sz="800" dirty="0"/>
            </a:lvl5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 lang="en-US"/>
          </a:p>
        </p:txBody>
      </p:sp>
      <p:sp>
        <p:nvSpPr>
          <p:cNvPr id="12" name="Google Shape;268;p27">
            <a:extLst>
              <a:ext uri="{FF2B5EF4-FFF2-40B4-BE49-F238E27FC236}">
                <a16:creationId xmlns:a16="http://schemas.microsoft.com/office/drawing/2014/main" id="{268F1A49-11B7-8F40-B03E-43CCD03FF4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 userDrawn="1"/>
        </p:nvSpPr>
        <p:spPr>
          <a:xfrm>
            <a:off x="5450166" y="4900823"/>
            <a:ext cx="3595800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500" b="0" i="0">
                <a:solidFill>
                  <a:schemeClr val="lt1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‹#›</a:t>
            </a:fld>
            <a:endParaRPr sz="500" b="0" i="0">
              <a:solidFill>
                <a:schemeClr val="lt1"/>
              </a:solidFill>
              <a:latin typeface="Helvetica" pitchFamily="2" charset="0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3" name="Google Shape;67;p15">
            <a:extLst>
              <a:ext uri="{FF2B5EF4-FFF2-40B4-BE49-F238E27FC236}">
                <a16:creationId xmlns:a16="http://schemas.microsoft.com/office/drawing/2014/main" id="{333C52CC-B9F3-AE1B-E7E1-805DB981F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" name="Google Shape;56;p14">
            <a:extLst>
              <a:ext uri="{FF2B5EF4-FFF2-40B4-BE49-F238E27FC236}">
                <a16:creationId xmlns:a16="http://schemas.microsoft.com/office/drawing/2014/main" id="{E5265A25-E1A3-4972-F79A-51CDE8008CFD}"/>
              </a:ext>
            </a:extLst>
          </p:cNvPr>
          <p:cNvSpPr/>
          <p:nvPr userDrawn="1"/>
        </p:nvSpPr>
        <p:spPr>
          <a:xfrm>
            <a:off x="569084" y="4900823"/>
            <a:ext cx="5054476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 dirty="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5 THINGS YOU CAN DO WITH GITHUB COPILOT</a:t>
            </a:r>
            <a:endParaRPr lang="en-US" sz="500" b="0" i="0" u="none" strike="noStrike" kern="1200" cap="none" spc="600" dirty="0">
              <a:solidFill>
                <a:srgbClr val="627597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339487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eft-side Copy" preserve="1">
  <p:cSld name="Left-side Copy">
    <p:spTree>
      <p:nvGrpSpPr>
        <p:cNvPr id="1" name="Shape 5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826CC8A-2169-C1C2-F991-0F061299EE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3144462" y="580234"/>
            <a:ext cx="13708098" cy="3762369"/>
            <a:chOff x="-3144462" y="580234"/>
            <a:chExt cx="13708098" cy="3762369"/>
          </a:xfrm>
        </p:grpSpPr>
        <p:sp>
          <p:nvSpPr>
            <p:cNvPr id="556" name="Google Shape;556;p37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071966" y="1395327"/>
              <a:ext cx="1363500" cy="1008900"/>
            </a:xfrm>
            <a:prstGeom prst="roundRect">
              <a:avLst>
                <a:gd name="adj" fmla="val 6753"/>
              </a:avLst>
            </a:prstGeom>
            <a:gradFill>
              <a:gsLst>
                <a:gs pos="0">
                  <a:srgbClr val="1F9CF0"/>
                </a:gs>
                <a:gs pos="100000">
                  <a:srgbClr val="9477E2">
                    <a:alpha val="0"/>
                  </a:srgbClr>
                </a:gs>
              </a:gsLst>
              <a:lin ang="2700006" scaled="0"/>
            </a:gra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7" name="Google Shape;557;p37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886802" y="2954245"/>
              <a:ext cx="996600" cy="737400"/>
            </a:xfrm>
            <a:prstGeom prst="roundRect">
              <a:avLst>
                <a:gd name="adj" fmla="val 6753"/>
              </a:avLst>
            </a:prstGeom>
            <a:gradFill>
              <a:gsLst>
                <a:gs pos="0">
                  <a:srgbClr val="9477E2"/>
                </a:gs>
                <a:gs pos="100000">
                  <a:srgbClr val="9477E2">
                    <a:alpha val="0"/>
                  </a:srgbClr>
                </a:gs>
              </a:gsLst>
              <a:lin ang="2700006" scaled="0"/>
            </a:gra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lvl="0" indent="0" algn="ctr" defTabSz="914400" eaLnBrk="1" fontAlgn="auto" latinLnBrk="0" hangingPunct="1">
                <a:buClrTx/>
                <a:buSzTx/>
                <a:buFontTx/>
                <a:buNone/>
                <a:tabLst/>
              </a:pPr>
              <a:endParaRPr kumimoji="0" sz="800" kern="0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558" name="Google Shape;558;p37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>
            <a:xfrm>
              <a:off x="836471" y="737356"/>
              <a:ext cx="2070300" cy="0"/>
            </a:xfrm>
            <a:prstGeom prst="straightConnector1">
              <a:avLst/>
            </a:prstGeom>
            <a:noFill/>
            <a:ln w="12700" cap="flat" cmpd="sng">
              <a:solidFill>
                <a:srgbClr val="627597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pic>
          <p:nvPicPr>
            <p:cNvPr id="559" name="Google Shape;559;p37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 rotWithShape="1">
            <a:blip r:embed="rId2">
              <a:alphaModFix amt="30000"/>
            </a:blip>
            <a:srcRect/>
            <a:stretch/>
          </p:blipFill>
          <p:spPr>
            <a:xfrm>
              <a:off x="-3144462" y="580234"/>
              <a:ext cx="3762369" cy="376236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60" name="Google Shape;560;p37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 rotWithShape="1">
            <a:blip r:embed="rId2">
              <a:alphaModFix amt="30000"/>
            </a:blip>
            <a:srcRect/>
            <a:stretch/>
          </p:blipFill>
          <p:spPr>
            <a:xfrm>
              <a:off x="6801267" y="580234"/>
              <a:ext cx="3762369" cy="3762369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62" name="Google Shape;562;p37"/>
          <p:cNvSpPr txBox="1">
            <a:spLocks noGrp="1"/>
          </p:cNvSpPr>
          <p:nvPr>
            <p:ph type="title"/>
          </p:nvPr>
        </p:nvSpPr>
        <p:spPr>
          <a:xfrm>
            <a:off x="804672" y="1033272"/>
            <a:ext cx="2432400" cy="7773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1700"/>
              <a:buNone/>
              <a:defRPr sz="1700" b="0" i="0">
                <a:latin typeface="Helvetica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1" name="Google Shape;561;p37"/>
          <p:cNvSpPr txBox="1">
            <a:spLocks noGrp="1"/>
          </p:cNvSpPr>
          <p:nvPr>
            <p:ph type="subTitle" idx="1"/>
          </p:nvPr>
        </p:nvSpPr>
        <p:spPr>
          <a:xfrm>
            <a:off x="804672" y="548640"/>
            <a:ext cx="3026700" cy="1554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9pPr>
          </a:lstStyle>
          <a:p>
            <a:endParaRPr/>
          </a:p>
        </p:txBody>
      </p:sp>
      <p:sp>
        <p:nvSpPr>
          <p:cNvPr id="563" name="Google Shape;563;p37"/>
          <p:cNvSpPr txBox="1">
            <a:spLocks noGrp="1"/>
          </p:cNvSpPr>
          <p:nvPr>
            <p:ph type="body" idx="2" hasCustomPrompt="1"/>
          </p:nvPr>
        </p:nvSpPr>
        <p:spPr>
          <a:xfrm>
            <a:off x="804672" y="2386584"/>
            <a:ext cx="2432400" cy="1591200"/>
          </a:xfrm>
          <a:prstGeom prst="rect">
            <a:avLst/>
          </a:prstGeom>
        </p:spPr>
        <p:txBody>
          <a:bodyPr spcFirstLastPara="1" vert="horz" wrap="square" lIns="45700" tIns="18275" rIns="45700" bIns="18275" rtlCol="0" anchor="t" anchorCtr="0">
            <a:noAutofit/>
          </a:bodyPr>
          <a:lstStyle>
            <a:lvl1pPr>
              <a:defRPr lang="en-US" sz="800" b="0" i="0" dirty="0" smtClean="0">
                <a:latin typeface="Helvetica" pitchFamily="2" charset="0"/>
              </a:defRPr>
            </a:lvl1pPr>
            <a:lvl2pPr>
              <a:defRPr lang="en-US" sz="800" dirty="0" smtClean="0"/>
            </a:lvl2pPr>
            <a:lvl3pPr>
              <a:defRPr lang="en-US" sz="800" dirty="0" smtClean="0"/>
            </a:lvl3pPr>
            <a:lvl4pPr>
              <a:defRPr lang="en-US" sz="800" dirty="0" smtClean="0"/>
            </a:lvl4pPr>
            <a:lvl5pPr>
              <a:defRPr sz="800" dirty="0"/>
            </a:lvl5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SzPts val="800"/>
              <a:buNone/>
            </a:pPr>
            <a:r>
              <a:rPr lang="en-US" err="1"/>
              <a:t>Asdasd</a:t>
            </a:r>
            <a:endParaRPr lang="en-US"/>
          </a:p>
          <a:p>
            <a:pPr marL="177800" lvl="1" indent="-107950">
              <a:spcAft>
                <a:spcPts val="0"/>
              </a:spcAft>
              <a:buSzPts val="800"/>
              <a:buFont typeface="Arial" panose="020B0604020202020204" pitchFamily="34" charset="0"/>
              <a:buChar char="•"/>
            </a:pPr>
            <a:r>
              <a:rPr lang="en-US" err="1"/>
              <a:t>Asdasdasd</a:t>
            </a:r>
            <a:endParaRPr lang="en-US"/>
          </a:p>
          <a:p>
            <a:pPr marL="381000" lvl="2" indent="-138113">
              <a:spcAft>
                <a:spcPts val="0"/>
              </a:spcAft>
              <a:buSzPts val="800"/>
              <a:buFont typeface="Helvetica" panose="020B0604020202030204" pitchFamily="34" charset="0"/>
              <a:buChar char="–"/>
            </a:pPr>
            <a:r>
              <a:rPr lang="en-US" err="1"/>
              <a:t>Sadasd</a:t>
            </a:r>
            <a:endParaRPr lang="en-US"/>
          </a:p>
          <a:p>
            <a:pPr marL="577850" lvl="3" indent="-127000">
              <a:spcAft>
                <a:spcPts val="0"/>
              </a:spcAft>
              <a:buSzPts val="800"/>
            </a:pPr>
            <a:r>
              <a:rPr lang="en-US" err="1"/>
              <a:t>Asdasd</a:t>
            </a:r>
            <a:endParaRPr lang="en-US"/>
          </a:p>
          <a:p>
            <a:pPr marL="768350" lvl="4" indent="-114300">
              <a:spcBef>
                <a:spcPts val="600"/>
              </a:spcBef>
              <a:spcAft>
                <a:spcPts val="0"/>
              </a:spcAft>
              <a:buSzPts val="800"/>
              <a:buChar char="○"/>
            </a:pPr>
            <a:r>
              <a:rPr lang="en-US" err="1"/>
              <a:t>asdasd</a:t>
            </a:r>
            <a:endParaRPr/>
          </a:p>
        </p:txBody>
      </p:sp>
      <p:sp>
        <p:nvSpPr>
          <p:cNvPr id="13" name="Google Shape;268;p27">
            <a:extLst>
              <a:ext uri="{FF2B5EF4-FFF2-40B4-BE49-F238E27FC236}">
                <a16:creationId xmlns:a16="http://schemas.microsoft.com/office/drawing/2014/main" id="{4E669A2D-7E59-9049-9F3F-0BD200EFF36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 userDrawn="1"/>
        </p:nvSpPr>
        <p:spPr>
          <a:xfrm>
            <a:off x="5450166" y="4900823"/>
            <a:ext cx="3595800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500" b="0" i="0">
                <a:solidFill>
                  <a:schemeClr val="lt1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‹#›</a:t>
            </a:fld>
            <a:endParaRPr sz="500" b="0" i="0">
              <a:solidFill>
                <a:schemeClr val="lt1"/>
              </a:solidFill>
              <a:latin typeface="Helvetica" pitchFamily="2" charset="0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3" name="Google Shape;67;p15">
            <a:extLst>
              <a:ext uri="{FF2B5EF4-FFF2-40B4-BE49-F238E27FC236}">
                <a16:creationId xmlns:a16="http://schemas.microsoft.com/office/drawing/2014/main" id="{5F8DD76B-5981-9C91-3C8E-6F52B55DF7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" name="Google Shape;56;p14">
            <a:extLst>
              <a:ext uri="{FF2B5EF4-FFF2-40B4-BE49-F238E27FC236}">
                <a16:creationId xmlns:a16="http://schemas.microsoft.com/office/drawing/2014/main" id="{922C0D98-9A2F-F06C-82D8-537112C8D3BF}"/>
              </a:ext>
            </a:extLst>
          </p:cNvPr>
          <p:cNvSpPr/>
          <p:nvPr userDrawn="1"/>
        </p:nvSpPr>
        <p:spPr>
          <a:xfrm>
            <a:off x="569084" y="4900823"/>
            <a:ext cx="5054476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 dirty="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5 THINGS YOU CAN DO WITH GITHUB COPILOT</a:t>
            </a:r>
            <a:endParaRPr lang="en-US" sz="500" b="0" i="0" u="none" strike="noStrike" kern="1200" cap="none" spc="600" dirty="0">
              <a:solidFill>
                <a:srgbClr val="627597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8605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Four Features - Bottom" preserve="1" userDrawn="1">
  <p:cSld name="Four Features - Bottom">
    <p:spTree>
      <p:nvGrpSpPr>
        <p:cNvPr id="1" name="Shape 5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C6DA645-FC1C-E3FE-5DCA-858CD8798D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3169102" y="-1901924"/>
            <a:ext cx="15296673" cy="6359510"/>
            <a:chOff x="-3169102" y="-1901924"/>
            <a:chExt cx="15296673" cy="6359510"/>
          </a:xfrm>
        </p:grpSpPr>
        <p:cxnSp>
          <p:nvCxnSpPr>
            <p:cNvPr id="572" name="Google Shape;572;p38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>
            <a:xfrm>
              <a:off x="630203" y="2528886"/>
              <a:ext cx="0" cy="1928700"/>
            </a:xfrm>
            <a:prstGeom prst="straightConnector1">
              <a:avLst/>
            </a:prstGeom>
            <a:noFill/>
            <a:ln w="12700" cap="flat" cmpd="sng">
              <a:solidFill>
                <a:srgbClr val="627597">
                  <a:alpha val="247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76FFB995-1AC2-92C8-CB79-0E6080742B7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-3169102" y="-1901924"/>
              <a:ext cx="15296673" cy="6359510"/>
              <a:chOff x="-3169102" y="-1901924"/>
              <a:chExt cx="15296673" cy="6359510"/>
            </a:xfrm>
          </p:grpSpPr>
          <p:sp>
            <p:nvSpPr>
              <p:cNvPr id="568" name="Google Shape;568;p3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873365" y="2363101"/>
                <a:ext cx="1515900" cy="67800"/>
              </a:xfrm>
              <a:prstGeom prst="rect">
                <a:avLst/>
              </a:prstGeom>
              <a:gradFill>
                <a:gsLst>
                  <a:gs pos="0">
                    <a:srgbClr val="EC2B8C"/>
                  </a:gs>
                  <a:gs pos="2000">
                    <a:srgbClr val="EC2B8C"/>
                  </a:gs>
                  <a:gs pos="99000">
                    <a:srgbClr val="9477E2"/>
                  </a:gs>
                  <a:gs pos="100000">
                    <a:srgbClr val="9477E2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9" name="Google Shape;569;p3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2805017" y="2363101"/>
                <a:ext cx="1515900" cy="67800"/>
              </a:xfrm>
              <a:prstGeom prst="rect">
                <a:avLst/>
              </a:prstGeom>
              <a:gradFill>
                <a:gsLst>
                  <a:gs pos="0">
                    <a:srgbClr val="9477E2"/>
                  </a:gs>
                  <a:gs pos="100000">
                    <a:srgbClr val="5C30D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lvl="0" indent="0" algn="ctr" defTabSz="914400" eaLnBrk="1" fontAlgn="auto" latinLnBrk="0" hangingPunct="1">
                  <a:buClrTx/>
                  <a:buSzTx/>
                  <a:buFontTx/>
                  <a:buNone/>
                  <a:tabLst/>
                </a:pPr>
                <a:endParaRPr kumimoji="0" sz="800" kern="0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0" name="Google Shape;570;p3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4736670" y="2363101"/>
                <a:ext cx="1515900" cy="67800"/>
              </a:xfrm>
              <a:prstGeom prst="rect">
                <a:avLst/>
              </a:prstGeom>
              <a:gradFill>
                <a:gsLst>
                  <a:gs pos="0">
                    <a:schemeClr val="accent3"/>
                  </a:gs>
                  <a:gs pos="100000">
                    <a:srgbClr val="0070C0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1" name="Google Shape;571;p3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6668322" y="2363101"/>
                <a:ext cx="1515900" cy="67800"/>
              </a:xfrm>
              <a:prstGeom prst="rect">
                <a:avLst/>
              </a:prstGeom>
              <a:gradFill>
                <a:gsLst>
                  <a:gs pos="0">
                    <a:srgbClr val="0070C0"/>
                  </a:gs>
                  <a:gs pos="2000">
                    <a:srgbClr val="0070C0"/>
                  </a:gs>
                  <a:gs pos="100000">
                    <a:srgbClr val="1098B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573" name="Google Shape;573;p3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/>
            </p:nvCxnSpPr>
            <p:spPr>
              <a:xfrm>
                <a:off x="2557387" y="2528886"/>
                <a:ext cx="0" cy="1928700"/>
              </a:xfrm>
              <a:prstGeom prst="straightConnector1">
                <a:avLst/>
              </a:prstGeom>
              <a:noFill/>
              <a:ln w="12700" cap="flat" cmpd="sng">
                <a:solidFill>
                  <a:srgbClr val="627597">
                    <a:alpha val="24710"/>
                  </a:srgbClr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574" name="Google Shape;574;p3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/>
            </p:nvCxnSpPr>
            <p:spPr>
              <a:xfrm>
                <a:off x="4470724" y="2528886"/>
                <a:ext cx="0" cy="1928700"/>
              </a:xfrm>
              <a:prstGeom prst="straightConnector1">
                <a:avLst/>
              </a:prstGeom>
              <a:noFill/>
              <a:ln w="12700" cap="flat" cmpd="sng">
                <a:solidFill>
                  <a:srgbClr val="627597">
                    <a:alpha val="24710"/>
                  </a:srgbClr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575" name="Google Shape;575;p3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/>
            </p:nvCxnSpPr>
            <p:spPr>
              <a:xfrm>
                <a:off x="6425604" y="2528886"/>
                <a:ext cx="0" cy="1928700"/>
              </a:xfrm>
              <a:prstGeom prst="straightConnector1">
                <a:avLst/>
              </a:prstGeom>
              <a:noFill/>
              <a:ln w="12700" cap="flat" cmpd="sng">
                <a:solidFill>
                  <a:srgbClr val="627597">
                    <a:alpha val="24710"/>
                  </a:srgbClr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pic>
            <p:nvPicPr>
              <p:cNvPr id="576" name="Google Shape;576;p3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 preferRelativeResize="0"/>
              <p:nvPr/>
            </p:nvPicPr>
            <p:blipFill rotWithShape="1">
              <a:blip r:embed="rId2">
                <a:alphaModFix amt="30000"/>
              </a:blip>
              <a:srcRect/>
              <a:stretch/>
            </p:blipFill>
            <p:spPr>
              <a:xfrm>
                <a:off x="8365202" y="580234"/>
                <a:ext cx="3762369" cy="3762369"/>
              </a:xfrm>
              <a:prstGeom prst="rect">
                <a:avLst/>
              </a:prstGeom>
              <a:noFill/>
              <a:ln>
                <a:noFill/>
              </a:ln>
            </p:spPr>
          </p:pic>
          <p:cxnSp>
            <p:nvCxnSpPr>
              <p:cNvPr id="577" name="Google Shape;577;p3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/>
            </p:nvCxnSpPr>
            <p:spPr>
              <a:xfrm>
                <a:off x="836471" y="737356"/>
                <a:ext cx="2070300" cy="0"/>
              </a:xfrm>
              <a:prstGeom prst="straightConnector1">
                <a:avLst/>
              </a:prstGeom>
              <a:noFill/>
              <a:ln w="12700" cap="flat" cmpd="sng">
                <a:solidFill>
                  <a:srgbClr val="627597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pic>
            <p:nvPicPr>
              <p:cNvPr id="578" name="Google Shape;578;p3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 preferRelativeResize="0"/>
              <p:nvPr/>
            </p:nvPicPr>
            <p:blipFill rotWithShape="1">
              <a:blip r:embed="rId2">
                <a:alphaModFix amt="30000"/>
              </a:blip>
              <a:srcRect/>
              <a:stretch/>
            </p:blipFill>
            <p:spPr>
              <a:xfrm>
                <a:off x="-3169102" y="-1901924"/>
                <a:ext cx="3762369" cy="3762369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580" name="Google Shape;580;p38"/>
          <p:cNvSpPr txBox="1">
            <a:spLocks noGrp="1"/>
          </p:cNvSpPr>
          <p:nvPr>
            <p:ph type="title"/>
          </p:nvPr>
        </p:nvSpPr>
        <p:spPr>
          <a:xfrm>
            <a:off x="804672" y="1033272"/>
            <a:ext cx="2980800" cy="7773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400"/>
              <a:buNone/>
              <a:defRPr b="1" i="0">
                <a:latin typeface="Helvetica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9" name="Google Shape;579;p38"/>
          <p:cNvSpPr txBox="1">
            <a:spLocks noGrp="1"/>
          </p:cNvSpPr>
          <p:nvPr>
            <p:ph type="subTitle" idx="1"/>
          </p:nvPr>
        </p:nvSpPr>
        <p:spPr>
          <a:xfrm>
            <a:off x="804672" y="548640"/>
            <a:ext cx="3026700" cy="1554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rtl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9pPr>
          </a:lstStyle>
          <a:p>
            <a:endParaRPr/>
          </a:p>
        </p:txBody>
      </p:sp>
      <p:sp>
        <p:nvSpPr>
          <p:cNvPr id="581" name="Google Shape;581;p38"/>
          <p:cNvSpPr txBox="1">
            <a:spLocks noGrp="1"/>
          </p:cNvSpPr>
          <p:nvPr>
            <p:ph type="body" idx="2"/>
          </p:nvPr>
        </p:nvSpPr>
        <p:spPr>
          <a:xfrm>
            <a:off x="3941064" y="1115568"/>
            <a:ext cx="3035700" cy="8139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914400" lvl="1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590" name="Google Shape;590;p38"/>
          <p:cNvSpPr>
            <a:spLocks noGrp="1"/>
          </p:cNvSpPr>
          <p:nvPr>
            <p:ph type="pic" idx="14"/>
          </p:nvPr>
        </p:nvSpPr>
        <p:spPr>
          <a:xfrm>
            <a:off x="877824" y="2514600"/>
            <a:ext cx="667500" cy="6675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 sz="700"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586" name="Google Shape;586;p38"/>
          <p:cNvSpPr txBox="1">
            <a:spLocks noGrp="1"/>
          </p:cNvSpPr>
          <p:nvPr>
            <p:ph type="subTitle" idx="7"/>
          </p:nvPr>
        </p:nvSpPr>
        <p:spPr>
          <a:xfrm>
            <a:off x="1645920" y="2779776"/>
            <a:ext cx="759000" cy="1737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 b="1" i="0">
                <a:solidFill>
                  <a:schemeClr val="lt1"/>
                </a:solidFill>
                <a:latin typeface="Helvetica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>
                <a:solidFill>
                  <a:schemeClr val="lt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>
                <a:solidFill>
                  <a:schemeClr val="lt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>
                <a:solidFill>
                  <a:schemeClr val="lt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>
                <a:solidFill>
                  <a:schemeClr val="lt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>
                <a:solidFill>
                  <a:schemeClr val="lt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>
                <a:solidFill>
                  <a:schemeClr val="lt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>
                <a:solidFill>
                  <a:schemeClr val="lt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582" name="Google Shape;582;p38"/>
          <p:cNvSpPr txBox="1">
            <a:spLocks noGrp="1"/>
          </p:cNvSpPr>
          <p:nvPr>
            <p:ph type="body" idx="3"/>
          </p:nvPr>
        </p:nvSpPr>
        <p:spPr>
          <a:xfrm>
            <a:off x="877824" y="3273552"/>
            <a:ext cx="1508700" cy="1124700"/>
          </a:xfrm>
          <a:prstGeom prst="rect">
            <a:avLst/>
          </a:prstGeom>
        </p:spPr>
        <p:txBody>
          <a:bodyPr spcFirstLastPara="1" vert="horz" wrap="square" lIns="45700" tIns="18275" rIns="45700" bIns="18275" rtlCol="0" anchor="t" anchorCtr="0">
            <a:noAutofit/>
          </a:bodyPr>
          <a:lstStyle>
            <a:lvl1pPr>
              <a:defRPr lang="en-US" sz="800" b="0" i="0" dirty="0" smtClean="0">
                <a:latin typeface="Helvetica" pitchFamily="2" charset="0"/>
              </a:defRPr>
            </a:lvl1pPr>
            <a:lvl2pPr>
              <a:defRPr lang="en-US" sz="800" dirty="0" smtClean="0"/>
            </a:lvl2pPr>
            <a:lvl3pPr>
              <a:defRPr lang="en-US" sz="800" dirty="0" smtClean="0"/>
            </a:lvl3pPr>
            <a:lvl4pPr>
              <a:defRPr lang="en-US" sz="800" dirty="0" smtClean="0"/>
            </a:lvl4pPr>
            <a:lvl5pPr>
              <a:defRPr lang="en-US" sz="800" dirty="0"/>
            </a:lvl5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 lang="en-US"/>
          </a:p>
        </p:txBody>
      </p:sp>
      <p:sp>
        <p:nvSpPr>
          <p:cNvPr id="31" name="Google Shape;590;p38">
            <a:extLst>
              <a:ext uri="{FF2B5EF4-FFF2-40B4-BE49-F238E27FC236}">
                <a16:creationId xmlns:a16="http://schemas.microsoft.com/office/drawing/2014/main" id="{2C3D5224-D6CC-3846-AA09-356860C31786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2807208" y="2514600"/>
            <a:ext cx="667500" cy="6675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 sz="700"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587" name="Google Shape;587;p38"/>
          <p:cNvSpPr txBox="1">
            <a:spLocks noGrp="1"/>
          </p:cNvSpPr>
          <p:nvPr>
            <p:ph type="subTitle" idx="8"/>
          </p:nvPr>
        </p:nvSpPr>
        <p:spPr>
          <a:xfrm>
            <a:off x="3575304" y="2779776"/>
            <a:ext cx="759000" cy="1737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 b="1" i="0">
                <a:solidFill>
                  <a:schemeClr val="lt1"/>
                </a:solidFill>
                <a:latin typeface="Helvetica" pitchFamily="2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583" name="Google Shape;583;p38"/>
          <p:cNvSpPr txBox="1">
            <a:spLocks noGrp="1"/>
          </p:cNvSpPr>
          <p:nvPr>
            <p:ph type="body" idx="4"/>
          </p:nvPr>
        </p:nvSpPr>
        <p:spPr>
          <a:xfrm>
            <a:off x="2807208" y="3273552"/>
            <a:ext cx="1508700" cy="1124700"/>
          </a:xfrm>
          <a:prstGeom prst="rect">
            <a:avLst/>
          </a:prstGeom>
        </p:spPr>
        <p:txBody>
          <a:bodyPr spcFirstLastPara="1" vert="horz" wrap="square" lIns="45700" tIns="18275" rIns="45700" bIns="18275" rtlCol="0" anchor="t" anchorCtr="0">
            <a:noAutofit/>
          </a:bodyPr>
          <a:lstStyle>
            <a:lvl1pPr>
              <a:defRPr lang="en-US" sz="800" b="0" i="0" dirty="0" smtClean="0">
                <a:latin typeface="Helvetica" pitchFamily="2" charset="0"/>
              </a:defRPr>
            </a:lvl1pPr>
            <a:lvl2pPr>
              <a:defRPr lang="en-US" sz="800" dirty="0" smtClean="0"/>
            </a:lvl2pPr>
            <a:lvl3pPr>
              <a:defRPr lang="en-US" sz="800" dirty="0" smtClean="0"/>
            </a:lvl3pPr>
            <a:lvl4pPr>
              <a:defRPr lang="en-US" sz="800" dirty="0" smtClean="0"/>
            </a:lvl4pPr>
            <a:lvl5pPr>
              <a:defRPr lang="en-US" sz="800" dirty="0"/>
            </a:lvl5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 lang="en-US"/>
          </a:p>
        </p:txBody>
      </p:sp>
      <p:sp>
        <p:nvSpPr>
          <p:cNvPr id="32" name="Google Shape;590;p38">
            <a:extLst>
              <a:ext uri="{FF2B5EF4-FFF2-40B4-BE49-F238E27FC236}">
                <a16:creationId xmlns:a16="http://schemas.microsoft.com/office/drawing/2014/main" id="{BEAD86EF-61D2-F442-9F95-4C0EE4385E46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4700016" y="2514600"/>
            <a:ext cx="667500" cy="6675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 sz="700"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588" name="Google Shape;588;p38"/>
          <p:cNvSpPr txBox="1">
            <a:spLocks noGrp="1"/>
          </p:cNvSpPr>
          <p:nvPr>
            <p:ph type="subTitle" idx="9"/>
          </p:nvPr>
        </p:nvSpPr>
        <p:spPr>
          <a:xfrm>
            <a:off x="5495544" y="2779776"/>
            <a:ext cx="759000" cy="1737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 b="1" i="0">
                <a:solidFill>
                  <a:schemeClr val="lt1"/>
                </a:solidFill>
                <a:latin typeface="Helvetica" pitchFamily="2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584" name="Google Shape;584;p38"/>
          <p:cNvSpPr txBox="1">
            <a:spLocks noGrp="1"/>
          </p:cNvSpPr>
          <p:nvPr>
            <p:ph type="body" idx="5"/>
          </p:nvPr>
        </p:nvSpPr>
        <p:spPr>
          <a:xfrm>
            <a:off x="4700016" y="3273552"/>
            <a:ext cx="1508700" cy="1124700"/>
          </a:xfrm>
          <a:prstGeom prst="rect">
            <a:avLst/>
          </a:prstGeom>
        </p:spPr>
        <p:txBody>
          <a:bodyPr spcFirstLastPara="1" vert="horz" wrap="square" lIns="45700" tIns="18275" rIns="45700" bIns="18275" rtlCol="0" anchor="t" anchorCtr="0">
            <a:noAutofit/>
          </a:bodyPr>
          <a:lstStyle>
            <a:lvl1pPr>
              <a:defRPr lang="en-US" sz="800" b="0" i="0" dirty="0" smtClean="0">
                <a:latin typeface="Helvetica" pitchFamily="2" charset="0"/>
              </a:defRPr>
            </a:lvl1pPr>
            <a:lvl2pPr>
              <a:defRPr lang="en-US" sz="800" dirty="0" smtClean="0"/>
            </a:lvl2pPr>
            <a:lvl3pPr>
              <a:defRPr lang="en-US" sz="800" dirty="0" smtClean="0"/>
            </a:lvl3pPr>
            <a:lvl4pPr>
              <a:defRPr lang="en-US" sz="800" dirty="0" smtClean="0"/>
            </a:lvl4pPr>
            <a:lvl5pPr>
              <a:defRPr lang="en-US" sz="800" dirty="0"/>
            </a:lvl5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 lang="en-US"/>
          </a:p>
        </p:txBody>
      </p:sp>
      <p:sp>
        <p:nvSpPr>
          <p:cNvPr id="33" name="Google Shape;590;p38">
            <a:extLst>
              <a:ext uri="{FF2B5EF4-FFF2-40B4-BE49-F238E27FC236}">
                <a16:creationId xmlns:a16="http://schemas.microsoft.com/office/drawing/2014/main" id="{4979726F-DCA6-4C48-B0E4-43DF0E5998B1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6665976" y="2514600"/>
            <a:ext cx="667500" cy="6675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 sz="700"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589" name="Google Shape;589;p38"/>
          <p:cNvSpPr txBox="1">
            <a:spLocks noGrp="1"/>
          </p:cNvSpPr>
          <p:nvPr>
            <p:ph type="subTitle" idx="13"/>
          </p:nvPr>
        </p:nvSpPr>
        <p:spPr>
          <a:xfrm>
            <a:off x="7424928" y="2779776"/>
            <a:ext cx="759000" cy="1737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 b="1" i="0">
                <a:solidFill>
                  <a:schemeClr val="lt1"/>
                </a:solidFill>
                <a:latin typeface="Helvetica" pitchFamily="2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None/>
              <a:defRPr sz="8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585" name="Google Shape;585;p38"/>
          <p:cNvSpPr txBox="1">
            <a:spLocks noGrp="1"/>
          </p:cNvSpPr>
          <p:nvPr>
            <p:ph type="body" idx="6"/>
          </p:nvPr>
        </p:nvSpPr>
        <p:spPr>
          <a:xfrm>
            <a:off x="6665976" y="3273552"/>
            <a:ext cx="1508700" cy="1124700"/>
          </a:xfrm>
          <a:prstGeom prst="rect">
            <a:avLst/>
          </a:prstGeom>
        </p:spPr>
        <p:txBody>
          <a:bodyPr spcFirstLastPara="1" vert="horz" wrap="square" lIns="45700" tIns="18275" rIns="45700" bIns="18275" rtlCol="0" anchor="t" anchorCtr="0">
            <a:noAutofit/>
          </a:bodyPr>
          <a:lstStyle>
            <a:lvl1pPr>
              <a:defRPr lang="en-US" sz="800" b="0" i="0" dirty="0" smtClean="0">
                <a:latin typeface="Helvetica" pitchFamily="2" charset="0"/>
              </a:defRPr>
            </a:lvl1pPr>
            <a:lvl2pPr>
              <a:defRPr lang="en-US" sz="800" dirty="0" smtClean="0"/>
            </a:lvl2pPr>
            <a:lvl3pPr>
              <a:defRPr lang="en-US" sz="800" dirty="0" smtClean="0"/>
            </a:lvl3pPr>
            <a:lvl4pPr>
              <a:defRPr lang="en-US" sz="800" dirty="0" smtClean="0"/>
            </a:lvl4pPr>
            <a:lvl5pPr>
              <a:defRPr lang="en-US" sz="800" dirty="0"/>
            </a:lvl5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 lang="en-US"/>
          </a:p>
        </p:txBody>
      </p:sp>
      <p:sp>
        <p:nvSpPr>
          <p:cNvPr id="34" name="Google Shape;268;p27">
            <a:extLst>
              <a:ext uri="{FF2B5EF4-FFF2-40B4-BE49-F238E27FC236}">
                <a16:creationId xmlns:a16="http://schemas.microsoft.com/office/drawing/2014/main" id="{928080BF-F9DA-2E4C-A63D-D9BE3594543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 userDrawn="1"/>
        </p:nvSpPr>
        <p:spPr>
          <a:xfrm>
            <a:off x="5450166" y="4900823"/>
            <a:ext cx="3595800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500" b="0" i="0">
                <a:solidFill>
                  <a:schemeClr val="lt1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‹#›</a:t>
            </a:fld>
            <a:endParaRPr sz="500" b="0" i="0">
              <a:solidFill>
                <a:schemeClr val="lt1"/>
              </a:solidFill>
              <a:latin typeface="Helvetica" pitchFamily="2" charset="0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4" name="Google Shape;67;p15">
            <a:extLst>
              <a:ext uri="{FF2B5EF4-FFF2-40B4-BE49-F238E27FC236}">
                <a16:creationId xmlns:a16="http://schemas.microsoft.com/office/drawing/2014/main" id="{F434931C-8DDB-273F-EDFA-F26224B973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" name="Google Shape;56;p14">
            <a:extLst>
              <a:ext uri="{FF2B5EF4-FFF2-40B4-BE49-F238E27FC236}">
                <a16:creationId xmlns:a16="http://schemas.microsoft.com/office/drawing/2014/main" id="{1AAD49FD-1101-7F56-8BAD-CFF89E101347}"/>
              </a:ext>
            </a:extLst>
          </p:cNvPr>
          <p:cNvSpPr/>
          <p:nvPr userDrawn="1"/>
        </p:nvSpPr>
        <p:spPr>
          <a:xfrm>
            <a:off x="569084" y="4900823"/>
            <a:ext cx="5054476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ACCELERATE DEVELOPER PRODUCTIVITY</a:t>
            </a:r>
          </a:p>
        </p:txBody>
      </p:sp>
    </p:spTree>
    <p:extLst>
      <p:ext uri="{BB962C8B-B14F-4D97-AF65-F5344CB8AC3E}">
        <p14:creationId xmlns:p14="http://schemas.microsoft.com/office/powerpoint/2010/main" val="20221618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Right-Side Copy" preserve="1">
  <p:cSld name="Right-Side Copy">
    <p:spTree>
      <p:nvGrpSpPr>
        <p:cNvPr id="1" name="Shape 5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F2D515E8-7154-2EDF-C4E8-77D5DEFB17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4655050" y="-1099025"/>
            <a:ext cx="11163584" cy="7341548"/>
            <a:chOff x="-4655050" y="-1099025"/>
            <a:chExt cx="11163584" cy="7341548"/>
          </a:xfrm>
        </p:grpSpPr>
        <p:pic>
          <p:nvPicPr>
            <p:cNvPr id="598" name="Google Shape;598;p39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-4655050" y="-1099025"/>
              <a:ext cx="7341548" cy="734154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99" name="Google Shape;599;p39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 rotWithShape="1">
            <a:blip r:embed="rId3">
              <a:alphaModFix amt="30000"/>
            </a:blip>
            <a:srcRect/>
            <a:stretch/>
          </p:blipFill>
          <p:spPr>
            <a:xfrm>
              <a:off x="-120597" y="690565"/>
              <a:ext cx="3762369" cy="376236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00" name="Google Shape;600;p39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>
            <a:blip r:embed="rId4">
              <a:alphaModFix/>
            </a:blip>
            <a:stretch>
              <a:fillRect/>
            </a:stretch>
          </p:blipFill>
          <p:spPr>
            <a:xfrm>
              <a:off x="1959275" y="313900"/>
              <a:ext cx="1847725" cy="1847725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601" name="Google Shape;601;p39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>
            <a:xfrm>
              <a:off x="4438234" y="933293"/>
              <a:ext cx="2070300" cy="0"/>
            </a:xfrm>
            <a:prstGeom prst="straightConnector1">
              <a:avLst/>
            </a:prstGeom>
            <a:noFill/>
            <a:ln w="12700" cap="flat" cmpd="sng">
              <a:solidFill>
                <a:srgbClr val="627597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603" name="Google Shape;603;p39"/>
          <p:cNvSpPr txBox="1">
            <a:spLocks noGrp="1"/>
          </p:cNvSpPr>
          <p:nvPr>
            <p:ph type="title"/>
          </p:nvPr>
        </p:nvSpPr>
        <p:spPr>
          <a:xfrm>
            <a:off x="4389120" y="1161288"/>
            <a:ext cx="3282600" cy="7773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400"/>
              <a:buNone/>
              <a:defRPr b="1" i="0">
                <a:latin typeface="Helvetica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2" name="Google Shape;602;p39"/>
          <p:cNvSpPr txBox="1">
            <a:spLocks noGrp="1"/>
          </p:cNvSpPr>
          <p:nvPr>
            <p:ph type="subTitle" idx="1"/>
          </p:nvPr>
        </p:nvSpPr>
        <p:spPr>
          <a:xfrm>
            <a:off x="4407408" y="749808"/>
            <a:ext cx="3026700" cy="1554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9pPr>
          </a:lstStyle>
          <a:p>
            <a:endParaRPr/>
          </a:p>
        </p:txBody>
      </p:sp>
      <p:sp>
        <p:nvSpPr>
          <p:cNvPr id="604" name="Google Shape;604;p39"/>
          <p:cNvSpPr txBox="1">
            <a:spLocks noGrp="1"/>
          </p:cNvSpPr>
          <p:nvPr>
            <p:ph type="body" idx="2"/>
          </p:nvPr>
        </p:nvSpPr>
        <p:spPr>
          <a:xfrm>
            <a:off x="4389120" y="2286000"/>
            <a:ext cx="3026700" cy="19020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177800" lvl="1" indent="-107950">
              <a:spcBef>
                <a:spcPts val="600"/>
              </a:spcBef>
              <a:spcAft>
                <a:spcPts val="0"/>
              </a:spcAft>
              <a:buSzPts val="800"/>
              <a:buFont typeface="Arial" panose="020B0604020202020204" pitchFamily="34" charset="0"/>
              <a:buChar char="•"/>
              <a:defRPr sz="800"/>
            </a:lvl2pPr>
            <a:lvl3pPr marL="381000" lvl="2" indent="-138113">
              <a:spcBef>
                <a:spcPts val="600"/>
              </a:spcBef>
              <a:spcAft>
                <a:spcPts val="0"/>
              </a:spcAft>
              <a:buSzPts val="800"/>
              <a:buFont typeface="Helvetica" panose="020B0604020202030204" pitchFamily="34" charset="0"/>
              <a:buChar char="–"/>
              <a:defRPr sz="800"/>
            </a:lvl3pPr>
            <a:lvl4pPr marL="577850" lvl="3" indent="-127000">
              <a:spcBef>
                <a:spcPts val="600"/>
              </a:spcBef>
              <a:spcAft>
                <a:spcPts val="0"/>
              </a:spcAft>
              <a:buSzPts val="800"/>
              <a:buFont typeface="Wingdings" panose="05000000000000000000" pitchFamily="2" charset="2"/>
              <a:buChar char="§"/>
              <a:defRPr sz="800"/>
            </a:lvl4pPr>
            <a:lvl5pPr marL="768350" lvl="4" indent="-114300">
              <a:spcBef>
                <a:spcPts val="60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 lang="en-US"/>
          </a:p>
        </p:txBody>
      </p:sp>
      <p:sp>
        <p:nvSpPr>
          <p:cNvPr id="12" name="Google Shape;268;p27">
            <a:extLst>
              <a:ext uri="{FF2B5EF4-FFF2-40B4-BE49-F238E27FC236}">
                <a16:creationId xmlns:a16="http://schemas.microsoft.com/office/drawing/2014/main" id="{3C755F27-DA08-304E-BFC4-543F651D9379}"/>
              </a:ext>
            </a:extLst>
          </p:cNvPr>
          <p:cNvSpPr/>
          <p:nvPr userDrawn="1"/>
        </p:nvSpPr>
        <p:spPr>
          <a:xfrm>
            <a:off x="5450166" y="4900823"/>
            <a:ext cx="3595800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500" b="0" i="0">
                <a:solidFill>
                  <a:schemeClr val="lt1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‹#›</a:t>
            </a:fld>
            <a:endParaRPr sz="500" b="0" i="0">
              <a:solidFill>
                <a:schemeClr val="lt1"/>
              </a:solidFill>
              <a:latin typeface="Helvetica" pitchFamily="2" charset="0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3" name="Google Shape;67;p15">
            <a:extLst>
              <a:ext uri="{FF2B5EF4-FFF2-40B4-BE49-F238E27FC236}">
                <a16:creationId xmlns:a16="http://schemas.microsoft.com/office/drawing/2014/main" id="{CD953DEA-198D-CDA8-B237-B9446343D1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" name="Google Shape;56;p14">
            <a:extLst>
              <a:ext uri="{FF2B5EF4-FFF2-40B4-BE49-F238E27FC236}">
                <a16:creationId xmlns:a16="http://schemas.microsoft.com/office/drawing/2014/main" id="{C7991FF7-89E7-A4E4-886C-8359450C86C6}"/>
              </a:ext>
            </a:extLst>
          </p:cNvPr>
          <p:cNvSpPr/>
          <p:nvPr userDrawn="1"/>
        </p:nvSpPr>
        <p:spPr>
          <a:xfrm>
            <a:off x="569084" y="4900823"/>
            <a:ext cx="5054476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ACCELERATE DEVELOPER PRODUCTIVITY</a:t>
            </a:r>
          </a:p>
        </p:txBody>
      </p:sp>
    </p:spTree>
    <p:extLst>
      <p:ext uri="{BB962C8B-B14F-4D97-AF65-F5344CB8AC3E}">
        <p14:creationId xmlns:p14="http://schemas.microsoft.com/office/powerpoint/2010/main" val="9050685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s Heading with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32FAD5-E2EA-041B-4AD2-12ABAADB33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1944" y="227813"/>
            <a:ext cx="6037456" cy="1207426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81DC6C61-7067-0E95-3CDF-F598633488D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2253600"/>
            <a:ext cx="2559051" cy="2412063"/>
          </a:xfrm>
          <a:prstGeom prst="rect">
            <a:avLst/>
          </a:prstGeom>
          <a:solidFill>
            <a:schemeClr val="tx2">
              <a:lumMod val="10000"/>
              <a:alpha val="76000"/>
            </a:schemeClr>
          </a:solidFill>
        </p:spPr>
        <p:txBody>
          <a:bodyPr lIns="91440" tIns="45720" rIns="91440" bIns="45720"/>
          <a:lstStyle>
            <a:lvl1pPr marL="114300" indent="-114300">
              <a:spcBef>
                <a:spcPts val="4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361950" indent="-165100">
              <a:spcBef>
                <a:spcPts val="400"/>
              </a:spcBef>
              <a:buClr>
                <a:schemeClr val="bg1"/>
              </a:buClr>
              <a:buFont typeface="Helvetica" panose="020B0604020202020204" pitchFamily="34" charset="0"/>
              <a:buChar char="–"/>
              <a:defRPr sz="11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 marL="577850" indent="-133350">
              <a:spcBef>
                <a:spcPts val="400"/>
              </a:spcBef>
              <a:buClrTx/>
              <a:buFont typeface="Courier New" panose="02070309020205020404" pitchFamily="49" charset="0"/>
              <a:buChar char="o"/>
              <a:defRPr sz="9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 marL="784225" indent="-130175">
              <a:spcBef>
                <a:spcPts val="400"/>
              </a:spcBef>
              <a:buClrTx/>
              <a:buFont typeface="Wingdings" panose="05000000000000000000" pitchFamily="2" charset="2"/>
              <a:buChar char="§"/>
              <a:defRPr sz="9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88282C3A-3227-F7B2-49D5-26F0892A6A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98825" y="2253600"/>
            <a:ext cx="2559051" cy="2412063"/>
          </a:xfrm>
          <a:prstGeom prst="rect">
            <a:avLst/>
          </a:prstGeom>
          <a:solidFill>
            <a:schemeClr val="tx2">
              <a:lumMod val="10000"/>
              <a:alpha val="76000"/>
            </a:schemeClr>
          </a:solidFill>
        </p:spPr>
        <p:txBody>
          <a:bodyPr lIns="91440" tIns="45720" rIns="91440" bIns="45720"/>
          <a:lstStyle>
            <a:lvl1pPr marL="114300" indent="-114300">
              <a:spcBef>
                <a:spcPts val="4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361950" indent="-165100">
              <a:spcBef>
                <a:spcPts val="400"/>
              </a:spcBef>
              <a:buClr>
                <a:schemeClr val="bg1"/>
              </a:buClr>
              <a:buFont typeface="Helvetica" panose="020B0604020202020204" pitchFamily="34" charset="0"/>
              <a:buChar char="–"/>
              <a:defRPr sz="11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 marL="615950" indent="-171450">
              <a:spcBef>
                <a:spcPts val="400"/>
              </a:spcBef>
              <a:buClrTx/>
              <a:buFont typeface="Courier New" panose="02070309020205020404" pitchFamily="49" charset="0"/>
              <a:buChar char="o"/>
              <a:defRPr lang="en-US" sz="900" b="0" i="0" u="none" strike="noStrike" cap="none" dirty="0" smtClean="0">
                <a:solidFill>
                  <a:schemeClr val="bg1"/>
                </a:solidFill>
                <a:latin typeface="Helvetica" panose="020B0604020202020204" pitchFamily="34" charset="0"/>
                <a:ea typeface="Arial"/>
                <a:cs typeface="Helvetica" panose="020B0604020202020204" pitchFamily="34" charset="0"/>
                <a:sym typeface="Arial"/>
              </a:defRPr>
            </a:lvl3pPr>
            <a:lvl4pPr marL="825500" indent="-171450">
              <a:spcBef>
                <a:spcPts val="400"/>
              </a:spcBef>
              <a:buClrTx/>
              <a:buFont typeface="Wingdings" panose="05000000000000000000" pitchFamily="2" charset="2"/>
              <a:buChar char="§"/>
              <a:defRPr lang="en-US" sz="900" b="0" i="0" u="none" strike="noStrike" cap="none" dirty="0" smtClean="0">
                <a:solidFill>
                  <a:schemeClr val="bg1"/>
                </a:solidFill>
                <a:latin typeface="Helvetica" panose="020B0604020202020204" pitchFamily="34" charset="0"/>
                <a:ea typeface="Arial"/>
                <a:cs typeface="Helvetica" panose="020B0604020202020204" pitchFamily="34" charset="0"/>
                <a:sym typeface="Arial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577850" marR="0" lvl="2" indent="-13335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Font typeface="Courier New" panose="02070309020205020404" pitchFamily="49" charset="0"/>
              <a:buChar char="o"/>
            </a:pPr>
            <a:r>
              <a:rPr lang="en-US"/>
              <a:t>Third level</a:t>
            </a:r>
          </a:p>
          <a:p>
            <a:pPr marL="784225" marR="0" lvl="3" indent="-130175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§"/>
            </a:pPr>
            <a:r>
              <a:rPr lang="en-US"/>
              <a:t>Fourth level</a:t>
            </a:r>
          </a:p>
        </p:txBody>
      </p:sp>
      <p:pic>
        <p:nvPicPr>
          <p:cNvPr id="3" name="Google Shape;427;p33">
            <a:extLst>
              <a:ext uri="{FF2B5EF4-FFF2-40B4-BE49-F238E27FC236}">
                <a16:creationId xmlns:a16="http://schemas.microsoft.com/office/drawing/2014/main" id="{C8229B51-20E4-A966-D837-D087693D42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 userDrawn="1"/>
        </p:nvPicPr>
        <p:blipFill rotWithShape="1">
          <a:blip r:embed="rId2">
            <a:alphaModFix amt="23000"/>
          </a:blip>
          <a:srcRect r="33453" b="13524"/>
          <a:stretch/>
        </p:blipFill>
        <p:spPr>
          <a:xfrm>
            <a:off x="4878193" y="3"/>
            <a:ext cx="4265812" cy="5143497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268;p27">
            <a:extLst>
              <a:ext uri="{FF2B5EF4-FFF2-40B4-BE49-F238E27FC236}">
                <a16:creationId xmlns:a16="http://schemas.microsoft.com/office/drawing/2014/main" id="{8A08F24F-DB8A-F7C8-F033-7995C8245ABE}"/>
              </a:ext>
            </a:extLst>
          </p:cNvPr>
          <p:cNvSpPr/>
          <p:nvPr userDrawn="1"/>
        </p:nvSpPr>
        <p:spPr>
          <a:xfrm>
            <a:off x="5450166" y="4900823"/>
            <a:ext cx="3595800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500" b="0" i="0">
                <a:solidFill>
                  <a:schemeClr val="lt1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‹#›</a:t>
            </a:fld>
            <a:endParaRPr sz="500" b="0" i="0">
              <a:solidFill>
                <a:schemeClr val="lt1"/>
              </a:solidFill>
              <a:latin typeface="Helvetica" pitchFamily="2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6" name="Google Shape;525;p35">
            <a:extLst>
              <a:ext uri="{FF2B5EF4-FFF2-40B4-BE49-F238E27FC236}">
                <a16:creationId xmlns:a16="http://schemas.microsoft.com/office/drawing/2014/main" id="{28253312-ED6A-19A1-322D-FAE8E6DBD5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0800000">
            <a:off x="407925" y="524"/>
            <a:ext cx="73200" cy="1466325"/>
          </a:xfrm>
          <a:prstGeom prst="rect">
            <a:avLst/>
          </a:prstGeom>
          <a:gradFill>
            <a:gsLst>
              <a:gs pos="0">
                <a:srgbClr val="D59DFF"/>
              </a:gs>
              <a:gs pos="100000">
                <a:srgbClr val="28AFEA"/>
              </a:gs>
            </a:gsLst>
            <a:lin ang="5400012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0" i="0">
              <a:latin typeface="Helvetica" pitchFamily="2" charset="0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84FC0406-3C62-5882-D404-69475A81FA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" y="4380580"/>
            <a:ext cx="541303" cy="762921"/>
          </a:xfrm>
          <a:custGeom>
            <a:avLst/>
            <a:gdLst>
              <a:gd name="connsiteX0" fmla="*/ 0 w 541303"/>
              <a:gd name="connsiteY0" fmla="*/ 0 h 762921"/>
              <a:gd name="connsiteX1" fmla="*/ 16117 w 541303"/>
              <a:gd name="connsiteY1" fmla="*/ 1622 h 762921"/>
              <a:gd name="connsiteX2" fmla="*/ 541303 w 541303"/>
              <a:gd name="connsiteY2" fmla="*/ 645044 h 762921"/>
              <a:gd name="connsiteX3" fmla="*/ 529402 w 541303"/>
              <a:gd name="connsiteY3" fmla="*/ 762921 h 762921"/>
              <a:gd name="connsiteX4" fmla="*/ 0 w 541303"/>
              <a:gd name="connsiteY4" fmla="*/ 762921 h 762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1303" h="762921">
                <a:moveTo>
                  <a:pt x="0" y="0"/>
                </a:moveTo>
                <a:lnTo>
                  <a:pt x="16117" y="1622"/>
                </a:lnTo>
                <a:cubicBezTo>
                  <a:pt x="315840" y="62863"/>
                  <a:pt x="541303" y="327663"/>
                  <a:pt x="541303" y="645044"/>
                </a:cubicBezTo>
                <a:lnTo>
                  <a:pt x="529402" y="762921"/>
                </a:lnTo>
                <a:lnTo>
                  <a:pt x="0" y="762921"/>
                </a:lnTo>
                <a:close/>
              </a:path>
            </a:pathLst>
          </a:custGeom>
          <a:gradFill>
            <a:gsLst>
              <a:gs pos="0">
                <a:srgbClr val="8661C5"/>
              </a:gs>
              <a:gs pos="100000">
                <a:srgbClr val="161828">
                  <a:alpha val="74901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spcFirstLastPara="1" wrap="square" lIns="42900" tIns="21450" rIns="42900" bIns="214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 b="0" i="0">
              <a:solidFill>
                <a:schemeClr val="lt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0FBAC10-CD6D-92E6-F9D3-80C03EB8DA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" y="2164787"/>
            <a:ext cx="365760" cy="2743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33CF435-BD73-9057-1DF0-D1AE9AE57F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295200" y="2164787"/>
            <a:ext cx="365760" cy="2743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25">
            <a:extLst>
              <a:ext uri="{FF2B5EF4-FFF2-40B4-BE49-F238E27FC236}">
                <a16:creationId xmlns:a16="http://schemas.microsoft.com/office/drawing/2014/main" id="{9EDF28A7-3BD8-0845-6A9B-8F4CCD7898B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70400"/>
            <a:ext cx="2559050" cy="44175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270C2CFF-0BDA-A5D0-BA09-A656A49A4C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98826" y="1670400"/>
            <a:ext cx="2559050" cy="44175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5">
            <a:extLst>
              <a:ext uri="{FF2B5EF4-FFF2-40B4-BE49-F238E27FC236}">
                <a16:creationId xmlns:a16="http://schemas.microsoft.com/office/drawing/2014/main" id="{BAD2288A-02B6-0978-10B3-48D20305A72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988050" y="1670400"/>
            <a:ext cx="2559050" cy="44175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C331814E-904A-B84C-A5F3-4919952703C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88049" y="2253600"/>
            <a:ext cx="2559051" cy="2412063"/>
          </a:xfrm>
          <a:prstGeom prst="rect">
            <a:avLst/>
          </a:prstGeom>
          <a:solidFill>
            <a:schemeClr val="tx2">
              <a:lumMod val="10000"/>
              <a:alpha val="76000"/>
            </a:schemeClr>
          </a:solidFill>
        </p:spPr>
        <p:txBody>
          <a:bodyPr lIns="91440" tIns="45720" rIns="91440" bIns="45720"/>
          <a:lstStyle>
            <a:lvl1pPr marL="114300" indent="-114300">
              <a:spcBef>
                <a:spcPts val="4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361950" indent="-165100">
              <a:spcBef>
                <a:spcPts val="400"/>
              </a:spcBef>
              <a:buClr>
                <a:schemeClr val="bg1"/>
              </a:buClr>
              <a:buFont typeface="Helvetica" panose="020B0604020202020204" pitchFamily="34" charset="0"/>
              <a:buChar char="–"/>
              <a:defRPr sz="11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 marL="615950" indent="-171450">
              <a:spcBef>
                <a:spcPts val="400"/>
              </a:spcBef>
              <a:buClrTx/>
              <a:buFont typeface="Courier New" panose="02070309020205020404" pitchFamily="49" charset="0"/>
              <a:buChar char="o"/>
              <a:defRPr lang="en-US" sz="900" b="0" i="0" u="none" strike="noStrike" cap="none" dirty="0" smtClean="0">
                <a:solidFill>
                  <a:schemeClr val="bg1"/>
                </a:solidFill>
                <a:latin typeface="Helvetica" panose="020B0604020202020204" pitchFamily="34" charset="0"/>
                <a:ea typeface="Arial"/>
                <a:cs typeface="Helvetica" panose="020B0604020202020204" pitchFamily="34" charset="0"/>
                <a:sym typeface="Arial"/>
              </a:defRPr>
            </a:lvl3pPr>
            <a:lvl4pPr marL="825500" indent="-171450">
              <a:spcBef>
                <a:spcPts val="400"/>
              </a:spcBef>
              <a:buClrTx/>
              <a:buFont typeface="Wingdings" panose="05000000000000000000" pitchFamily="2" charset="2"/>
              <a:buChar char="§"/>
              <a:defRPr lang="en-US" sz="900" b="0" i="0" u="none" strike="noStrike" cap="none" dirty="0" smtClean="0">
                <a:solidFill>
                  <a:schemeClr val="bg1"/>
                </a:solidFill>
                <a:latin typeface="Helvetica" panose="020B0604020202020204" pitchFamily="34" charset="0"/>
                <a:ea typeface="Arial"/>
                <a:cs typeface="Helvetica" panose="020B0604020202020204" pitchFamily="34" charset="0"/>
                <a:sym typeface="Arial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577850" marR="0" lvl="2" indent="-13335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Font typeface="Courier New" panose="02070309020205020404" pitchFamily="49" charset="0"/>
              <a:buChar char="o"/>
            </a:pPr>
            <a:r>
              <a:rPr lang="en-US"/>
              <a:t>Third level</a:t>
            </a:r>
          </a:p>
          <a:p>
            <a:pPr marL="784225" marR="0" lvl="3" indent="-130175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§"/>
            </a:pPr>
            <a:r>
              <a:rPr lang="en-US"/>
              <a:t>Fourth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CC4E536-4F94-CF7D-168D-596F412782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73600" y="2164787"/>
            <a:ext cx="365760" cy="2743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Google Shape;67;p15">
            <a:extLst>
              <a:ext uri="{FF2B5EF4-FFF2-40B4-BE49-F238E27FC236}">
                <a16:creationId xmlns:a16="http://schemas.microsoft.com/office/drawing/2014/main" id="{3970CE44-F128-8E07-124D-0252125196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" name="Google Shape;56;p14">
            <a:extLst>
              <a:ext uri="{FF2B5EF4-FFF2-40B4-BE49-F238E27FC236}">
                <a16:creationId xmlns:a16="http://schemas.microsoft.com/office/drawing/2014/main" id="{7F011FB4-A78D-E7A1-75DB-39FDAC35B8D7}"/>
              </a:ext>
            </a:extLst>
          </p:cNvPr>
          <p:cNvSpPr/>
          <p:nvPr userDrawn="1"/>
        </p:nvSpPr>
        <p:spPr>
          <a:xfrm>
            <a:off x="569084" y="4900823"/>
            <a:ext cx="5054476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ACCELERATE DEVELOPER PRODUCTIVITY</a:t>
            </a:r>
          </a:p>
        </p:txBody>
      </p:sp>
    </p:spTree>
    <p:extLst>
      <p:ext uri="{BB962C8B-B14F-4D97-AF65-F5344CB8AC3E}">
        <p14:creationId xmlns:p14="http://schemas.microsoft.com/office/powerpoint/2010/main" val="20084443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66;p15">
            <a:extLst>
              <a:ext uri="{FF2B5EF4-FFF2-40B4-BE49-F238E27FC236}">
                <a16:creationId xmlns:a16="http://schemas.microsoft.com/office/drawing/2014/main" id="{212E7DCA-19FF-AD18-3920-326D5C955D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"/>
            <a:ext cx="9144000" cy="5143500"/>
          </a:xfrm>
          <a:prstGeom prst="rect">
            <a:avLst/>
          </a:prstGeom>
          <a:gradFill>
            <a:gsLst>
              <a:gs pos="0">
                <a:srgbClr val="161828"/>
              </a:gs>
              <a:gs pos="15000">
                <a:srgbClr val="161828"/>
              </a:gs>
              <a:gs pos="67000">
                <a:srgbClr val="1B1D30">
                  <a:alpha val="57647"/>
                </a:srgbClr>
              </a:gs>
              <a:gs pos="100000">
                <a:srgbClr val="2E3252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42900" tIns="21450" rIns="42900" bIns="214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pic>
        <p:nvPicPr>
          <p:cNvPr id="10" name="Google Shape;168;p20">
            <a:extLst>
              <a:ext uri="{FF2B5EF4-FFF2-40B4-BE49-F238E27FC236}">
                <a16:creationId xmlns:a16="http://schemas.microsoft.com/office/drawing/2014/main" id="{400BD828-4B55-0E98-CD77-6BD0E3E5D6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t="15174" r="26360"/>
          <a:stretch/>
        </p:blipFill>
        <p:spPr>
          <a:xfrm flipH="1">
            <a:off x="-1" y="0"/>
            <a:ext cx="5257779" cy="511192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326582D8-90BE-B20F-C82F-42E55DABD5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flipH="1" flipV="1">
            <a:off x="-24040" y="3755826"/>
            <a:ext cx="3563280" cy="1387674"/>
            <a:chOff x="6426339" y="0"/>
            <a:chExt cx="5765662" cy="2245364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C15EAB5C-DC14-0E7A-DE01-849A5056663E}"/>
                </a:ext>
              </a:extLst>
            </p:cNvPr>
            <p:cNvGrpSpPr/>
            <p:nvPr userDrawn="1"/>
          </p:nvGrpSpPr>
          <p:grpSpPr>
            <a:xfrm>
              <a:off x="7563294" y="1222444"/>
              <a:ext cx="2853056" cy="1022920"/>
              <a:chOff x="7251064" y="1318260"/>
              <a:chExt cx="2853056" cy="1022920"/>
            </a:xfrm>
          </p:grpSpPr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080DAEA6-4345-8A5E-314F-51F07A280411}"/>
                  </a:ext>
                </a:extLst>
              </p:cNvPr>
              <p:cNvSpPr/>
              <p:nvPr userDrawn="1"/>
            </p:nvSpPr>
            <p:spPr>
              <a:xfrm>
                <a:off x="7338060" y="1318260"/>
                <a:ext cx="2766060" cy="937260"/>
              </a:xfrm>
              <a:custGeom>
                <a:avLst/>
                <a:gdLst>
                  <a:gd name="connsiteX0" fmla="*/ 1082040 w 2766060"/>
                  <a:gd name="connsiteY0" fmla="*/ 274320 h 937260"/>
                  <a:gd name="connsiteX1" fmla="*/ 1569720 w 2766060"/>
                  <a:gd name="connsiteY1" fmla="*/ 274320 h 937260"/>
                  <a:gd name="connsiteX2" fmla="*/ 1844040 w 2766060"/>
                  <a:gd name="connsiteY2" fmla="*/ 0 h 937260"/>
                  <a:gd name="connsiteX3" fmla="*/ 2766060 w 2766060"/>
                  <a:gd name="connsiteY3" fmla="*/ 0 h 937260"/>
                  <a:gd name="connsiteX4" fmla="*/ 2766060 w 2766060"/>
                  <a:gd name="connsiteY4" fmla="*/ 281940 h 937260"/>
                  <a:gd name="connsiteX5" fmla="*/ 2537460 w 2766060"/>
                  <a:gd name="connsiteY5" fmla="*/ 510540 h 937260"/>
                  <a:gd name="connsiteX6" fmla="*/ 1569720 w 2766060"/>
                  <a:gd name="connsiteY6" fmla="*/ 510540 h 937260"/>
                  <a:gd name="connsiteX7" fmla="*/ 1371600 w 2766060"/>
                  <a:gd name="connsiteY7" fmla="*/ 708660 h 937260"/>
                  <a:gd name="connsiteX8" fmla="*/ 228600 w 2766060"/>
                  <a:gd name="connsiteY8" fmla="*/ 708660 h 937260"/>
                  <a:gd name="connsiteX9" fmla="*/ 0 w 2766060"/>
                  <a:gd name="connsiteY9" fmla="*/ 937260 h 937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66060" h="937260">
                    <a:moveTo>
                      <a:pt x="1082040" y="274320"/>
                    </a:moveTo>
                    <a:lnTo>
                      <a:pt x="1569720" y="274320"/>
                    </a:lnTo>
                    <a:lnTo>
                      <a:pt x="1844040" y="0"/>
                    </a:lnTo>
                    <a:lnTo>
                      <a:pt x="2766060" y="0"/>
                    </a:lnTo>
                    <a:lnTo>
                      <a:pt x="2766060" y="281940"/>
                    </a:lnTo>
                    <a:lnTo>
                      <a:pt x="2537460" y="510540"/>
                    </a:lnTo>
                    <a:lnTo>
                      <a:pt x="1569720" y="510540"/>
                    </a:lnTo>
                    <a:lnTo>
                      <a:pt x="1371600" y="708660"/>
                    </a:lnTo>
                    <a:lnTo>
                      <a:pt x="228600" y="708660"/>
                    </a:lnTo>
                    <a:lnTo>
                      <a:pt x="0" y="937260"/>
                    </a:lnTo>
                  </a:path>
                </a:pathLst>
              </a:custGeom>
              <a:noFill/>
              <a:ln w="6350">
                <a:solidFill>
                  <a:srgbClr val="BFE8F6">
                    <a:alpha val="10000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IN"/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5E033A54-2397-17DC-70ED-CD64240BF6E2}"/>
                  </a:ext>
                </a:extLst>
              </p:cNvPr>
              <p:cNvSpPr/>
              <p:nvPr userDrawn="1"/>
            </p:nvSpPr>
            <p:spPr>
              <a:xfrm flipH="1">
                <a:off x="8258810" y="1523635"/>
                <a:ext cx="159624" cy="159624"/>
              </a:xfrm>
              <a:prstGeom prst="ellipse">
                <a:avLst/>
              </a:prstGeom>
              <a:noFill/>
              <a:ln w="6350">
                <a:solidFill>
                  <a:srgbClr val="BFE8F6">
                    <a:alpha val="10000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5FA02E3B-83B2-3DF1-A821-FAFD42A77107}"/>
                  </a:ext>
                </a:extLst>
              </p:cNvPr>
              <p:cNvSpPr/>
              <p:nvPr userDrawn="1"/>
            </p:nvSpPr>
            <p:spPr>
              <a:xfrm flipH="1">
                <a:off x="7251064" y="2239184"/>
                <a:ext cx="101996" cy="101996"/>
              </a:xfrm>
              <a:prstGeom prst="ellipse">
                <a:avLst/>
              </a:prstGeom>
              <a:noFill/>
              <a:ln w="6350">
                <a:solidFill>
                  <a:srgbClr val="BFE8F6">
                    <a:alpha val="10000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DD0E8F92-A016-E58E-BF23-6F3DD1A17000}"/>
                </a:ext>
              </a:extLst>
            </p:cNvPr>
            <p:cNvGrpSpPr/>
            <p:nvPr userDrawn="1"/>
          </p:nvGrpSpPr>
          <p:grpSpPr>
            <a:xfrm flipH="1">
              <a:off x="6426339" y="0"/>
              <a:ext cx="3442047" cy="913305"/>
              <a:chOff x="-8801100" y="-6064967"/>
              <a:chExt cx="14164370" cy="3758342"/>
            </a:xfrm>
          </p:grpSpPr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C2AEF793-550C-D74B-488F-60258420830F}"/>
                  </a:ext>
                </a:extLst>
              </p:cNvPr>
              <p:cNvSpPr/>
              <p:nvPr/>
            </p:nvSpPr>
            <p:spPr>
              <a:xfrm rot="5400000">
                <a:off x="-3598086" y="-11267981"/>
                <a:ext cx="3758342" cy="14164370"/>
              </a:xfrm>
              <a:custGeom>
                <a:avLst/>
                <a:gdLst>
                  <a:gd name="connsiteX0" fmla="*/ 0 w 3758342"/>
                  <a:gd name="connsiteY0" fmla="*/ 14164370 h 14164370"/>
                  <a:gd name="connsiteX1" fmla="*/ 0 w 3758342"/>
                  <a:gd name="connsiteY1" fmla="*/ 11706920 h 14164370"/>
                  <a:gd name="connsiteX2" fmla="*/ 0 w 3758342"/>
                  <a:gd name="connsiteY2" fmla="*/ 2457450 h 14164370"/>
                  <a:gd name="connsiteX3" fmla="*/ 0 w 3758342"/>
                  <a:gd name="connsiteY3" fmla="*/ 0 h 14164370"/>
                  <a:gd name="connsiteX4" fmla="*/ 158349 w 3758342"/>
                  <a:gd name="connsiteY4" fmla="*/ 53579 h 14164370"/>
                  <a:gd name="connsiteX5" fmla="*/ 3758342 w 3758342"/>
                  <a:gd name="connsiteY5" fmla="*/ 5207066 h 14164370"/>
                  <a:gd name="connsiteX6" fmla="*/ 3758342 w 3758342"/>
                  <a:gd name="connsiteY6" fmla="*/ 7664516 h 14164370"/>
                  <a:gd name="connsiteX7" fmla="*/ 3758342 w 3758342"/>
                  <a:gd name="connsiteY7" fmla="*/ 11706920 h 14164370"/>
                  <a:gd name="connsiteX8" fmla="*/ 3758342 w 3758342"/>
                  <a:gd name="connsiteY8" fmla="*/ 14164370 h 14164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758342" h="14164370">
                    <a:moveTo>
                      <a:pt x="0" y="14164370"/>
                    </a:moveTo>
                    <a:lnTo>
                      <a:pt x="0" y="11706920"/>
                    </a:lnTo>
                    <a:lnTo>
                      <a:pt x="0" y="2457450"/>
                    </a:lnTo>
                    <a:lnTo>
                      <a:pt x="0" y="0"/>
                    </a:lnTo>
                    <a:lnTo>
                      <a:pt x="158349" y="53579"/>
                    </a:lnTo>
                    <a:cubicBezTo>
                      <a:pt x="2259108" y="822770"/>
                      <a:pt x="3758342" y="2839835"/>
                      <a:pt x="3758342" y="5207066"/>
                    </a:cubicBezTo>
                    <a:lnTo>
                      <a:pt x="3758342" y="7664516"/>
                    </a:lnTo>
                    <a:lnTo>
                      <a:pt x="3758342" y="11706920"/>
                    </a:lnTo>
                    <a:lnTo>
                      <a:pt x="3758342" y="14164370"/>
                    </a:lnTo>
                    <a:close/>
                  </a:path>
                </a:pathLst>
              </a:custGeom>
              <a:gradFill flip="none" rotWithShape="1">
                <a:gsLst>
                  <a:gs pos="2000">
                    <a:srgbClr val="342961">
                      <a:alpha val="93000"/>
                    </a:srgbClr>
                  </a:gs>
                  <a:gs pos="100000">
                    <a:srgbClr val="2096E8"/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D6204459-DC7B-71D4-B4C6-156BC4CB8D5D}"/>
                  </a:ext>
                </a:extLst>
              </p:cNvPr>
              <p:cNvSpPr/>
              <p:nvPr/>
            </p:nvSpPr>
            <p:spPr>
              <a:xfrm>
                <a:off x="-51252" y="-5887006"/>
                <a:ext cx="5193918" cy="3580381"/>
              </a:xfrm>
              <a:custGeom>
                <a:avLst/>
                <a:gdLst>
                  <a:gd name="connsiteX0" fmla="*/ 3581533 w 5193918"/>
                  <a:gd name="connsiteY0" fmla="*/ 0 h 3580381"/>
                  <a:gd name="connsiteX1" fmla="*/ 5134289 w 5193918"/>
                  <a:gd name="connsiteY1" fmla="*/ 353181 h 3580381"/>
                  <a:gd name="connsiteX2" fmla="*/ 5193918 w 5193918"/>
                  <a:gd name="connsiteY2" fmla="*/ 383721 h 3580381"/>
                  <a:gd name="connsiteX3" fmla="*/ 5015756 w 5193918"/>
                  <a:gd name="connsiteY3" fmla="*/ 738223 h 3580381"/>
                  <a:gd name="connsiteX4" fmla="*/ 207456 w 5193918"/>
                  <a:gd name="connsiteY4" fmla="*/ 3580381 h 3580381"/>
                  <a:gd name="connsiteX5" fmla="*/ 0 w 5193918"/>
                  <a:gd name="connsiteY5" fmla="*/ 3580381 h 3580381"/>
                  <a:gd name="connsiteX6" fmla="*/ 4630 w 5193918"/>
                  <a:gd name="connsiteY6" fmla="*/ 3397256 h 3580381"/>
                  <a:gd name="connsiteX7" fmla="*/ 3581533 w 5193918"/>
                  <a:gd name="connsiteY7" fmla="*/ 0 h 3580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93918" h="3580381">
                    <a:moveTo>
                      <a:pt x="3581533" y="0"/>
                    </a:moveTo>
                    <a:cubicBezTo>
                      <a:pt x="4137858" y="0"/>
                      <a:pt x="4664557" y="126841"/>
                      <a:pt x="5134289" y="353181"/>
                    </a:cubicBezTo>
                    <a:lnTo>
                      <a:pt x="5193918" y="383721"/>
                    </a:lnTo>
                    <a:lnTo>
                      <a:pt x="5015756" y="738223"/>
                    </a:lnTo>
                    <a:cubicBezTo>
                      <a:pt x="4082014" y="2432530"/>
                      <a:pt x="2278783" y="3580381"/>
                      <a:pt x="207456" y="3580381"/>
                    </a:cubicBezTo>
                    <a:lnTo>
                      <a:pt x="0" y="3580381"/>
                    </a:lnTo>
                    <a:lnTo>
                      <a:pt x="4630" y="3397256"/>
                    </a:lnTo>
                    <a:cubicBezTo>
                      <a:pt x="100556" y="1504866"/>
                      <a:pt x="1665304" y="0"/>
                      <a:pt x="3581533" y="0"/>
                    </a:cubicBezTo>
                    <a:close/>
                  </a:path>
                </a:pathLst>
              </a:custGeom>
              <a:gradFill>
                <a:gsLst>
                  <a:gs pos="100000">
                    <a:srgbClr val="D59DFF">
                      <a:alpha val="23000"/>
                    </a:srgbClr>
                  </a:gs>
                  <a:gs pos="0">
                    <a:srgbClr val="1F9CF0">
                      <a:alpha val="25000"/>
                    </a:srgbClr>
                  </a:gs>
                </a:gsLst>
                <a:lin ang="27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D3D36A4-87E7-9446-BCC6-B0C57E650CBC}"/>
                </a:ext>
              </a:extLst>
            </p:cNvPr>
            <p:cNvSpPr/>
            <p:nvPr userDrawn="1"/>
          </p:nvSpPr>
          <p:spPr>
            <a:xfrm>
              <a:off x="9761368" y="1"/>
              <a:ext cx="2430633" cy="1963134"/>
            </a:xfrm>
            <a:custGeom>
              <a:avLst/>
              <a:gdLst>
                <a:gd name="connsiteX0" fmla="*/ 72962 w 2430633"/>
                <a:gd name="connsiteY0" fmla="*/ 0 h 1963134"/>
                <a:gd name="connsiteX1" fmla="*/ 531131 w 2430633"/>
                <a:gd name="connsiteY1" fmla="*/ 0 h 1963134"/>
                <a:gd name="connsiteX2" fmla="*/ 520604 w 2430633"/>
                <a:gd name="connsiteY2" fmla="*/ 19395 h 1963134"/>
                <a:gd name="connsiteX3" fmla="*/ 435275 w 2430633"/>
                <a:gd name="connsiteY3" fmla="*/ 442043 h 1963134"/>
                <a:gd name="connsiteX4" fmla="*/ 1521090 w 2430633"/>
                <a:gd name="connsiteY4" fmla="*/ 1527858 h 1963134"/>
                <a:gd name="connsiteX5" fmla="*/ 2421465 w 2430633"/>
                <a:gd name="connsiteY5" fmla="*/ 1049133 h 1963134"/>
                <a:gd name="connsiteX6" fmla="*/ 2430633 w 2430633"/>
                <a:gd name="connsiteY6" fmla="*/ 1034041 h 1963134"/>
                <a:gd name="connsiteX7" fmla="*/ 2430633 w 2430633"/>
                <a:gd name="connsiteY7" fmla="*/ 1659171 h 1963134"/>
                <a:gd name="connsiteX8" fmla="*/ 2371546 w 2430633"/>
                <a:gd name="connsiteY8" fmla="*/ 1703356 h 1963134"/>
                <a:gd name="connsiteX9" fmla="*/ 1521090 w 2430633"/>
                <a:gd name="connsiteY9" fmla="*/ 1963134 h 1963134"/>
                <a:gd name="connsiteX10" fmla="*/ 0 w 2430633"/>
                <a:gd name="connsiteY10" fmla="*/ 442043 h 1963134"/>
                <a:gd name="connsiteX11" fmla="*/ 30903 w 2430633"/>
                <a:gd name="connsiteY11" fmla="*/ 135490 h 196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30633" h="1963134">
                  <a:moveTo>
                    <a:pt x="72962" y="0"/>
                  </a:moveTo>
                  <a:lnTo>
                    <a:pt x="531131" y="0"/>
                  </a:lnTo>
                  <a:lnTo>
                    <a:pt x="520604" y="19395"/>
                  </a:lnTo>
                  <a:cubicBezTo>
                    <a:pt x="465659" y="149300"/>
                    <a:pt x="435275" y="292123"/>
                    <a:pt x="435275" y="442043"/>
                  </a:cubicBezTo>
                  <a:cubicBezTo>
                    <a:pt x="435275" y="1041722"/>
                    <a:pt x="921411" y="1527858"/>
                    <a:pt x="1521090" y="1527858"/>
                  </a:cubicBezTo>
                  <a:cubicBezTo>
                    <a:pt x="1895890" y="1527858"/>
                    <a:pt x="2226336" y="1337961"/>
                    <a:pt x="2421465" y="1049133"/>
                  </a:cubicBezTo>
                  <a:lnTo>
                    <a:pt x="2430633" y="1034041"/>
                  </a:lnTo>
                  <a:lnTo>
                    <a:pt x="2430633" y="1659171"/>
                  </a:lnTo>
                  <a:lnTo>
                    <a:pt x="2371546" y="1703356"/>
                  </a:lnTo>
                  <a:cubicBezTo>
                    <a:pt x="2128779" y="1867366"/>
                    <a:pt x="1836118" y="1963134"/>
                    <a:pt x="1521090" y="1963134"/>
                  </a:cubicBezTo>
                  <a:cubicBezTo>
                    <a:pt x="681015" y="1963134"/>
                    <a:pt x="0" y="1282118"/>
                    <a:pt x="0" y="442043"/>
                  </a:cubicBezTo>
                  <a:cubicBezTo>
                    <a:pt x="0" y="337034"/>
                    <a:pt x="10641" y="234510"/>
                    <a:pt x="30903" y="13549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5681CE15-9F22-BDFF-EA28-8D1C80094AEC}"/>
                </a:ext>
              </a:extLst>
            </p:cNvPr>
            <p:cNvSpPr/>
            <p:nvPr userDrawn="1"/>
          </p:nvSpPr>
          <p:spPr>
            <a:xfrm flipH="1">
              <a:off x="10577715" y="1733904"/>
              <a:ext cx="252468" cy="252468"/>
            </a:xfrm>
            <a:prstGeom prst="ellipse">
              <a:avLst/>
            </a:prstGeom>
            <a:noFill/>
            <a:ln w="6350">
              <a:solidFill>
                <a:srgbClr val="BFE8F6">
                  <a:alpha val="4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7C9C2EE-B74F-A44D-3F95-7DA63008CC5A}"/>
                </a:ext>
              </a:extLst>
            </p:cNvPr>
            <p:cNvSpPr/>
            <p:nvPr userDrawn="1"/>
          </p:nvSpPr>
          <p:spPr>
            <a:xfrm>
              <a:off x="10191116" y="2"/>
              <a:ext cx="2000884" cy="1531759"/>
            </a:xfrm>
            <a:custGeom>
              <a:avLst/>
              <a:gdLst>
                <a:gd name="connsiteX0" fmla="*/ 95480 w 2000884"/>
                <a:gd name="connsiteY0" fmla="*/ 0 h 1531759"/>
                <a:gd name="connsiteX1" fmla="*/ 2000884 w 2000884"/>
                <a:gd name="connsiteY1" fmla="*/ 0 h 1531759"/>
                <a:gd name="connsiteX2" fmla="*/ 2000884 w 2000884"/>
                <a:gd name="connsiteY2" fmla="*/ 1043777 h 1531759"/>
                <a:gd name="connsiteX3" fmla="*/ 1996298 w 2000884"/>
                <a:gd name="connsiteY3" fmla="*/ 1051314 h 1531759"/>
                <a:gd name="connsiteX4" fmla="*/ 1091341 w 2000884"/>
                <a:gd name="connsiteY4" fmla="*/ 1531759 h 1531759"/>
                <a:gd name="connsiteX5" fmla="*/ 0 w 2000884"/>
                <a:gd name="connsiteY5" fmla="*/ 442043 h 1531759"/>
                <a:gd name="connsiteX6" fmla="*/ 85763 w 2000884"/>
                <a:gd name="connsiteY6" fmla="*/ 17876 h 1531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00884" h="1531759">
                  <a:moveTo>
                    <a:pt x="95480" y="0"/>
                  </a:moveTo>
                  <a:lnTo>
                    <a:pt x="2000884" y="0"/>
                  </a:lnTo>
                  <a:lnTo>
                    <a:pt x="2000884" y="1043777"/>
                  </a:lnTo>
                  <a:lnTo>
                    <a:pt x="1996298" y="1051314"/>
                  </a:lnTo>
                  <a:cubicBezTo>
                    <a:pt x="1800176" y="1341180"/>
                    <a:pt x="1468048" y="1531759"/>
                    <a:pt x="1091341" y="1531759"/>
                  </a:cubicBezTo>
                  <a:cubicBezTo>
                    <a:pt x="488610" y="1531759"/>
                    <a:pt x="0" y="1043877"/>
                    <a:pt x="0" y="442043"/>
                  </a:cubicBezTo>
                  <a:cubicBezTo>
                    <a:pt x="0" y="291585"/>
                    <a:pt x="30538" y="148248"/>
                    <a:pt x="85763" y="17876"/>
                  </a:cubicBezTo>
                  <a:close/>
                </a:path>
              </a:pathLst>
            </a:custGeom>
            <a:gradFill flip="none" rotWithShape="1">
              <a:gsLst>
                <a:gs pos="2000">
                  <a:srgbClr val="342961">
                    <a:alpha val="93000"/>
                  </a:srgbClr>
                </a:gs>
                <a:gs pos="100000">
                  <a:srgbClr val="2096E8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  <a:sym typeface="Calibri"/>
              </a:endParaRPr>
            </a:p>
          </p:txBody>
        </p:sp>
      </p:grpSp>
      <p:sp>
        <p:nvSpPr>
          <p:cNvPr id="22" name="Google Shape;74;p15">
            <a:extLst>
              <a:ext uri="{FF2B5EF4-FFF2-40B4-BE49-F238E27FC236}">
                <a16:creationId xmlns:a16="http://schemas.microsoft.com/office/drawing/2014/main" id="{B45F3749-769E-DA54-88F0-E2FE1987124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564827" y="1584540"/>
            <a:ext cx="2621183" cy="1128453"/>
          </a:xfrm>
          <a:prstGeom prst="rect">
            <a:avLst/>
          </a:prstGeom>
        </p:spPr>
        <p:txBody>
          <a:bodyPr spcFirstLastPara="1" wrap="square" lIns="45700" tIns="18275" rIns="45700" bIns="18275" anchor="ctr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5400"/>
              <a:buNone/>
              <a:defRPr sz="4000" b="1" i="0">
                <a:latin typeface="Helvetica" pitchFamily="2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Arrow: Bent 26">
            <a:extLst>
              <a:ext uri="{FF2B5EF4-FFF2-40B4-BE49-F238E27FC236}">
                <a16:creationId xmlns:a16="http://schemas.microsoft.com/office/drawing/2014/main" id="{D87425F4-A309-21E8-AD9E-187EDDF4FC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0800000">
            <a:off x="1477114" y="985985"/>
            <a:ext cx="2646255" cy="1787693"/>
          </a:xfrm>
          <a:prstGeom prst="bentArrow">
            <a:avLst>
              <a:gd name="adj1" fmla="val 25000"/>
              <a:gd name="adj2" fmla="val 0"/>
              <a:gd name="adj3" fmla="val 25000"/>
              <a:gd name="adj4" fmla="val 12302"/>
            </a:avLst>
          </a:prstGeom>
          <a:ln w="6350">
            <a:solidFill>
              <a:schemeClr val="bg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8" name="Arrow: U-Turn 27">
            <a:extLst>
              <a:ext uri="{FF2B5EF4-FFF2-40B4-BE49-F238E27FC236}">
                <a16:creationId xmlns:a16="http://schemas.microsoft.com/office/drawing/2014/main" id="{DF180DA9-1FA8-89A2-6ADD-F9CE7474A8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124119" y="228601"/>
            <a:ext cx="447880" cy="757384"/>
          </a:xfrm>
          <a:prstGeom prst="uturnArrow">
            <a:avLst>
              <a:gd name="adj1" fmla="val 0"/>
              <a:gd name="adj2" fmla="val 0"/>
              <a:gd name="adj3" fmla="val 0"/>
              <a:gd name="adj4" fmla="val 50000"/>
              <a:gd name="adj5" fmla="val 32964"/>
            </a:avLst>
          </a:prstGeom>
          <a:ln w="6350">
            <a:solidFill>
              <a:schemeClr val="bg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2E910B89-D595-9163-C735-BEC27695F7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575087" y="4772656"/>
            <a:ext cx="0" cy="370844"/>
          </a:xfrm>
          <a:prstGeom prst="straightConnector1">
            <a:avLst/>
          </a:prstGeom>
          <a:ln w="6350">
            <a:solidFill>
              <a:schemeClr val="bg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3" name="Google Shape;84;p16">
            <a:extLst>
              <a:ext uri="{FF2B5EF4-FFF2-40B4-BE49-F238E27FC236}">
                <a16:creationId xmlns:a16="http://schemas.microsoft.com/office/drawing/2014/main" id="{8E7A2B80-0948-97B9-AC9D-301C1591AC7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381502" y="481283"/>
            <a:ext cx="3663292" cy="4291371"/>
          </a:xfrm>
          <a:prstGeom prst="roundRect">
            <a:avLst>
              <a:gd name="adj" fmla="val 3592"/>
            </a:avLst>
          </a:prstGeom>
          <a:solidFill>
            <a:srgbClr val="5D4F92">
              <a:alpha val="42000"/>
            </a:srgbClr>
          </a:solidFill>
        </p:spPr>
        <p:txBody>
          <a:bodyPr spcFirstLastPara="1" wrap="square" lIns="45700" tIns="18275" rIns="45700" bIns="18275" anchor="ctr" anchorCtr="0">
            <a:noAutofit/>
          </a:bodyPr>
          <a:lstStyle>
            <a:lvl1pPr marL="276225" lvl="0" indent="-27622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+mj-lt"/>
              <a:buAutoNum type="arabicPeriod"/>
              <a:defRPr sz="1600" b="0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0F4B9BB-8F9D-370C-07BF-D3A8713F9C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 userDrawn="1"/>
        </p:nvPicPr>
        <p:blipFill rotWithShape="1">
          <a:blip r:embed="rId3">
            <a:alphaModFix amt="30000"/>
          </a:blip>
          <a:srcRect l="-565" t="-859" r="79904" b="-498"/>
          <a:stretch/>
        </p:blipFill>
        <p:spPr>
          <a:xfrm flipV="1">
            <a:off x="8261498" y="399143"/>
            <a:ext cx="882502" cy="4345215"/>
          </a:xfrm>
          <a:custGeom>
            <a:avLst/>
            <a:gdLst>
              <a:gd name="connsiteX0" fmla="*/ 0 w 3915966"/>
              <a:gd name="connsiteY0" fmla="*/ 2085975 h 2085975"/>
              <a:gd name="connsiteX1" fmla="*/ 3915966 w 3915966"/>
              <a:gd name="connsiteY1" fmla="*/ 2085975 h 2085975"/>
              <a:gd name="connsiteX2" fmla="*/ 3915966 w 3915966"/>
              <a:gd name="connsiteY2" fmla="*/ 0 h 2085975"/>
              <a:gd name="connsiteX3" fmla="*/ 0 w 3915966"/>
              <a:gd name="connsiteY3" fmla="*/ 0 h 2085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15966" h="2085975">
                <a:moveTo>
                  <a:pt x="0" y="2085975"/>
                </a:moveTo>
                <a:lnTo>
                  <a:pt x="3915966" y="2085975"/>
                </a:lnTo>
                <a:lnTo>
                  <a:pt x="3915966" y="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641167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s with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oogle Shape;427;p33">
            <a:extLst>
              <a:ext uri="{FF2B5EF4-FFF2-40B4-BE49-F238E27FC236}">
                <a16:creationId xmlns:a16="http://schemas.microsoft.com/office/drawing/2014/main" id="{C8229B51-20E4-A966-D837-D087693D42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 userDrawn="1"/>
        </p:nvPicPr>
        <p:blipFill rotWithShape="1">
          <a:blip r:embed="rId2">
            <a:alphaModFix amt="23000"/>
          </a:blip>
          <a:srcRect r="33453" b="13524"/>
          <a:stretch/>
        </p:blipFill>
        <p:spPr>
          <a:xfrm>
            <a:off x="4878193" y="3"/>
            <a:ext cx="4265812" cy="514349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A32FAD5-E2EA-041B-4AD2-12ABAADB33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1944" y="227813"/>
            <a:ext cx="5968513" cy="1207426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81DC6C61-7067-0E95-3CDF-F598633488D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752600"/>
            <a:ext cx="2559051" cy="2913063"/>
          </a:xfrm>
          <a:prstGeom prst="rect">
            <a:avLst/>
          </a:prstGeom>
          <a:solidFill>
            <a:schemeClr val="tx2">
              <a:lumMod val="10000"/>
              <a:alpha val="76000"/>
            </a:schemeClr>
          </a:solidFill>
        </p:spPr>
        <p:txBody>
          <a:bodyPr lIns="91440" tIns="45720" rIns="91440" bIns="45720"/>
          <a:lstStyle>
            <a:lvl1pPr marL="114300" indent="-114300">
              <a:spcBef>
                <a:spcPts val="4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361950" indent="-165100">
              <a:spcBef>
                <a:spcPts val="400"/>
              </a:spcBef>
              <a:buClr>
                <a:schemeClr val="bg1"/>
              </a:buClr>
              <a:buFont typeface="Helvetica" panose="020B0604020202020204" pitchFamily="34" charset="0"/>
              <a:buChar char="–"/>
              <a:defRPr sz="11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 marL="577850" indent="-133350">
              <a:spcBef>
                <a:spcPts val="400"/>
              </a:spcBef>
              <a:buClrTx/>
              <a:buFont typeface="Courier New" panose="02070309020205020404" pitchFamily="49" charset="0"/>
              <a:buChar char="o"/>
              <a:defRPr sz="9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 marL="784225" indent="-130175">
              <a:spcBef>
                <a:spcPts val="400"/>
              </a:spcBef>
              <a:buClrTx/>
              <a:buFont typeface="Wingdings" panose="05000000000000000000" pitchFamily="2" charset="2"/>
              <a:buChar char="§"/>
              <a:defRPr sz="9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88282C3A-3227-F7B2-49D5-26F0892A6A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98825" y="1752600"/>
            <a:ext cx="2559051" cy="2913063"/>
          </a:xfrm>
          <a:prstGeom prst="rect">
            <a:avLst/>
          </a:prstGeom>
          <a:solidFill>
            <a:schemeClr val="tx2">
              <a:lumMod val="10000"/>
              <a:alpha val="76000"/>
            </a:schemeClr>
          </a:solidFill>
        </p:spPr>
        <p:txBody>
          <a:bodyPr lIns="91440" tIns="45720" rIns="91440" bIns="45720"/>
          <a:lstStyle>
            <a:lvl1pPr marL="114300" indent="-114300">
              <a:spcBef>
                <a:spcPts val="4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361950" indent="-165100">
              <a:spcBef>
                <a:spcPts val="400"/>
              </a:spcBef>
              <a:buClr>
                <a:schemeClr val="bg1"/>
              </a:buClr>
              <a:buFont typeface="Helvetica" panose="020B0604020202020204" pitchFamily="34" charset="0"/>
              <a:buChar char="–"/>
              <a:defRPr sz="11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 marL="615950" indent="-171450">
              <a:spcBef>
                <a:spcPts val="400"/>
              </a:spcBef>
              <a:buClrTx/>
              <a:buFont typeface="Courier New" panose="02070309020205020404" pitchFamily="49" charset="0"/>
              <a:buChar char="o"/>
              <a:defRPr lang="en-US" sz="900" b="0" i="0" u="none" strike="noStrike" cap="none" dirty="0" smtClean="0">
                <a:solidFill>
                  <a:schemeClr val="bg1"/>
                </a:solidFill>
                <a:latin typeface="Helvetica" panose="020B0604020202020204" pitchFamily="34" charset="0"/>
                <a:ea typeface="Arial"/>
                <a:cs typeface="Helvetica" panose="020B0604020202020204" pitchFamily="34" charset="0"/>
                <a:sym typeface="Arial"/>
              </a:defRPr>
            </a:lvl3pPr>
            <a:lvl4pPr marL="825500" indent="-171450">
              <a:spcBef>
                <a:spcPts val="400"/>
              </a:spcBef>
              <a:buClrTx/>
              <a:buFont typeface="Wingdings" panose="05000000000000000000" pitchFamily="2" charset="2"/>
              <a:buChar char="§"/>
              <a:defRPr lang="en-US" sz="900" b="0" i="0" u="none" strike="noStrike" cap="none" dirty="0" smtClean="0">
                <a:solidFill>
                  <a:schemeClr val="bg1"/>
                </a:solidFill>
                <a:latin typeface="Helvetica" panose="020B0604020202020204" pitchFamily="34" charset="0"/>
                <a:ea typeface="Arial"/>
                <a:cs typeface="Helvetica" panose="020B0604020202020204" pitchFamily="34" charset="0"/>
                <a:sym typeface="Arial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577850" marR="0" lvl="2" indent="-13335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Font typeface="Courier New" panose="02070309020205020404" pitchFamily="49" charset="0"/>
              <a:buChar char="o"/>
            </a:pPr>
            <a:r>
              <a:rPr lang="en-US"/>
              <a:t>Third level</a:t>
            </a:r>
          </a:p>
          <a:p>
            <a:pPr marL="784225" marR="0" lvl="3" indent="-130175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§"/>
            </a:pPr>
            <a:r>
              <a:rPr lang="en-US"/>
              <a:t>Fourth level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C331814E-904A-B84C-A5F3-4919952703C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88049" y="1752600"/>
            <a:ext cx="2559051" cy="2913063"/>
          </a:xfrm>
          <a:prstGeom prst="rect">
            <a:avLst/>
          </a:prstGeom>
          <a:solidFill>
            <a:schemeClr val="tx2">
              <a:lumMod val="10000"/>
              <a:alpha val="76000"/>
            </a:schemeClr>
          </a:solidFill>
        </p:spPr>
        <p:txBody>
          <a:bodyPr lIns="91440" tIns="45720" rIns="91440" bIns="45720"/>
          <a:lstStyle>
            <a:lvl1pPr marL="114300" indent="-114300">
              <a:spcBef>
                <a:spcPts val="4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361950" indent="-165100">
              <a:spcBef>
                <a:spcPts val="400"/>
              </a:spcBef>
              <a:buClr>
                <a:schemeClr val="bg1"/>
              </a:buClr>
              <a:buFont typeface="Helvetica" panose="020B0604020202020204" pitchFamily="34" charset="0"/>
              <a:buChar char="–"/>
              <a:defRPr sz="11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 marL="615950" indent="-171450">
              <a:spcBef>
                <a:spcPts val="400"/>
              </a:spcBef>
              <a:buClrTx/>
              <a:buFont typeface="Courier New" panose="02070309020205020404" pitchFamily="49" charset="0"/>
              <a:buChar char="o"/>
              <a:defRPr lang="en-US" sz="900" b="0" i="0" u="none" strike="noStrike" cap="none" dirty="0" smtClean="0">
                <a:solidFill>
                  <a:schemeClr val="bg1"/>
                </a:solidFill>
                <a:latin typeface="Helvetica" panose="020B0604020202020204" pitchFamily="34" charset="0"/>
                <a:ea typeface="Arial"/>
                <a:cs typeface="Helvetica" panose="020B0604020202020204" pitchFamily="34" charset="0"/>
                <a:sym typeface="Arial"/>
              </a:defRPr>
            </a:lvl3pPr>
            <a:lvl4pPr marL="825500" indent="-171450">
              <a:spcBef>
                <a:spcPts val="400"/>
              </a:spcBef>
              <a:buClrTx/>
              <a:buFont typeface="Wingdings" panose="05000000000000000000" pitchFamily="2" charset="2"/>
              <a:buChar char="§"/>
              <a:defRPr lang="en-US" sz="900" b="0" i="0" u="none" strike="noStrike" cap="none" dirty="0" smtClean="0">
                <a:solidFill>
                  <a:schemeClr val="bg1"/>
                </a:solidFill>
                <a:latin typeface="Helvetica" panose="020B0604020202020204" pitchFamily="34" charset="0"/>
                <a:ea typeface="Arial"/>
                <a:cs typeface="Helvetica" panose="020B0604020202020204" pitchFamily="34" charset="0"/>
                <a:sym typeface="Arial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577850" marR="0" lvl="2" indent="-13335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Font typeface="Courier New" panose="02070309020205020404" pitchFamily="49" charset="0"/>
              <a:buChar char="o"/>
            </a:pPr>
            <a:r>
              <a:rPr lang="en-US"/>
              <a:t>Third level</a:t>
            </a:r>
          </a:p>
          <a:p>
            <a:pPr marL="784225" marR="0" lvl="3" indent="-130175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§"/>
            </a:pPr>
            <a:r>
              <a:rPr lang="en-US"/>
              <a:t>Fourth level</a:t>
            </a:r>
          </a:p>
        </p:txBody>
      </p:sp>
      <p:sp>
        <p:nvSpPr>
          <p:cNvPr id="5" name="Google Shape;268;p27">
            <a:extLst>
              <a:ext uri="{FF2B5EF4-FFF2-40B4-BE49-F238E27FC236}">
                <a16:creationId xmlns:a16="http://schemas.microsoft.com/office/drawing/2014/main" id="{8A08F24F-DB8A-F7C8-F033-7995C8245ABE}"/>
              </a:ext>
            </a:extLst>
          </p:cNvPr>
          <p:cNvSpPr/>
          <p:nvPr userDrawn="1"/>
        </p:nvSpPr>
        <p:spPr>
          <a:xfrm>
            <a:off x="5450166" y="4900823"/>
            <a:ext cx="3595800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500" b="0" i="0">
                <a:solidFill>
                  <a:schemeClr val="lt1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‹#›</a:t>
            </a:fld>
            <a:endParaRPr sz="500" b="0" i="0">
              <a:solidFill>
                <a:schemeClr val="lt1"/>
              </a:solidFill>
              <a:latin typeface="Helvetica" pitchFamily="2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6" name="Google Shape;525;p35">
            <a:extLst>
              <a:ext uri="{FF2B5EF4-FFF2-40B4-BE49-F238E27FC236}">
                <a16:creationId xmlns:a16="http://schemas.microsoft.com/office/drawing/2014/main" id="{28253312-ED6A-19A1-322D-FAE8E6DBD5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0800000">
            <a:off x="407925" y="524"/>
            <a:ext cx="73200" cy="1466325"/>
          </a:xfrm>
          <a:prstGeom prst="rect">
            <a:avLst/>
          </a:prstGeom>
          <a:gradFill>
            <a:gsLst>
              <a:gs pos="0">
                <a:srgbClr val="D59DFF"/>
              </a:gs>
              <a:gs pos="100000">
                <a:srgbClr val="28AFEA"/>
              </a:gs>
            </a:gsLst>
            <a:lin ang="5400012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0" i="0">
              <a:latin typeface="Helvetica" pitchFamily="2" charset="0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826E06BC-38D1-2DED-0782-BB4144B1EB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" y="4380580"/>
            <a:ext cx="541303" cy="762921"/>
          </a:xfrm>
          <a:custGeom>
            <a:avLst/>
            <a:gdLst>
              <a:gd name="connsiteX0" fmla="*/ 0 w 541303"/>
              <a:gd name="connsiteY0" fmla="*/ 0 h 762921"/>
              <a:gd name="connsiteX1" fmla="*/ 16117 w 541303"/>
              <a:gd name="connsiteY1" fmla="*/ 1622 h 762921"/>
              <a:gd name="connsiteX2" fmla="*/ 541303 w 541303"/>
              <a:gd name="connsiteY2" fmla="*/ 645044 h 762921"/>
              <a:gd name="connsiteX3" fmla="*/ 529402 w 541303"/>
              <a:gd name="connsiteY3" fmla="*/ 762921 h 762921"/>
              <a:gd name="connsiteX4" fmla="*/ 0 w 541303"/>
              <a:gd name="connsiteY4" fmla="*/ 762921 h 762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1303" h="762921">
                <a:moveTo>
                  <a:pt x="0" y="0"/>
                </a:moveTo>
                <a:lnTo>
                  <a:pt x="16117" y="1622"/>
                </a:lnTo>
                <a:cubicBezTo>
                  <a:pt x="315840" y="62863"/>
                  <a:pt x="541303" y="327663"/>
                  <a:pt x="541303" y="645044"/>
                </a:cubicBezTo>
                <a:lnTo>
                  <a:pt x="529402" y="762921"/>
                </a:lnTo>
                <a:lnTo>
                  <a:pt x="0" y="762921"/>
                </a:lnTo>
                <a:close/>
              </a:path>
            </a:pathLst>
          </a:custGeom>
          <a:gradFill>
            <a:gsLst>
              <a:gs pos="0">
                <a:srgbClr val="8661C5"/>
              </a:gs>
              <a:gs pos="100000">
                <a:srgbClr val="161828">
                  <a:alpha val="74901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spcFirstLastPara="1" wrap="square" lIns="42900" tIns="21450" rIns="42900" bIns="214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 b="0" i="0">
              <a:solidFill>
                <a:schemeClr val="lt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cxnSp>
        <p:nvCxnSpPr>
          <p:cNvPr id="8" name="Google Shape;67;p15">
            <a:extLst>
              <a:ext uri="{FF2B5EF4-FFF2-40B4-BE49-F238E27FC236}">
                <a16:creationId xmlns:a16="http://schemas.microsoft.com/office/drawing/2014/main" id="{427E4906-B8FB-BC2E-8CD4-F1C386175E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" name="Google Shape;56;p14">
            <a:extLst>
              <a:ext uri="{FF2B5EF4-FFF2-40B4-BE49-F238E27FC236}">
                <a16:creationId xmlns:a16="http://schemas.microsoft.com/office/drawing/2014/main" id="{ACB2318D-94DB-19B6-B54B-13788E6B7EF0}"/>
              </a:ext>
            </a:extLst>
          </p:cNvPr>
          <p:cNvSpPr/>
          <p:nvPr userDrawn="1"/>
        </p:nvSpPr>
        <p:spPr>
          <a:xfrm>
            <a:off x="569084" y="4900823"/>
            <a:ext cx="5054476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 dirty="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5 THINGS YOU CAN DO WITH GITHUB COPILOT</a:t>
            </a:r>
            <a:endParaRPr lang="en-US" sz="500" b="0" i="0" u="none" strike="noStrike" kern="1200" cap="none" spc="600" dirty="0">
              <a:solidFill>
                <a:srgbClr val="627597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986835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s Heading with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oogle Shape;427;p33">
            <a:extLst>
              <a:ext uri="{FF2B5EF4-FFF2-40B4-BE49-F238E27FC236}">
                <a16:creationId xmlns:a16="http://schemas.microsoft.com/office/drawing/2014/main" id="{C8229B51-20E4-A966-D837-D087693D42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 userDrawn="1"/>
        </p:nvPicPr>
        <p:blipFill rotWithShape="1">
          <a:blip r:embed="rId2">
            <a:alphaModFix amt="23000"/>
          </a:blip>
          <a:srcRect r="33453" b="13524"/>
          <a:stretch/>
        </p:blipFill>
        <p:spPr>
          <a:xfrm>
            <a:off x="4878193" y="3"/>
            <a:ext cx="4265812" cy="514349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A32FAD5-E2EA-041B-4AD2-12ABAADB33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27813"/>
            <a:ext cx="6019800" cy="1207426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25">
            <a:extLst>
              <a:ext uri="{FF2B5EF4-FFF2-40B4-BE49-F238E27FC236}">
                <a16:creationId xmlns:a16="http://schemas.microsoft.com/office/drawing/2014/main" id="{9EDF28A7-3BD8-0845-6A9B-8F4CCD7898B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1670400"/>
            <a:ext cx="3834536" cy="44175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81DC6C61-7067-0E95-3CDF-F598633488D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2253600"/>
            <a:ext cx="3834537" cy="2412063"/>
          </a:xfrm>
          <a:prstGeom prst="rect">
            <a:avLst/>
          </a:prstGeom>
          <a:solidFill>
            <a:schemeClr val="tx2">
              <a:lumMod val="10000"/>
              <a:alpha val="76000"/>
            </a:schemeClr>
          </a:solidFill>
        </p:spPr>
        <p:txBody>
          <a:bodyPr lIns="91440" tIns="45720" rIns="91440" bIns="45720"/>
          <a:lstStyle>
            <a:lvl1pPr marL="114300" indent="-114300">
              <a:spcBef>
                <a:spcPts val="4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361950" indent="-165100">
              <a:spcBef>
                <a:spcPts val="400"/>
              </a:spcBef>
              <a:buClr>
                <a:schemeClr val="bg1"/>
              </a:buClr>
              <a:buFont typeface="Helvetica" panose="020B0604020202020204" pitchFamily="34" charset="0"/>
              <a:buChar char="–"/>
              <a:defRPr sz="11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 marL="577850" indent="-133350">
              <a:spcBef>
                <a:spcPts val="400"/>
              </a:spcBef>
              <a:buClrTx/>
              <a:buFont typeface="Courier New" panose="02070309020205020404" pitchFamily="49" charset="0"/>
              <a:buChar char="o"/>
              <a:defRPr sz="9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 marL="784225" indent="-130175">
              <a:spcBef>
                <a:spcPts val="400"/>
              </a:spcBef>
              <a:buClrTx/>
              <a:buFont typeface="Wingdings" panose="05000000000000000000" pitchFamily="2" charset="2"/>
              <a:buChar char="§"/>
              <a:defRPr sz="9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270C2CFF-0BDA-A5D0-BA09-A656A49A4C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13246" y="1670400"/>
            <a:ext cx="3834535" cy="44175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88282C3A-3227-F7B2-49D5-26F0892A6A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13246" y="2253600"/>
            <a:ext cx="3834536" cy="2412063"/>
          </a:xfrm>
          <a:prstGeom prst="rect">
            <a:avLst/>
          </a:prstGeom>
          <a:solidFill>
            <a:schemeClr val="tx2">
              <a:lumMod val="10000"/>
              <a:alpha val="76000"/>
            </a:schemeClr>
          </a:solidFill>
        </p:spPr>
        <p:txBody>
          <a:bodyPr lIns="91440" tIns="45720" rIns="91440" bIns="45720"/>
          <a:lstStyle>
            <a:lvl1pPr marL="114300" indent="-114300">
              <a:spcBef>
                <a:spcPts val="4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361950" indent="-165100">
              <a:spcBef>
                <a:spcPts val="400"/>
              </a:spcBef>
              <a:buClr>
                <a:schemeClr val="bg1"/>
              </a:buClr>
              <a:buFont typeface="Helvetica" panose="020B0604020202020204" pitchFamily="34" charset="0"/>
              <a:buChar char="–"/>
              <a:defRPr sz="11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 marL="615950" indent="-171450">
              <a:spcBef>
                <a:spcPts val="400"/>
              </a:spcBef>
              <a:buClrTx/>
              <a:buFont typeface="Courier New" panose="02070309020205020404" pitchFamily="49" charset="0"/>
              <a:buChar char="o"/>
              <a:defRPr lang="en-US" sz="900" b="0" i="0" u="none" strike="noStrike" cap="none" dirty="0" smtClean="0">
                <a:solidFill>
                  <a:schemeClr val="bg1"/>
                </a:solidFill>
                <a:latin typeface="Helvetica" panose="020B0604020202020204" pitchFamily="34" charset="0"/>
                <a:ea typeface="Arial"/>
                <a:cs typeface="Helvetica" panose="020B0604020202020204" pitchFamily="34" charset="0"/>
                <a:sym typeface="Arial"/>
              </a:defRPr>
            </a:lvl3pPr>
            <a:lvl4pPr marL="825500" indent="-171450">
              <a:spcBef>
                <a:spcPts val="400"/>
              </a:spcBef>
              <a:buClrTx/>
              <a:buFont typeface="Wingdings" panose="05000000000000000000" pitchFamily="2" charset="2"/>
              <a:buChar char="§"/>
              <a:defRPr lang="en-US" sz="900" b="0" i="0" u="none" strike="noStrike" cap="none" dirty="0" smtClean="0">
                <a:solidFill>
                  <a:schemeClr val="bg1"/>
                </a:solidFill>
                <a:latin typeface="Helvetica" panose="020B0604020202020204" pitchFamily="34" charset="0"/>
                <a:ea typeface="Arial"/>
                <a:cs typeface="Helvetica" panose="020B0604020202020204" pitchFamily="34" charset="0"/>
                <a:sym typeface="Arial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577850" marR="0" lvl="2" indent="-13335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Font typeface="Courier New" panose="02070309020205020404" pitchFamily="49" charset="0"/>
              <a:buChar char="o"/>
            </a:pPr>
            <a:r>
              <a:rPr lang="en-US"/>
              <a:t>Third level</a:t>
            </a:r>
          </a:p>
          <a:p>
            <a:pPr marL="784225" marR="0" lvl="3" indent="-130175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§"/>
            </a:pPr>
            <a:r>
              <a:rPr lang="en-US"/>
              <a:t>Fourth level</a:t>
            </a:r>
          </a:p>
        </p:txBody>
      </p:sp>
      <p:sp>
        <p:nvSpPr>
          <p:cNvPr id="5" name="Google Shape;268;p27">
            <a:extLst>
              <a:ext uri="{FF2B5EF4-FFF2-40B4-BE49-F238E27FC236}">
                <a16:creationId xmlns:a16="http://schemas.microsoft.com/office/drawing/2014/main" id="{8A08F24F-DB8A-F7C8-F033-7995C8245ABE}"/>
              </a:ext>
            </a:extLst>
          </p:cNvPr>
          <p:cNvSpPr/>
          <p:nvPr userDrawn="1"/>
        </p:nvSpPr>
        <p:spPr>
          <a:xfrm>
            <a:off x="5450166" y="4900823"/>
            <a:ext cx="3595800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500" b="0" i="0">
                <a:solidFill>
                  <a:schemeClr val="lt1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‹#›</a:t>
            </a:fld>
            <a:endParaRPr sz="500" b="0" i="0">
              <a:solidFill>
                <a:schemeClr val="lt1"/>
              </a:solidFill>
              <a:latin typeface="Helvetica" pitchFamily="2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6" name="Google Shape;525;p35">
            <a:extLst>
              <a:ext uri="{FF2B5EF4-FFF2-40B4-BE49-F238E27FC236}">
                <a16:creationId xmlns:a16="http://schemas.microsoft.com/office/drawing/2014/main" id="{28253312-ED6A-19A1-322D-FAE8E6DBD5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0800000">
            <a:off x="407925" y="524"/>
            <a:ext cx="73200" cy="1466325"/>
          </a:xfrm>
          <a:prstGeom prst="rect">
            <a:avLst/>
          </a:prstGeom>
          <a:gradFill>
            <a:gsLst>
              <a:gs pos="0">
                <a:srgbClr val="D59DFF"/>
              </a:gs>
              <a:gs pos="100000">
                <a:srgbClr val="28AFEA"/>
              </a:gs>
            </a:gsLst>
            <a:lin ang="5400012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0" i="0">
              <a:latin typeface="Helvetica" pitchFamily="2" charset="0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84FC0406-3C62-5882-D404-69475A81FA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" y="4380580"/>
            <a:ext cx="541303" cy="762921"/>
          </a:xfrm>
          <a:custGeom>
            <a:avLst/>
            <a:gdLst>
              <a:gd name="connsiteX0" fmla="*/ 0 w 541303"/>
              <a:gd name="connsiteY0" fmla="*/ 0 h 762921"/>
              <a:gd name="connsiteX1" fmla="*/ 16117 w 541303"/>
              <a:gd name="connsiteY1" fmla="*/ 1622 h 762921"/>
              <a:gd name="connsiteX2" fmla="*/ 541303 w 541303"/>
              <a:gd name="connsiteY2" fmla="*/ 645044 h 762921"/>
              <a:gd name="connsiteX3" fmla="*/ 529402 w 541303"/>
              <a:gd name="connsiteY3" fmla="*/ 762921 h 762921"/>
              <a:gd name="connsiteX4" fmla="*/ 0 w 541303"/>
              <a:gd name="connsiteY4" fmla="*/ 762921 h 762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1303" h="762921">
                <a:moveTo>
                  <a:pt x="0" y="0"/>
                </a:moveTo>
                <a:lnTo>
                  <a:pt x="16117" y="1622"/>
                </a:lnTo>
                <a:cubicBezTo>
                  <a:pt x="315840" y="62863"/>
                  <a:pt x="541303" y="327663"/>
                  <a:pt x="541303" y="645044"/>
                </a:cubicBezTo>
                <a:lnTo>
                  <a:pt x="529402" y="762921"/>
                </a:lnTo>
                <a:lnTo>
                  <a:pt x="0" y="762921"/>
                </a:lnTo>
                <a:close/>
              </a:path>
            </a:pathLst>
          </a:custGeom>
          <a:gradFill>
            <a:gsLst>
              <a:gs pos="0">
                <a:srgbClr val="8661C5"/>
              </a:gs>
              <a:gs pos="100000">
                <a:srgbClr val="161828">
                  <a:alpha val="74901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spcFirstLastPara="1" wrap="square" lIns="42900" tIns="21450" rIns="42900" bIns="214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 b="0" i="0">
              <a:solidFill>
                <a:schemeClr val="lt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0FBAC10-CD6D-92E6-F9D3-80C03EB8DA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" y="2164787"/>
            <a:ext cx="365760" cy="2743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33CF435-BD73-9057-1DF0-D1AE9AE57F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713246" y="2164787"/>
            <a:ext cx="365760" cy="2743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Google Shape;67;p15">
            <a:extLst>
              <a:ext uri="{FF2B5EF4-FFF2-40B4-BE49-F238E27FC236}">
                <a16:creationId xmlns:a16="http://schemas.microsoft.com/office/drawing/2014/main" id="{A6EABB22-CF1A-ED8B-BA08-817B48F7E6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" name="Google Shape;56;p14">
            <a:extLst>
              <a:ext uri="{FF2B5EF4-FFF2-40B4-BE49-F238E27FC236}">
                <a16:creationId xmlns:a16="http://schemas.microsoft.com/office/drawing/2014/main" id="{65F596C1-3843-160B-8093-45179ACE9582}"/>
              </a:ext>
            </a:extLst>
          </p:cNvPr>
          <p:cNvSpPr/>
          <p:nvPr userDrawn="1"/>
        </p:nvSpPr>
        <p:spPr>
          <a:xfrm>
            <a:off x="569084" y="4900823"/>
            <a:ext cx="5054476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 dirty="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5 THINGS YOU CAN DO WITH GITHUB COPILOT</a:t>
            </a:r>
            <a:endParaRPr lang="en-US" sz="500" b="0" i="0" u="none" strike="noStrike" kern="1200" cap="none" spc="600" dirty="0">
              <a:solidFill>
                <a:srgbClr val="627597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28792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s with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32FAD5-E2EA-041B-4AD2-12ABAADB33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27813"/>
            <a:ext cx="6172200" cy="1207426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81DC6C61-7067-0E95-3CDF-F598633488D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752600"/>
            <a:ext cx="3858768" cy="2913063"/>
          </a:xfrm>
          <a:prstGeom prst="rect">
            <a:avLst/>
          </a:prstGeom>
          <a:solidFill>
            <a:schemeClr val="tx2">
              <a:lumMod val="10000"/>
              <a:alpha val="76000"/>
            </a:schemeClr>
          </a:solidFill>
        </p:spPr>
        <p:txBody>
          <a:bodyPr lIns="91440" tIns="45720" rIns="91440" bIns="45720"/>
          <a:lstStyle>
            <a:lvl1pPr marL="114300" indent="-114300">
              <a:spcBef>
                <a:spcPts val="4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361950" indent="-165100">
              <a:spcBef>
                <a:spcPts val="400"/>
              </a:spcBef>
              <a:buClr>
                <a:schemeClr val="bg1"/>
              </a:buClr>
              <a:buFont typeface="Helvetica" panose="020B0604020202020204" pitchFamily="34" charset="0"/>
              <a:buChar char="–"/>
              <a:defRPr sz="11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 marL="577850" indent="-133350">
              <a:spcBef>
                <a:spcPts val="400"/>
              </a:spcBef>
              <a:buClrTx/>
              <a:buFont typeface="Courier New" panose="02070309020205020404" pitchFamily="49" charset="0"/>
              <a:buChar char="o"/>
              <a:defRPr sz="9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 marL="784225" indent="-130175">
              <a:spcBef>
                <a:spcPts val="400"/>
              </a:spcBef>
              <a:buClrTx/>
              <a:buFont typeface="Wingdings" panose="05000000000000000000" pitchFamily="2" charset="2"/>
              <a:buChar char="§"/>
              <a:defRPr sz="9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3" name="Google Shape;427;p33">
            <a:extLst>
              <a:ext uri="{FF2B5EF4-FFF2-40B4-BE49-F238E27FC236}">
                <a16:creationId xmlns:a16="http://schemas.microsoft.com/office/drawing/2014/main" id="{C8229B51-20E4-A966-D837-D087693D42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 userDrawn="1"/>
        </p:nvPicPr>
        <p:blipFill rotWithShape="1">
          <a:blip r:embed="rId2">
            <a:alphaModFix amt="23000"/>
          </a:blip>
          <a:srcRect r="33453" b="13524"/>
          <a:stretch/>
        </p:blipFill>
        <p:spPr>
          <a:xfrm>
            <a:off x="4878193" y="3"/>
            <a:ext cx="4265812" cy="5143497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88282C3A-3227-F7B2-49D5-26F0892A6A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89014" y="1752600"/>
            <a:ext cx="3858768" cy="2913063"/>
          </a:xfrm>
          <a:prstGeom prst="rect">
            <a:avLst/>
          </a:prstGeom>
          <a:solidFill>
            <a:schemeClr val="tx2">
              <a:lumMod val="10000"/>
              <a:alpha val="76000"/>
            </a:schemeClr>
          </a:solidFill>
        </p:spPr>
        <p:txBody>
          <a:bodyPr lIns="91440" tIns="45720" rIns="91440" bIns="45720"/>
          <a:lstStyle>
            <a:lvl1pPr marL="114300" indent="-114300">
              <a:spcBef>
                <a:spcPts val="4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361950" indent="-165100">
              <a:spcBef>
                <a:spcPts val="400"/>
              </a:spcBef>
              <a:buClr>
                <a:schemeClr val="bg1"/>
              </a:buClr>
              <a:buFont typeface="Helvetica" panose="020B0604020202020204" pitchFamily="34" charset="0"/>
              <a:buChar char="–"/>
              <a:defRPr sz="11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 marL="615950" indent="-171450">
              <a:spcBef>
                <a:spcPts val="400"/>
              </a:spcBef>
              <a:buClrTx/>
              <a:buFont typeface="Courier New" panose="02070309020205020404" pitchFamily="49" charset="0"/>
              <a:buChar char="o"/>
              <a:defRPr lang="en-US" sz="900" b="0" i="0" u="none" strike="noStrike" cap="none" dirty="0" smtClean="0">
                <a:solidFill>
                  <a:schemeClr val="bg1"/>
                </a:solidFill>
                <a:latin typeface="Helvetica" panose="020B0604020202020204" pitchFamily="34" charset="0"/>
                <a:ea typeface="Arial"/>
                <a:cs typeface="Helvetica" panose="020B0604020202020204" pitchFamily="34" charset="0"/>
                <a:sym typeface="Arial"/>
              </a:defRPr>
            </a:lvl3pPr>
            <a:lvl4pPr marL="825500" indent="-171450">
              <a:spcBef>
                <a:spcPts val="400"/>
              </a:spcBef>
              <a:buClrTx/>
              <a:buFont typeface="Wingdings" panose="05000000000000000000" pitchFamily="2" charset="2"/>
              <a:buChar char="§"/>
              <a:defRPr lang="en-US" sz="900" b="0" i="0" u="none" strike="noStrike" cap="none" dirty="0" smtClean="0">
                <a:solidFill>
                  <a:schemeClr val="bg1"/>
                </a:solidFill>
                <a:latin typeface="Helvetica" panose="020B0604020202020204" pitchFamily="34" charset="0"/>
                <a:ea typeface="Arial"/>
                <a:cs typeface="Helvetica" panose="020B0604020202020204" pitchFamily="34" charset="0"/>
                <a:sym typeface="Arial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577850" marR="0" lvl="2" indent="-13335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Font typeface="Courier New" panose="02070309020205020404" pitchFamily="49" charset="0"/>
              <a:buChar char="o"/>
            </a:pPr>
            <a:r>
              <a:rPr lang="en-US"/>
              <a:t>Third level</a:t>
            </a:r>
          </a:p>
          <a:p>
            <a:pPr marL="784225" marR="0" lvl="3" indent="-130175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§"/>
            </a:pPr>
            <a:r>
              <a:rPr lang="en-US"/>
              <a:t>Fourth level</a:t>
            </a:r>
          </a:p>
        </p:txBody>
      </p:sp>
      <p:sp>
        <p:nvSpPr>
          <p:cNvPr id="5" name="Google Shape;268;p27">
            <a:extLst>
              <a:ext uri="{FF2B5EF4-FFF2-40B4-BE49-F238E27FC236}">
                <a16:creationId xmlns:a16="http://schemas.microsoft.com/office/drawing/2014/main" id="{8A08F24F-DB8A-F7C8-F033-7995C8245ABE}"/>
              </a:ext>
            </a:extLst>
          </p:cNvPr>
          <p:cNvSpPr/>
          <p:nvPr userDrawn="1"/>
        </p:nvSpPr>
        <p:spPr>
          <a:xfrm>
            <a:off x="5450166" y="4900823"/>
            <a:ext cx="3595800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500" b="0" i="0">
                <a:solidFill>
                  <a:schemeClr val="lt1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‹#›</a:t>
            </a:fld>
            <a:endParaRPr sz="500" b="0" i="0">
              <a:solidFill>
                <a:schemeClr val="lt1"/>
              </a:solidFill>
              <a:latin typeface="Helvetica" pitchFamily="2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6" name="Google Shape;525;p35">
            <a:extLst>
              <a:ext uri="{FF2B5EF4-FFF2-40B4-BE49-F238E27FC236}">
                <a16:creationId xmlns:a16="http://schemas.microsoft.com/office/drawing/2014/main" id="{28253312-ED6A-19A1-322D-FAE8E6DBD5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0800000">
            <a:off x="407925" y="524"/>
            <a:ext cx="73200" cy="1466325"/>
          </a:xfrm>
          <a:prstGeom prst="rect">
            <a:avLst/>
          </a:prstGeom>
          <a:gradFill>
            <a:gsLst>
              <a:gs pos="0">
                <a:srgbClr val="D59DFF"/>
              </a:gs>
              <a:gs pos="100000">
                <a:srgbClr val="28AFEA"/>
              </a:gs>
            </a:gsLst>
            <a:lin ang="5400012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0" i="0">
              <a:latin typeface="Helvetica" pitchFamily="2" charset="0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75449B6-101A-3951-1670-327103F19C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" y="4380580"/>
            <a:ext cx="541303" cy="762921"/>
          </a:xfrm>
          <a:custGeom>
            <a:avLst/>
            <a:gdLst>
              <a:gd name="connsiteX0" fmla="*/ 0 w 541303"/>
              <a:gd name="connsiteY0" fmla="*/ 0 h 762921"/>
              <a:gd name="connsiteX1" fmla="*/ 16117 w 541303"/>
              <a:gd name="connsiteY1" fmla="*/ 1622 h 762921"/>
              <a:gd name="connsiteX2" fmla="*/ 541303 w 541303"/>
              <a:gd name="connsiteY2" fmla="*/ 645044 h 762921"/>
              <a:gd name="connsiteX3" fmla="*/ 529402 w 541303"/>
              <a:gd name="connsiteY3" fmla="*/ 762921 h 762921"/>
              <a:gd name="connsiteX4" fmla="*/ 0 w 541303"/>
              <a:gd name="connsiteY4" fmla="*/ 762921 h 762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1303" h="762921">
                <a:moveTo>
                  <a:pt x="0" y="0"/>
                </a:moveTo>
                <a:lnTo>
                  <a:pt x="16117" y="1622"/>
                </a:lnTo>
                <a:cubicBezTo>
                  <a:pt x="315840" y="62863"/>
                  <a:pt x="541303" y="327663"/>
                  <a:pt x="541303" y="645044"/>
                </a:cubicBezTo>
                <a:lnTo>
                  <a:pt x="529402" y="762921"/>
                </a:lnTo>
                <a:lnTo>
                  <a:pt x="0" y="762921"/>
                </a:lnTo>
                <a:close/>
              </a:path>
            </a:pathLst>
          </a:custGeom>
          <a:gradFill>
            <a:gsLst>
              <a:gs pos="0">
                <a:srgbClr val="8661C5"/>
              </a:gs>
              <a:gs pos="100000">
                <a:srgbClr val="161828">
                  <a:alpha val="74901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spcFirstLastPara="1" wrap="square" lIns="42900" tIns="21450" rIns="42900" bIns="214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 b="0" i="0">
              <a:solidFill>
                <a:schemeClr val="lt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cxnSp>
        <p:nvCxnSpPr>
          <p:cNvPr id="8" name="Google Shape;67;p15">
            <a:extLst>
              <a:ext uri="{FF2B5EF4-FFF2-40B4-BE49-F238E27FC236}">
                <a16:creationId xmlns:a16="http://schemas.microsoft.com/office/drawing/2014/main" id="{9C52BFE1-1B88-65CC-FDBA-D55E7C82CE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" name="Google Shape;56;p14">
            <a:extLst>
              <a:ext uri="{FF2B5EF4-FFF2-40B4-BE49-F238E27FC236}">
                <a16:creationId xmlns:a16="http://schemas.microsoft.com/office/drawing/2014/main" id="{78DE2667-1FD5-3DD2-C5D5-FD239113DE0D}"/>
              </a:ext>
            </a:extLst>
          </p:cNvPr>
          <p:cNvSpPr/>
          <p:nvPr userDrawn="1"/>
        </p:nvSpPr>
        <p:spPr>
          <a:xfrm>
            <a:off x="569084" y="4900823"/>
            <a:ext cx="5054476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 dirty="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5 THINGS YOU CAN DO WITH GITHUB COPILOT</a:t>
            </a:r>
            <a:endParaRPr lang="en-US" sz="500" b="0" i="0" u="none" strike="noStrike" kern="1200" cap="none" spc="600" dirty="0">
              <a:solidFill>
                <a:srgbClr val="627597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635932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owser" type="tx" preserve="1">
  <p:cSld name="Browser">
    <p:bg>
      <p:bgPr>
        <a:solidFill>
          <a:srgbClr val="000000"/>
        </a:solidFill>
        <a:effectLst/>
      </p:bgPr>
    </p:bg>
    <p:spTree>
      <p:nvGrpSpPr>
        <p:cNvPr id="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26187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eople-LinkedIn (4)" preserve="1" userDrawn="1">
  <p:cSld name="People-LinkedIn (4)"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9" name="Google Shape;229;p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2">
            <a:alphaModFix amt="30000"/>
          </a:blip>
          <a:srcRect l="86782"/>
          <a:stretch/>
        </p:blipFill>
        <p:spPr>
          <a:xfrm>
            <a:off x="1" y="1082633"/>
            <a:ext cx="497321" cy="3762369"/>
          </a:xfrm>
          <a:prstGeom prst="rect">
            <a:avLst/>
          </a:prstGeom>
          <a:noFill/>
          <a:ln>
            <a:noFill/>
          </a:ln>
        </p:spPr>
      </p:pic>
      <p:sp>
        <p:nvSpPr>
          <p:cNvPr id="33" name="Google Shape;262;p26">
            <a:extLst>
              <a:ext uri="{FF2B5EF4-FFF2-40B4-BE49-F238E27FC236}">
                <a16:creationId xmlns:a16="http://schemas.microsoft.com/office/drawing/2014/main" id="{4CD789D4-8522-B2D3-95F4-34B3B0D7B268}"/>
              </a:ext>
            </a:extLst>
          </p:cNvPr>
          <p:cNvSpPr txBox="1">
            <a:spLocks noGrp="1"/>
          </p:cNvSpPr>
          <p:nvPr userDrawn="1">
            <p:ph type="title"/>
          </p:nvPr>
        </p:nvSpPr>
        <p:spPr>
          <a:xfrm>
            <a:off x="630204" y="258858"/>
            <a:ext cx="7905317" cy="1021303"/>
          </a:xfrm>
          <a:prstGeom prst="rect">
            <a:avLst/>
          </a:prstGeom>
        </p:spPr>
        <p:txBody>
          <a:bodyPr spcFirstLastPara="1" wrap="square" lIns="45700" tIns="18275" rIns="45700" bIns="1827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400"/>
              <a:buNone/>
              <a:defRPr sz="2700" b="1" i="0">
                <a:latin typeface="Helvetica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268;p27">
            <a:extLst>
              <a:ext uri="{FF2B5EF4-FFF2-40B4-BE49-F238E27FC236}">
                <a16:creationId xmlns:a16="http://schemas.microsoft.com/office/drawing/2014/main" id="{5F31D209-DE2E-1B4B-B119-6820B2255B10}"/>
              </a:ext>
            </a:extLst>
          </p:cNvPr>
          <p:cNvSpPr/>
          <p:nvPr userDrawn="1"/>
        </p:nvSpPr>
        <p:spPr>
          <a:xfrm>
            <a:off x="5450166" y="4900823"/>
            <a:ext cx="3595800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500" b="0" i="0">
                <a:solidFill>
                  <a:schemeClr val="lt1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pPr marL="0" marR="0" lvl="0" indent="0" algn="r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500" b="0" i="0">
              <a:solidFill>
                <a:schemeClr val="lt1"/>
              </a:solidFill>
              <a:latin typeface="Helvetica" pitchFamily="2" charset="0"/>
              <a:ea typeface="Helvetica Neue"/>
              <a:cs typeface="Helvetica Neue"/>
              <a:sym typeface="Helvetica Neue"/>
            </a:endParaRPr>
          </a:p>
        </p:txBody>
      </p:sp>
      <p:pic>
        <p:nvPicPr>
          <p:cNvPr id="3" name="Google Shape;229;p25">
            <a:extLst>
              <a:ext uri="{FF2B5EF4-FFF2-40B4-BE49-F238E27FC236}">
                <a16:creationId xmlns:a16="http://schemas.microsoft.com/office/drawing/2014/main" id="{532C6EF5-F59B-5C80-31DC-DE51495CEC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 userDrawn="1"/>
        </p:nvPicPr>
        <p:blipFill rotWithShape="1">
          <a:blip r:embed="rId2">
            <a:alphaModFix amt="30000"/>
          </a:blip>
          <a:srcRect l="86782"/>
          <a:stretch/>
        </p:blipFill>
        <p:spPr>
          <a:xfrm>
            <a:off x="8646680" y="360589"/>
            <a:ext cx="497321" cy="376236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Google Shape;67;p15">
            <a:extLst>
              <a:ext uri="{FF2B5EF4-FFF2-40B4-BE49-F238E27FC236}">
                <a16:creationId xmlns:a16="http://schemas.microsoft.com/office/drawing/2014/main" id="{88991BF3-1240-7ED0-E5B7-3962CE911F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" name="Google Shape;56;p14">
            <a:extLst>
              <a:ext uri="{FF2B5EF4-FFF2-40B4-BE49-F238E27FC236}">
                <a16:creationId xmlns:a16="http://schemas.microsoft.com/office/drawing/2014/main" id="{97015E0A-0BD8-CC93-1A20-04AB16B770FE}"/>
              </a:ext>
            </a:extLst>
          </p:cNvPr>
          <p:cNvSpPr/>
          <p:nvPr userDrawn="1"/>
        </p:nvSpPr>
        <p:spPr>
          <a:xfrm>
            <a:off x="569084" y="4900823"/>
            <a:ext cx="5054476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 dirty="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5 THINGS YOU CAN DO WITH GITHUB COPILOT</a:t>
            </a:r>
            <a:endParaRPr lang="en-US" sz="500" b="0" i="0" u="none" strike="noStrike" kern="1200" cap="none" spc="600" dirty="0">
              <a:solidFill>
                <a:srgbClr val="627597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05053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32FAD5-E2EA-041B-4AD2-12ABAADB33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985" y="447676"/>
            <a:ext cx="6274816" cy="987563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Google Shape;268;p27">
            <a:extLst>
              <a:ext uri="{FF2B5EF4-FFF2-40B4-BE49-F238E27FC236}">
                <a16:creationId xmlns:a16="http://schemas.microsoft.com/office/drawing/2014/main" id="{8A08F24F-DB8A-F7C8-F033-7995C8245ABE}"/>
              </a:ext>
            </a:extLst>
          </p:cNvPr>
          <p:cNvSpPr/>
          <p:nvPr userDrawn="1"/>
        </p:nvSpPr>
        <p:spPr>
          <a:xfrm>
            <a:off x="5450166" y="4900823"/>
            <a:ext cx="3595800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500" b="0" i="0">
                <a:solidFill>
                  <a:schemeClr val="lt1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pPr marL="0" marR="0" lvl="0" indent="0" algn="r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500" b="0" i="0">
              <a:solidFill>
                <a:schemeClr val="lt1"/>
              </a:solidFill>
              <a:latin typeface="Helvetica" pitchFamily="2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6" name="Google Shape;525;p35">
            <a:extLst>
              <a:ext uri="{FF2B5EF4-FFF2-40B4-BE49-F238E27FC236}">
                <a16:creationId xmlns:a16="http://schemas.microsoft.com/office/drawing/2014/main" id="{28253312-ED6A-19A1-322D-FAE8E6DBD5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0800000">
            <a:off x="407925" y="524"/>
            <a:ext cx="73200" cy="1466325"/>
          </a:xfrm>
          <a:prstGeom prst="rect">
            <a:avLst/>
          </a:prstGeom>
          <a:gradFill>
            <a:gsLst>
              <a:gs pos="0">
                <a:srgbClr val="D59DFF"/>
              </a:gs>
              <a:gs pos="100000">
                <a:srgbClr val="28AFEA"/>
              </a:gs>
            </a:gsLst>
            <a:lin ang="5400012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latin typeface="Helvetica" pitchFamily="2" charset="0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75449B6-101A-3951-1670-327103F19C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" y="4380581"/>
            <a:ext cx="541303" cy="762921"/>
          </a:xfrm>
          <a:custGeom>
            <a:avLst/>
            <a:gdLst>
              <a:gd name="connsiteX0" fmla="*/ 0 w 541303"/>
              <a:gd name="connsiteY0" fmla="*/ 0 h 762921"/>
              <a:gd name="connsiteX1" fmla="*/ 16117 w 541303"/>
              <a:gd name="connsiteY1" fmla="*/ 1622 h 762921"/>
              <a:gd name="connsiteX2" fmla="*/ 541303 w 541303"/>
              <a:gd name="connsiteY2" fmla="*/ 645044 h 762921"/>
              <a:gd name="connsiteX3" fmla="*/ 529402 w 541303"/>
              <a:gd name="connsiteY3" fmla="*/ 762921 h 762921"/>
              <a:gd name="connsiteX4" fmla="*/ 0 w 541303"/>
              <a:gd name="connsiteY4" fmla="*/ 762921 h 762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1303" h="762921">
                <a:moveTo>
                  <a:pt x="0" y="0"/>
                </a:moveTo>
                <a:lnTo>
                  <a:pt x="16117" y="1622"/>
                </a:lnTo>
                <a:cubicBezTo>
                  <a:pt x="315840" y="62863"/>
                  <a:pt x="541303" y="327663"/>
                  <a:pt x="541303" y="645044"/>
                </a:cubicBezTo>
                <a:lnTo>
                  <a:pt x="529402" y="762921"/>
                </a:lnTo>
                <a:lnTo>
                  <a:pt x="0" y="762921"/>
                </a:lnTo>
                <a:close/>
              </a:path>
            </a:pathLst>
          </a:custGeom>
          <a:gradFill>
            <a:gsLst>
              <a:gs pos="0">
                <a:srgbClr val="8661C5"/>
              </a:gs>
              <a:gs pos="100000">
                <a:srgbClr val="161828">
                  <a:alpha val="74901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spcFirstLastPara="1" wrap="square" lIns="42900" tIns="21450" rIns="42900" bIns="214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 b="0" i="0">
              <a:solidFill>
                <a:schemeClr val="lt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cxnSp>
        <p:nvCxnSpPr>
          <p:cNvPr id="3" name="Google Shape;67;p15">
            <a:extLst>
              <a:ext uri="{FF2B5EF4-FFF2-40B4-BE49-F238E27FC236}">
                <a16:creationId xmlns:a16="http://schemas.microsoft.com/office/drawing/2014/main" id="{00D832CF-0D71-6474-7C5E-4569D91858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" name="Google Shape;56;p14">
            <a:extLst>
              <a:ext uri="{FF2B5EF4-FFF2-40B4-BE49-F238E27FC236}">
                <a16:creationId xmlns:a16="http://schemas.microsoft.com/office/drawing/2014/main" id="{A275F348-DB06-A37D-DCB2-48B37128CFD6}"/>
              </a:ext>
            </a:extLst>
          </p:cNvPr>
          <p:cNvSpPr/>
          <p:nvPr userDrawn="1"/>
        </p:nvSpPr>
        <p:spPr>
          <a:xfrm>
            <a:off x="569084" y="4900823"/>
            <a:ext cx="5054476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 dirty="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5 THINGS YOU CAN DO WITH GITHUB COPILOT</a:t>
            </a:r>
            <a:endParaRPr lang="en-US" sz="500" b="0" i="0" u="none" strike="noStrike" kern="1200" cap="none" spc="600" dirty="0">
              <a:solidFill>
                <a:srgbClr val="627597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42834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268;p27">
            <a:extLst>
              <a:ext uri="{FF2B5EF4-FFF2-40B4-BE49-F238E27FC236}">
                <a16:creationId xmlns:a16="http://schemas.microsoft.com/office/drawing/2014/main" id="{B6D12CB6-1D97-8797-92E6-98561257E81C}"/>
              </a:ext>
            </a:extLst>
          </p:cNvPr>
          <p:cNvSpPr/>
          <p:nvPr userDrawn="1"/>
        </p:nvSpPr>
        <p:spPr>
          <a:xfrm>
            <a:off x="5450166" y="4900823"/>
            <a:ext cx="3595800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500" b="0" i="0">
                <a:solidFill>
                  <a:schemeClr val="lt1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pPr marL="0" marR="0" lvl="0" indent="0" algn="r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500" b="0" i="0">
              <a:solidFill>
                <a:schemeClr val="lt1"/>
              </a:solidFill>
              <a:latin typeface="Helvetica" pitchFamily="2" charset="0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5" name="Google Shape;67;p15">
            <a:extLst>
              <a:ext uri="{FF2B5EF4-FFF2-40B4-BE49-F238E27FC236}">
                <a16:creationId xmlns:a16="http://schemas.microsoft.com/office/drawing/2014/main" id="{69743D0E-8C64-FA9F-476C-EA9BF7DA22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" name="Google Shape;56;p14">
            <a:extLst>
              <a:ext uri="{FF2B5EF4-FFF2-40B4-BE49-F238E27FC236}">
                <a16:creationId xmlns:a16="http://schemas.microsoft.com/office/drawing/2014/main" id="{6CCCAE11-EA85-B4D1-0D8C-65F7DD7B3569}"/>
              </a:ext>
            </a:extLst>
          </p:cNvPr>
          <p:cNvSpPr/>
          <p:nvPr userDrawn="1"/>
        </p:nvSpPr>
        <p:spPr>
          <a:xfrm>
            <a:off x="569084" y="4900823"/>
            <a:ext cx="5054476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 dirty="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5 THINGS YOU CAN DO WITH GITHUB COPILOT</a:t>
            </a:r>
            <a:endParaRPr lang="en-US" sz="500" b="0" i="0" u="none" strike="noStrike" kern="1200" cap="none" spc="600" dirty="0">
              <a:solidFill>
                <a:srgbClr val="627597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940330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68;p27">
            <a:extLst>
              <a:ext uri="{FF2B5EF4-FFF2-40B4-BE49-F238E27FC236}">
                <a16:creationId xmlns:a16="http://schemas.microsoft.com/office/drawing/2014/main" id="{433D8481-4EA0-C57C-F740-7F9AEAEEFBCC}"/>
              </a:ext>
            </a:extLst>
          </p:cNvPr>
          <p:cNvSpPr/>
          <p:nvPr userDrawn="1"/>
        </p:nvSpPr>
        <p:spPr>
          <a:xfrm>
            <a:off x="5450166" y="4900823"/>
            <a:ext cx="3595800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500" b="0" i="0">
                <a:solidFill>
                  <a:schemeClr val="lt1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pPr marL="0" marR="0" lvl="0" indent="0" algn="r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500" b="0" i="0">
              <a:solidFill>
                <a:schemeClr val="lt1"/>
              </a:solidFill>
              <a:latin typeface="Helvetica" pitchFamily="2" charset="0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5" name="Google Shape;67;p15">
            <a:extLst>
              <a:ext uri="{FF2B5EF4-FFF2-40B4-BE49-F238E27FC236}">
                <a16:creationId xmlns:a16="http://schemas.microsoft.com/office/drawing/2014/main" id="{0B69525E-8580-1D85-5B25-66FDAACF22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" name="Google Shape;56;p14">
            <a:extLst>
              <a:ext uri="{FF2B5EF4-FFF2-40B4-BE49-F238E27FC236}">
                <a16:creationId xmlns:a16="http://schemas.microsoft.com/office/drawing/2014/main" id="{6165F1FD-16D2-0388-9E42-CF2500D25329}"/>
              </a:ext>
            </a:extLst>
          </p:cNvPr>
          <p:cNvSpPr/>
          <p:nvPr userDrawn="1"/>
        </p:nvSpPr>
        <p:spPr>
          <a:xfrm>
            <a:off x="569084" y="4900823"/>
            <a:ext cx="5054476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 dirty="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5 THINGS YOU CAN DO WITH GITHUB COPILOT</a:t>
            </a:r>
            <a:endParaRPr lang="en-US" sz="500" b="0" i="0" u="none" strike="noStrike" kern="1200" cap="none" spc="600" dirty="0">
              <a:solidFill>
                <a:srgbClr val="627597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4136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02083"/>
            <a:ext cx="7924800" cy="627856"/>
          </a:xfrm>
        </p:spPr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Google Shape;268;p27">
            <a:extLst>
              <a:ext uri="{FF2B5EF4-FFF2-40B4-BE49-F238E27FC236}">
                <a16:creationId xmlns:a16="http://schemas.microsoft.com/office/drawing/2014/main" id="{3AF86EE4-E7DF-DDB4-43E0-47F9B609B204}"/>
              </a:ext>
            </a:extLst>
          </p:cNvPr>
          <p:cNvSpPr/>
          <p:nvPr userDrawn="1"/>
        </p:nvSpPr>
        <p:spPr>
          <a:xfrm>
            <a:off x="5450166" y="4900823"/>
            <a:ext cx="3595800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500" b="0" i="0">
                <a:solidFill>
                  <a:schemeClr val="lt1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pPr marL="0" marR="0" lvl="0" indent="0" algn="r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500" b="0" i="0">
              <a:solidFill>
                <a:schemeClr val="lt1"/>
              </a:solidFill>
              <a:latin typeface="Helvetica" pitchFamily="2" charset="0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4" name="Google Shape;67;p15">
            <a:extLst>
              <a:ext uri="{FF2B5EF4-FFF2-40B4-BE49-F238E27FC236}">
                <a16:creationId xmlns:a16="http://schemas.microsoft.com/office/drawing/2014/main" id="{018A8A0D-A556-CF1C-FA26-688EDFB446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" name="Google Shape;525;p35">
            <a:extLst>
              <a:ext uri="{FF2B5EF4-FFF2-40B4-BE49-F238E27FC236}">
                <a16:creationId xmlns:a16="http://schemas.microsoft.com/office/drawing/2014/main" id="{FBD01650-6568-E4FD-E921-478184C948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0800000">
            <a:off x="407925" y="0"/>
            <a:ext cx="73200" cy="1280160"/>
          </a:xfrm>
          <a:prstGeom prst="rect">
            <a:avLst/>
          </a:prstGeom>
          <a:gradFill>
            <a:gsLst>
              <a:gs pos="0">
                <a:srgbClr val="D59DFF"/>
              </a:gs>
              <a:gs pos="100000">
                <a:srgbClr val="28AFEA"/>
              </a:gs>
            </a:gsLst>
            <a:lin ang="5400012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0" i="0">
              <a:latin typeface="Helvetica" pitchFamily="2" charset="0"/>
            </a:endParaRPr>
          </a:p>
        </p:txBody>
      </p:sp>
      <p:sp>
        <p:nvSpPr>
          <p:cNvPr id="9" name="Google Shape;56;p14">
            <a:extLst>
              <a:ext uri="{FF2B5EF4-FFF2-40B4-BE49-F238E27FC236}">
                <a16:creationId xmlns:a16="http://schemas.microsoft.com/office/drawing/2014/main" id="{EC7FFF08-00C0-62BF-A658-292A19623559}"/>
              </a:ext>
            </a:extLst>
          </p:cNvPr>
          <p:cNvSpPr/>
          <p:nvPr userDrawn="1"/>
        </p:nvSpPr>
        <p:spPr>
          <a:xfrm>
            <a:off x="569084" y="4900823"/>
            <a:ext cx="5054476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 dirty="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5 THINGS YOU CAN DO WITH GITHUB COPILOT</a:t>
            </a:r>
            <a:endParaRPr lang="en-US" sz="500" b="0" i="0" u="none" strike="noStrike" kern="1200" cap="none" spc="600" dirty="0">
              <a:solidFill>
                <a:srgbClr val="627597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7653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95">
          <p15:clr>
            <a:srgbClr val="A4A3A4"/>
          </p15:clr>
        </p15:guide>
        <p15:guide id="7" pos="981">
          <p15:clr>
            <a:srgbClr val="A4A3A4"/>
          </p15:clr>
        </p15:guide>
        <p15:guide id="8" pos="1401">
          <p15:clr>
            <a:srgbClr val="A4A3A4"/>
          </p15:clr>
        </p15:guide>
        <p15:guide id="9" pos="1587">
          <p15:clr>
            <a:srgbClr val="A4A3A4"/>
          </p15:clr>
        </p15:guide>
        <p15:guide id="10" pos="2006">
          <p15:clr>
            <a:srgbClr val="A4A3A4"/>
          </p15:clr>
        </p15:guide>
        <p15:guide id="11" pos="2193">
          <p15:clr>
            <a:srgbClr val="A4A3A4"/>
          </p15:clr>
        </p15:guide>
        <p15:guide id="12" pos="2612">
          <p15:clr>
            <a:srgbClr val="A4A3A4"/>
          </p15:clr>
        </p15:guide>
        <p15:guide id="13" pos="2799">
          <p15:clr>
            <a:srgbClr val="A4A3A4"/>
          </p15:clr>
        </p15:guide>
        <p15:guide id="14" pos="3218">
          <p15:clr>
            <a:srgbClr val="A4A3A4"/>
          </p15:clr>
        </p15:guide>
        <p15:guide id="15" pos="3405">
          <p15:clr>
            <a:srgbClr val="A4A3A4"/>
          </p15:clr>
        </p15:guide>
        <p15:guide id="16" pos="3824">
          <p15:clr>
            <a:srgbClr val="A4A3A4"/>
          </p15:clr>
        </p15:guide>
        <p15:guide id="17" pos="4011">
          <p15:clr>
            <a:srgbClr val="A4A3A4"/>
          </p15:clr>
        </p15:guide>
        <p15:guide id="18" pos="4430">
          <p15:clr>
            <a:srgbClr val="A4A3A4"/>
          </p15:clr>
        </p15:guide>
        <p15:guide id="19" pos="4617">
          <p15:clr>
            <a:srgbClr val="A4A3A4"/>
          </p15:clr>
        </p15:guide>
        <p15:guide id="20" pos="5036">
          <p15:clr>
            <a:srgbClr val="A4A3A4"/>
          </p15:clr>
        </p15:guide>
        <p15:guide id="21" pos="5223">
          <p15:clr>
            <a:srgbClr val="A4A3A4"/>
          </p15:clr>
        </p15:guide>
        <p15:guide id="22" pos="5640">
          <p15:clr>
            <a:srgbClr val="A4A3A4"/>
          </p15:clr>
        </p15:guide>
        <p15:guide id="23" pos="5829">
          <p15:clr>
            <a:srgbClr val="A4A3A4"/>
          </p15:clr>
        </p15:guide>
        <p15:guide id="24" pos="6246">
          <p15:clr>
            <a:srgbClr val="A4A3A4"/>
          </p15:clr>
        </p15:guide>
        <p15:guide id="25" pos="6434">
          <p15:clr>
            <a:srgbClr val="A4A3A4"/>
          </p15:clr>
        </p15:guide>
        <p15:guide id="26" pos="6852">
          <p15:clr>
            <a:srgbClr val="A4A3A4"/>
          </p15:clr>
        </p15:guide>
        <p15:guide id="27" pos="7038">
          <p15:clr>
            <a:srgbClr val="A4A3A4"/>
          </p15:clr>
        </p15:guide>
        <p15:guide id="28" orient="horz" pos="923">
          <p15:clr>
            <a:srgbClr val="5ACBF0"/>
          </p15:clr>
        </p15:guide>
        <p15:guide id="29" orient="horz" pos="1296">
          <p15:clr>
            <a:srgbClr val="5ACBF0"/>
          </p15:clr>
        </p15:guide>
        <p15:guide id="30" orient="horz" pos="294">
          <p15:clr>
            <a:srgbClr val="5ACBF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02083"/>
            <a:ext cx="7924800" cy="627856"/>
          </a:xfrm>
        </p:spPr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Google Shape;268;p27">
            <a:extLst>
              <a:ext uri="{FF2B5EF4-FFF2-40B4-BE49-F238E27FC236}">
                <a16:creationId xmlns:a16="http://schemas.microsoft.com/office/drawing/2014/main" id="{3AF86EE4-E7DF-DDB4-43E0-47F9B609B204}"/>
              </a:ext>
            </a:extLst>
          </p:cNvPr>
          <p:cNvSpPr/>
          <p:nvPr userDrawn="1"/>
        </p:nvSpPr>
        <p:spPr>
          <a:xfrm>
            <a:off x="5450166" y="4900823"/>
            <a:ext cx="3595800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500" b="0" i="0">
                <a:solidFill>
                  <a:schemeClr val="lt1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pPr marL="0" marR="0" lvl="0" indent="0" algn="r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500" b="0" i="0">
              <a:solidFill>
                <a:schemeClr val="lt1"/>
              </a:solidFill>
              <a:latin typeface="Helvetica" pitchFamily="2" charset="0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4" name="Google Shape;67;p15">
            <a:extLst>
              <a:ext uri="{FF2B5EF4-FFF2-40B4-BE49-F238E27FC236}">
                <a16:creationId xmlns:a16="http://schemas.microsoft.com/office/drawing/2014/main" id="{018A8A0D-A556-CF1C-FA26-688EDFB446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" name="Google Shape;56;p14">
            <a:extLst>
              <a:ext uri="{FF2B5EF4-FFF2-40B4-BE49-F238E27FC236}">
                <a16:creationId xmlns:a16="http://schemas.microsoft.com/office/drawing/2014/main" id="{41E0DF4D-CA5E-C176-1A0B-E0873400F64F}"/>
              </a:ext>
            </a:extLst>
          </p:cNvPr>
          <p:cNvSpPr/>
          <p:nvPr userDrawn="1"/>
        </p:nvSpPr>
        <p:spPr>
          <a:xfrm>
            <a:off x="569084" y="4900823"/>
            <a:ext cx="5054476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 dirty="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5 THINGS YOU CAN DO WITH GITHUB COPILOT</a:t>
            </a:r>
            <a:endParaRPr lang="en-US" sz="500" b="0" i="0" u="none" strike="noStrike" kern="1200" cap="none" spc="600" dirty="0">
              <a:solidFill>
                <a:srgbClr val="627597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07806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95">
          <p15:clr>
            <a:srgbClr val="A4A3A4"/>
          </p15:clr>
        </p15:guide>
        <p15:guide id="7" pos="981">
          <p15:clr>
            <a:srgbClr val="A4A3A4"/>
          </p15:clr>
        </p15:guide>
        <p15:guide id="8" pos="1401">
          <p15:clr>
            <a:srgbClr val="A4A3A4"/>
          </p15:clr>
        </p15:guide>
        <p15:guide id="9" pos="1587">
          <p15:clr>
            <a:srgbClr val="A4A3A4"/>
          </p15:clr>
        </p15:guide>
        <p15:guide id="10" pos="2006">
          <p15:clr>
            <a:srgbClr val="A4A3A4"/>
          </p15:clr>
        </p15:guide>
        <p15:guide id="11" pos="2193">
          <p15:clr>
            <a:srgbClr val="A4A3A4"/>
          </p15:clr>
        </p15:guide>
        <p15:guide id="12" pos="2612">
          <p15:clr>
            <a:srgbClr val="A4A3A4"/>
          </p15:clr>
        </p15:guide>
        <p15:guide id="13" pos="2799">
          <p15:clr>
            <a:srgbClr val="A4A3A4"/>
          </p15:clr>
        </p15:guide>
        <p15:guide id="14" pos="3218">
          <p15:clr>
            <a:srgbClr val="A4A3A4"/>
          </p15:clr>
        </p15:guide>
        <p15:guide id="15" pos="3405">
          <p15:clr>
            <a:srgbClr val="A4A3A4"/>
          </p15:clr>
        </p15:guide>
        <p15:guide id="16" pos="3824">
          <p15:clr>
            <a:srgbClr val="A4A3A4"/>
          </p15:clr>
        </p15:guide>
        <p15:guide id="17" pos="4011">
          <p15:clr>
            <a:srgbClr val="A4A3A4"/>
          </p15:clr>
        </p15:guide>
        <p15:guide id="18" pos="4430">
          <p15:clr>
            <a:srgbClr val="A4A3A4"/>
          </p15:clr>
        </p15:guide>
        <p15:guide id="19" pos="4617">
          <p15:clr>
            <a:srgbClr val="A4A3A4"/>
          </p15:clr>
        </p15:guide>
        <p15:guide id="20" pos="5036">
          <p15:clr>
            <a:srgbClr val="A4A3A4"/>
          </p15:clr>
        </p15:guide>
        <p15:guide id="21" pos="5223">
          <p15:clr>
            <a:srgbClr val="A4A3A4"/>
          </p15:clr>
        </p15:guide>
        <p15:guide id="22" pos="5640">
          <p15:clr>
            <a:srgbClr val="A4A3A4"/>
          </p15:clr>
        </p15:guide>
        <p15:guide id="23" pos="5829">
          <p15:clr>
            <a:srgbClr val="A4A3A4"/>
          </p15:clr>
        </p15:guide>
        <p15:guide id="24" pos="6246">
          <p15:clr>
            <a:srgbClr val="A4A3A4"/>
          </p15:clr>
        </p15:guide>
        <p15:guide id="25" pos="6434">
          <p15:clr>
            <a:srgbClr val="A4A3A4"/>
          </p15:clr>
        </p15:guide>
        <p15:guide id="26" pos="6852">
          <p15:clr>
            <a:srgbClr val="A4A3A4"/>
          </p15:clr>
        </p15:guide>
        <p15:guide id="27" pos="7038">
          <p15:clr>
            <a:srgbClr val="A4A3A4"/>
          </p15:clr>
        </p15:guide>
        <p15:guide id="28" orient="horz" pos="923">
          <p15:clr>
            <a:srgbClr val="5ACBF0"/>
          </p15:clr>
        </p15:guide>
        <p15:guide id="29" orient="horz" pos="1296">
          <p15:clr>
            <a:srgbClr val="5ACBF0"/>
          </p15:clr>
        </p15:guide>
        <p15:guide id="30" orient="horz" pos="294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nd Slide" preserve="1">
  <p:cSld name="End Slide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C79008D2-194B-49D8-BBA4-B692D2DB12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344641" cy="5405445"/>
            <a:chOff x="0" y="0"/>
            <a:chExt cx="12344641" cy="5405445"/>
          </a:xfrm>
        </p:grpSpPr>
        <p:pic>
          <p:nvPicPr>
            <p:cNvPr id="77" name="Google Shape;77;p16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0" y="0"/>
              <a:ext cx="5885013" cy="5143501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78" name="Google Shape;78;p16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760228" y="1643076"/>
              <a:ext cx="3651900" cy="2862600"/>
            </a:xfrm>
            <a:prstGeom prst="roundRect">
              <a:avLst>
                <a:gd name="adj" fmla="val 371"/>
              </a:avLst>
            </a:prstGeom>
            <a:solidFill>
              <a:srgbClr val="161828"/>
            </a:solidFill>
            <a:ln>
              <a:noFill/>
            </a:ln>
            <a:effectLst>
              <a:outerShdw blurRad="1270000" dist="2540000" dir="7800000" sx="90000" sy="90000" algn="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" name="Google Shape;79;p16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 rot="10800000">
              <a:off x="5412127" y="1642998"/>
              <a:ext cx="2833800" cy="2862600"/>
            </a:xfrm>
            <a:prstGeom prst="roundRect">
              <a:avLst>
                <a:gd name="adj" fmla="val 371"/>
              </a:avLst>
            </a:prstGeom>
            <a:gradFill>
              <a:gsLst>
                <a:gs pos="0">
                  <a:srgbClr val="9477E2"/>
                </a:gs>
                <a:gs pos="100000">
                  <a:srgbClr val="28AFEA"/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lvl="0" indent="0" algn="ctr" defTabSz="914400" eaLnBrk="1" fontAlgn="auto" latinLnBrk="0" hangingPunct="1">
                <a:buClrTx/>
                <a:buSzTx/>
                <a:buFontTx/>
                <a:buNone/>
                <a:tabLst/>
              </a:pPr>
              <a:endParaRPr kumimoji="0" sz="800" kern="0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0" name="Google Shape;80;p16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 rotWithShape="1">
            <a:blip r:embed="rId3">
              <a:alphaModFix amt="30000"/>
            </a:blip>
            <a:srcRect/>
            <a:stretch/>
          </p:blipFill>
          <p:spPr>
            <a:xfrm>
              <a:off x="8582272" y="1643076"/>
              <a:ext cx="3762369" cy="376236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81" name="Google Shape;81;p16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 rot="10800000">
              <a:off x="8564425" y="225"/>
              <a:ext cx="73200" cy="1411200"/>
            </a:xfrm>
            <a:prstGeom prst="rect">
              <a:avLst/>
            </a:prstGeom>
            <a:gradFill>
              <a:gsLst>
                <a:gs pos="0">
                  <a:srgbClr val="D59DFF"/>
                </a:gs>
                <a:gs pos="100000">
                  <a:srgbClr val="28AFEA"/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i="0">
                <a:latin typeface="Helvetica" pitchFamily="2" charset="0"/>
              </a:endParaRPr>
            </a:p>
          </p:txBody>
        </p:sp>
      </p:grpSp>
      <p:sp>
        <p:nvSpPr>
          <p:cNvPr id="82" name="Google Shape;82;p16"/>
          <p:cNvSpPr txBox="1">
            <a:spLocks noGrp="1"/>
          </p:cNvSpPr>
          <p:nvPr>
            <p:ph type="title"/>
          </p:nvPr>
        </p:nvSpPr>
        <p:spPr>
          <a:xfrm>
            <a:off x="5266944" y="530352"/>
            <a:ext cx="2980800" cy="7773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3400"/>
              <a:buNone/>
              <a:defRPr b="1" i="0">
                <a:latin typeface="Helvetica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16"/>
          <p:cNvSpPr txBox="1">
            <a:spLocks noGrp="1"/>
          </p:cNvSpPr>
          <p:nvPr>
            <p:ph type="title" idx="2"/>
          </p:nvPr>
        </p:nvSpPr>
        <p:spPr>
          <a:xfrm>
            <a:off x="2103120" y="1929384"/>
            <a:ext cx="2853000" cy="8229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1700"/>
              <a:buNone/>
              <a:defRPr sz="1700" b="0" i="0">
                <a:latin typeface="Helvetica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2pPr>
            <a:lvl3pPr lvl="2"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3pPr>
            <a:lvl4pPr lvl="3"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4pPr>
            <a:lvl5pPr lvl="4"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5pPr>
            <a:lvl6pPr lvl="5"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6pPr>
            <a:lvl7pPr lvl="6"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7pPr>
            <a:lvl8pPr lvl="7"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8pPr>
            <a:lvl9pPr lvl="8"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9pPr>
          </a:lstStyle>
          <a:p>
            <a:endParaRPr/>
          </a:p>
        </p:txBody>
      </p:sp>
      <p:sp>
        <p:nvSpPr>
          <p:cNvPr id="84" name="Google Shape;84;p16"/>
          <p:cNvSpPr txBox="1">
            <a:spLocks noGrp="1"/>
          </p:cNvSpPr>
          <p:nvPr>
            <p:ph type="body" idx="1"/>
          </p:nvPr>
        </p:nvSpPr>
        <p:spPr>
          <a:xfrm>
            <a:off x="2093976" y="2807208"/>
            <a:ext cx="2980800" cy="12801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914400" lvl="1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pic>
        <p:nvPicPr>
          <p:cNvPr id="87" name="Google Shape;87;p16" descr="LinkedIn logo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5725875" y="1951017"/>
            <a:ext cx="190807" cy="190807"/>
          </a:xfrm>
          <a:prstGeom prst="rect">
            <a:avLst/>
          </a:prstGeom>
          <a:noFill/>
          <a:ln>
            <a:noFill/>
          </a:ln>
        </p:spPr>
      </p:pic>
      <p:sp>
        <p:nvSpPr>
          <p:cNvPr id="85" name="Google Shape;85;p16"/>
          <p:cNvSpPr txBox="1">
            <a:spLocks noGrp="1"/>
          </p:cNvSpPr>
          <p:nvPr>
            <p:ph type="body" idx="3"/>
          </p:nvPr>
        </p:nvSpPr>
        <p:spPr>
          <a:xfrm>
            <a:off x="5989320" y="1975104"/>
            <a:ext cx="1398900" cy="1830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914400" lvl="1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88" name="Google Shape;88;p16" descr="An icon of mail"/>
          <p:cNvSpPr/>
          <p:nvPr/>
        </p:nvSpPr>
        <p:spPr>
          <a:xfrm>
            <a:off x="5710281" y="2327153"/>
            <a:ext cx="222318" cy="145692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11610" y="13990"/>
                </a:moveTo>
                <a:cubicBezTo>
                  <a:pt x="11373" y="14259"/>
                  <a:pt x="11093" y="14400"/>
                  <a:pt x="10800" y="14400"/>
                </a:cubicBezTo>
                <a:cubicBezTo>
                  <a:pt x="10505" y="14400"/>
                  <a:pt x="10225" y="14259"/>
                  <a:pt x="9990" y="13990"/>
                </a:cubicBezTo>
                <a:lnTo>
                  <a:pt x="7198" y="10800"/>
                </a:lnTo>
                <a:lnTo>
                  <a:pt x="6636" y="10157"/>
                </a:lnTo>
                <a:lnTo>
                  <a:pt x="1349" y="4115"/>
                </a:lnTo>
                <a:lnTo>
                  <a:pt x="1349" y="4114"/>
                </a:lnTo>
                <a:cubicBezTo>
                  <a:pt x="1349" y="2980"/>
                  <a:pt x="1955" y="2057"/>
                  <a:pt x="2699" y="2057"/>
                </a:cubicBezTo>
                <a:lnTo>
                  <a:pt x="18899" y="2057"/>
                </a:lnTo>
                <a:cubicBezTo>
                  <a:pt x="19643" y="2057"/>
                  <a:pt x="20249" y="2980"/>
                  <a:pt x="20249" y="4114"/>
                </a:cubicBezTo>
                <a:cubicBezTo>
                  <a:pt x="20249" y="4114"/>
                  <a:pt x="11610" y="13990"/>
                  <a:pt x="11610" y="13990"/>
                </a:cubicBezTo>
                <a:close/>
                <a:moveTo>
                  <a:pt x="20249" y="16198"/>
                </a:moveTo>
                <a:lnTo>
                  <a:pt x="15525" y="10800"/>
                </a:lnTo>
                <a:lnTo>
                  <a:pt x="20249" y="5399"/>
                </a:lnTo>
                <a:cubicBezTo>
                  <a:pt x="20249" y="5399"/>
                  <a:pt x="20249" y="16198"/>
                  <a:pt x="20249" y="16198"/>
                </a:cubicBezTo>
                <a:close/>
                <a:moveTo>
                  <a:pt x="20249" y="17484"/>
                </a:moveTo>
                <a:cubicBezTo>
                  <a:pt x="20249" y="18620"/>
                  <a:pt x="19643" y="19541"/>
                  <a:pt x="18899" y="19541"/>
                </a:cubicBezTo>
                <a:lnTo>
                  <a:pt x="2699" y="19541"/>
                </a:lnTo>
                <a:cubicBezTo>
                  <a:pt x="1955" y="19541"/>
                  <a:pt x="1349" y="18620"/>
                  <a:pt x="1349" y="17484"/>
                </a:cubicBezTo>
                <a:lnTo>
                  <a:pt x="6636" y="11442"/>
                </a:lnTo>
                <a:lnTo>
                  <a:pt x="9585" y="14813"/>
                </a:lnTo>
                <a:cubicBezTo>
                  <a:pt x="9945" y="15222"/>
                  <a:pt x="10372" y="15429"/>
                  <a:pt x="10800" y="15429"/>
                </a:cubicBezTo>
                <a:cubicBezTo>
                  <a:pt x="11228" y="15429"/>
                  <a:pt x="11654" y="15222"/>
                  <a:pt x="12015" y="14813"/>
                </a:cubicBezTo>
                <a:lnTo>
                  <a:pt x="14963" y="11442"/>
                </a:lnTo>
                <a:cubicBezTo>
                  <a:pt x="14963" y="11442"/>
                  <a:pt x="20249" y="17484"/>
                  <a:pt x="20249" y="17484"/>
                </a:cubicBezTo>
                <a:close/>
                <a:moveTo>
                  <a:pt x="1349" y="5399"/>
                </a:moveTo>
                <a:lnTo>
                  <a:pt x="6074" y="10800"/>
                </a:lnTo>
                <a:lnTo>
                  <a:pt x="1349" y="16198"/>
                </a:lnTo>
                <a:cubicBezTo>
                  <a:pt x="1349" y="16198"/>
                  <a:pt x="1349" y="5399"/>
                  <a:pt x="1349" y="5399"/>
                </a:cubicBezTo>
                <a:close/>
                <a:moveTo>
                  <a:pt x="18899" y="0"/>
                </a:moveTo>
                <a:lnTo>
                  <a:pt x="2699" y="0"/>
                </a:lnTo>
                <a:cubicBezTo>
                  <a:pt x="1208" y="0"/>
                  <a:pt x="0" y="1842"/>
                  <a:pt x="0" y="4114"/>
                </a:cubicBezTo>
                <a:lnTo>
                  <a:pt x="0" y="17484"/>
                </a:lnTo>
                <a:cubicBezTo>
                  <a:pt x="0" y="19756"/>
                  <a:pt x="1208" y="21600"/>
                  <a:pt x="2699" y="21600"/>
                </a:cubicBezTo>
                <a:lnTo>
                  <a:pt x="18899" y="21600"/>
                </a:lnTo>
                <a:cubicBezTo>
                  <a:pt x="20391" y="21600"/>
                  <a:pt x="21600" y="19756"/>
                  <a:pt x="21600" y="17484"/>
                </a:cubicBezTo>
                <a:lnTo>
                  <a:pt x="21600" y="4114"/>
                </a:lnTo>
                <a:cubicBezTo>
                  <a:pt x="21600" y="1842"/>
                  <a:pt x="20391" y="0"/>
                  <a:pt x="18899" y="0"/>
                </a:cubicBezTo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8950" tIns="8950" rIns="8950" bIns="89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700" b="0" i="0">
              <a:solidFill>
                <a:srgbClr val="595959"/>
              </a:solidFill>
              <a:latin typeface="Helvetica" pitchFamily="2" charset="0"/>
              <a:ea typeface="Gill Sans"/>
              <a:cs typeface="Gill Sans"/>
              <a:sym typeface="Gill Sans"/>
            </a:endParaRPr>
          </a:p>
        </p:txBody>
      </p:sp>
      <p:sp>
        <p:nvSpPr>
          <p:cNvPr id="86" name="Google Shape;86;p16"/>
          <p:cNvSpPr txBox="1">
            <a:spLocks noGrp="1"/>
          </p:cNvSpPr>
          <p:nvPr>
            <p:ph type="body" idx="4"/>
          </p:nvPr>
        </p:nvSpPr>
        <p:spPr>
          <a:xfrm>
            <a:off x="5989320" y="2295144"/>
            <a:ext cx="1380600" cy="1830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914400" lvl="1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5065663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44DAAA5-8D22-4214-BB05-9157E52DC9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199" y="1513286"/>
            <a:ext cx="4201526" cy="369384"/>
          </a:xfrm>
        </p:spPr>
        <p:txBody>
          <a:bodyPr/>
          <a:lstStyle>
            <a:lvl1pPr algn="l">
              <a:defRPr lang="en-US" sz="2400" b="1" kern="1200" cap="none" spc="-38" baseline="0">
                <a:ln w="3175">
                  <a:noFill/>
                </a:ln>
                <a:gradFill>
                  <a:gsLst>
                    <a:gs pos="0">
                      <a:srgbClr val="50E6FF"/>
                    </a:gs>
                    <a:gs pos="100000">
                      <a:srgbClr val="0078D4"/>
                    </a:gs>
                  </a:gsLst>
                  <a:lin ang="2700000" scaled="1"/>
                </a:gradFill>
                <a:effectLst/>
                <a:latin typeface="Helvetica" pitchFamily="2" charset="0"/>
                <a:ea typeface="+mn-ea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Text Placeholder 16">
            <a:extLst>
              <a:ext uri="{FF2B5EF4-FFF2-40B4-BE49-F238E27FC236}">
                <a16:creationId xmlns:a16="http://schemas.microsoft.com/office/drawing/2014/main" id="{AFB395A3-F329-7F43-8109-3016CAA1A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8150" y="2067495"/>
            <a:ext cx="4243388" cy="1071062"/>
          </a:xfrm>
        </p:spPr>
        <p:txBody>
          <a:bodyPr/>
          <a:lstStyle>
            <a:lvl1pPr algn="l">
              <a:spcBef>
                <a:spcPts val="0"/>
              </a:spcBef>
              <a:spcAft>
                <a:spcPts val="900"/>
              </a:spcAft>
              <a:defRPr lang="en-US" sz="1800" b="0" i="0" kern="1200" spc="0" baseline="0" dirty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defRPr sz="1350" b="1">
                <a:solidFill>
                  <a:schemeClr val="tx1"/>
                </a:solidFill>
              </a:defRPr>
            </a:lvl2pPr>
            <a:lvl3pPr marL="0" indent="0" algn="l">
              <a:defRPr sz="1050">
                <a:solidFill>
                  <a:schemeClr val="tx1"/>
                </a:solidFill>
              </a:defRPr>
            </a:lvl3pPr>
            <a:lvl4pPr>
              <a:defRPr sz="788">
                <a:solidFill>
                  <a:schemeClr val="accent2"/>
                </a:solidFill>
              </a:defRPr>
            </a:lvl4pPr>
            <a:lvl5pPr>
              <a:defRPr sz="788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</a:t>
            </a:r>
          </a:p>
          <a:p>
            <a:pPr lvl="1"/>
            <a:r>
              <a:rPr lang="en-US"/>
              <a:t>Second</a:t>
            </a:r>
          </a:p>
          <a:p>
            <a:pPr lvl="2"/>
            <a:r>
              <a:rPr lang="en-US"/>
              <a:t>Third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51766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95">
          <p15:clr>
            <a:srgbClr val="A4A3A4"/>
          </p15:clr>
        </p15:guide>
        <p15:guide id="7" pos="981">
          <p15:clr>
            <a:srgbClr val="A4A3A4"/>
          </p15:clr>
        </p15:guide>
        <p15:guide id="8" pos="1401">
          <p15:clr>
            <a:srgbClr val="A4A3A4"/>
          </p15:clr>
        </p15:guide>
        <p15:guide id="9" pos="1587">
          <p15:clr>
            <a:srgbClr val="A4A3A4"/>
          </p15:clr>
        </p15:guide>
        <p15:guide id="10" pos="2006">
          <p15:clr>
            <a:srgbClr val="A4A3A4"/>
          </p15:clr>
        </p15:guide>
        <p15:guide id="11" pos="2193">
          <p15:clr>
            <a:srgbClr val="A4A3A4"/>
          </p15:clr>
        </p15:guide>
        <p15:guide id="12" pos="2612">
          <p15:clr>
            <a:srgbClr val="A4A3A4"/>
          </p15:clr>
        </p15:guide>
        <p15:guide id="13" pos="2799">
          <p15:clr>
            <a:srgbClr val="A4A3A4"/>
          </p15:clr>
        </p15:guide>
        <p15:guide id="14" pos="3218">
          <p15:clr>
            <a:srgbClr val="A4A3A4"/>
          </p15:clr>
        </p15:guide>
        <p15:guide id="15" pos="3405">
          <p15:clr>
            <a:srgbClr val="A4A3A4"/>
          </p15:clr>
        </p15:guide>
        <p15:guide id="16" pos="3824">
          <p15:clr>
            <a:srgbClr val="A4A3A4"/>
          </p15:clr>
        </p15:guide>
        <p15:guide id="17" pos="4011">
          <p15:clr>
            <a:srgbClr val="A4A3A4"/>
          </p15:clr>
        </p15:guide>
        <p15:guide id="18" pos="4430">
          <p15:clr>
            <a:srgbClr val="A4A3A4"/>
          </p15:clr>
        </p15:guide>
        <p15:guide id="19" pos="4617">
          <p15:clr>
            <a:srgbClr val="A4A3A4"/>
          </p15:clr>
        </p15:guide>
        <p15:guide id="20" pos="5036">
          <p15:clr>
            <a:srgbClr val="A4A3A4"/>
          </p15:clr>
        </p15:guide>
        <p15:guide id="21" pos="5223">
          <p15:clr>
            <a:srgbClr val="A4A3A4"/>
          </p15:clr>
        </p15:guide>
        <p15:guide id="22" pos="5640">
          <p15:clr>
            <a:srgbClr val="A4A3A4"/>
          </p15:clr>
        </p15:guide>
        <p15:guide id="23" pos="5829">
          <p15:clr>
            <a:srgbClr val="A4A3A4"/>
          </p15:clr>
        </p15:guide>
        <p15:guide id="24" pos="6246">
          <p15:clr>
            <a:srgbClr val="A4A3A4"/>
          </p15:clr>
        </p15:guide>
        <p15:guide id="25" pos="6434">
          <p15:clr>
            <a:srgbClr val="A4A3A4"/>
          </p15:clr>
        </p15:guide>
        <p15:guide id="26" pos="6852">
          <p15:clr>
            <a:srgbClr val="A4A3A4"/>
          </p15:clr>
        </p15:guide>
        <p15:guide id="27" pos="7038">
          <p15:clr>
            <a:srgbClr val="A4A3A4"/>
          </p15:clr>
        </p15:guide>
        <p15:guide id="28" orient="horz" pos="923">
          <p15:clr>
            <a:srgbClr val="5ACBF0"/>
          </p15:clr>
        </p15:guide>
        <p15:guide id="29" orient="horz" pos="1296">
          <p15:clr>
            <a:srgbClr val="5ACBF0"/>
          </p15:clr>
        </p15:guide>
        <p15:guide id="30" orient="horz" pos="294">
          <p15:clr>
            <a:srgbClr val="5ACBF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61515DE2-7117-4FFA-97A5-E21507A33C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7066" y="33779"/>
            <a:ext cx="1233962" cy="11256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3C8378F-1619-DCCD-9E3C-FD92F1047C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2CC510-840D-B594-22B8-4CFB07D39D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797"/>
            </a:lvl1pPr>
            <a:lvl2pPr>
              <a:defRPr sz="1498"/>
            </a:lvl2pPr>
            <a:lvl3pPr>
              <a:defRPr sz="1199"/>
            </a:lvl3pPr>
            <a:lvl4pPr>
              <a:defRPr sz="1049"/>
            </a:lvl4pPr>
            <a:lvl5pPr>
              <a:defRPr sz="89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E4EB52-16EF-1D04-DF71-E9D9D84B52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1EC93C-2642-4DD9-8801-170CE2B0FB73}" type="slidenum">
              <a:rPr lang="en-US" smtClean="0"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753F39-57FA-4323-8359-1EA03573718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4270" y="1"/>
            <a:ext cx="3304762" cy="925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7379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F8120D6-8347-794E-B139-F37EEA261A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"/>
            <a:ext cx="9144000" cy="5143499"/>
          </a:xfrm>
          <a:prstGeom prst="rect">
            <a:avLst/>
          </a:prstGeom>
          <a:gradFill flip="none" rotWithShape="1">
            <a:gsLst>
              <a:gs pos="67000">
                <a:srgbClr val="1B1D30">
                  <a:alpha val="58000"/>
                </a:srgbClr>
              </a:gs>
              <a:gs pos="100000">
                <a:srgbClr val="2E3252">
                  <a:alpha val="0"/>
                </a:srgbClr>
              </a:gs>
              <a:gs pos="15000">
                <a:srgbClr val="161828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844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F2E0AC5-6457-47B1-ADA9-40298FA07A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442" y="415018"/>
            <a:ext cx="8008919" cy="528978"/>
          </a:xfrm>
          <a:prstGeom prst="rect">
            <a:avLst/>
          </a:prstGeom>
        </p:spPr>
        <p:txBody>
          <a:bodyPr lIns="45705" tIns="18273" rIns="45705" bIns="18273" anchor="ctr"/>
          <a:lstStyle>
            <a:lvl1pPr marL="0" indent="0" algn="l" defTabSz="684728" rtl="0" eaLnBrk="1" latinLnBrk="0" hangingPunct="1">
              <a:lnSpc>
                <a:spcPct val="90000"/>
              </a:lnSpc>
              <a:spcBef>
                <a:spcPts val="749"/>
              </a:spcBef>
              <a:buFont typeface="Arial" panose="020B0604020202020204" pitchFamily="34" charset="0"/>
              <a:buNone/>
              <a:defRPr lang="en-US" sz="2531" b="1" kern="1200" dirty="0">
                <a:solidFill>
                  <a:schemeClr val="bg1"/>
                </a:solidFill>
                <a:effectLst/>
                <a:latin typeface="Helvetica" pitchFamily="2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Google Shape;268;p27">
            <a:extLst>
              <a:ext uri="{FF2B5EF4-FFF2-40B4-BE49-F238E27FC236}">
                <a16:creationId xmlns:a16="http://schemas.microsoft.com/office/drawing/2014/main" id="{FD39943F-D655-A9C1-1EBE-7F895C337010}"/>
              </a:ext>
            </a:extLst>
          </p:cNvPr>
          <p:cNvSpPr/>
          <p:nvPr userDrawn="1"/>
        </p:nvSpPr>
        <p:spPr>
          <a:xfrm>
            <a:off x="5450166" y="4900823"/>
            <a:ext cx="3595800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500" b="0" i="0">
                <a:solidFill>
                  <a:schemeClr val="lt1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pPr marL="0" marR="0" lvl="0" indent="0" algn="r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500" b="0" i="0">
              <a:solidFill>
                <a:schemeClr val="lt1"/>
              </a:solidFill>
              <a:latin typeface="Helvetica" pitchFamily="2" charset="0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7" name="Google Shape;67;p15">
            <a:extLst>
              <a:ext uri="{FF2B5EF4-FFF2-40B4-BE49-F238E27FC236}">
                <a16:creationId xmlns:a16="http://schemas.microsoft.com/office/drawing/2014/main" id="{15100764-3325-F163-D8E8-DB701D7843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" name="Google Shape;56;p14">
            <a:extLst>
              <a:ext uri="{FF2B5EF4-FFF2-40B4-BE49-F238E27FC236}">
                <a16:creationId xmlns:a16="http://schemas.microsoft.com/office/drawing/2014/main" id="{B28069BC-18A4-78C4-5AD2-10077AD39C05}"/>
              </a:ext>
            </a:extLst>
          </p:cNvPr>
          <p:cNvSpPr/>
          <p:nvPr userDrawn="1"/>
        </p:nvSpPr>
        <p:spPr>
          <a:xfrm>
            <a:off x="569084" y="4900823"/>
            <a:ext cx="5054476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 dirty="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5 THINGS YOU CAN DO WITH GITHUB COPILOT</a:t>
            </a:r>
            <a:endParaRPr lang="en-US" sz="500" b="0" i="0" u="none" strike="noStrike" kern="1200" cap="none" spc="600" dirty="0">
              <a:solidFill>
                <a:srgbClr val="627597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85600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793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087139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ppendix-Background-04-Dark">
  <p:cSld name="Appendix-Background-04-Dark">
    <p:spTree>
      <p:nvGrpSpPr>
        <p:cNvPr id="1" name="Shape 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" name="Google Shape;410;p9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3" cy="5143490"/>
          </a:xfrm>
          <a:prstGeom prst="rect">
            <a:avLst/>
          </a:prstGeom>
          <a:noFill/>
          <a:ln>
            <a:noFill/>
          </a:ln>
        </p:spPr>
      </p:pic>
      <p:sp>
        <p:nvSpPr>
          <p:cNvPr id="411" name="Google Shape;411;p90"/>
          <p:cNvSpPr/>
          <p:nvPr/>
        </p:nvSpPr>
        <p:spPr>
          <a:xfrm>
            <a:off x="182825" y="187275"/>
            <a:ext cx="222023" cy="217423"/>
          </a:xfrm>
          <a:custGeom>
            <a:avLst/>
            <a:gdLst/>
            <a:ahLst/>
            <a:cxnLst/>
            <a:rect l="l" t="t" r="r" b="b"/>
            <a:pathLst>
              <a:path w="2429" h="2379" extrusionOk="0">
                <a:moveTo>
                  <a:pt x="1214" y="0"/>
                </a:moveTo>
                <a:cubicBezTo>
                  <a:pt x="540" y="0"/>
                  <a:pt x="0" y="548"/>
                  <a:pt x="0" y="1214"/>
                </a:cubicBezTo>
                <a:cubicBezTo>
                  <a:pt x="0" y="1754"/>
                  <a:pt x="346" y="2201"/>
                  <a:pt x="826" y="2370"/>
                </a:cubicBezTo>
                <a:cubicBezTo>
                  <a:pt x="885" y="2378"/>
                  <a:pt x="911" y="2336"/>
                  <a:pt x="911" y="2311"/>
                </a:cubicBezTo>
                <a:cubicBezTo>
                  <a:pt x="911" y="2277"/>
                  <a:pt x="911" y="2184"/>
                  <a:pt x="911" y="2083"/>
                </a:cubicBezTo>
                <a:cubicBezTo>
                  <a:pt x="607" y="2142"/>
                  <a:pt x="531" y="2007"/>
                  <a:pt x="506" y="1940"/>
                </a:cubicBezTo>
                <a:cubicBezTo>
                  <a:pt x="489" y="1906"/>
                  <a:pt x="430" y="1796"/>
                  <a:pt x="379" y="1771"/>
                </a:cubicBezTo>
                <a:cubicBezTo>
                  <a:pt x="337" y="1746"/>
                  <a:pt x="278" y="1687"/>
                  <a:pt x="379" y="1687"/>
                </a:cubicBezTo>
                <a:cubicBezTo>
                  <a:pt x="472" y="1687"/>
                  <a:pt x="540" y="1779"/>
                  <a:pt x="565" y="1813"/>
                </a:cubicBezTo>
                <a:cubicBezTo>
                  <a:pt x="675" y="1999"/>
                  <a:pt x="843" y="1948"/>
                  <a:pt x="919" y="1914"/>
                </a:cubicBezTo>
                <a:cubicBezTo>
                  <a:pt x="928" y="1830"/>
                  <a:pt x="961" y="1779"/>
                  <a:pt x="995" y="1754"/>
                </a:cubicBezTo>
                <a:cubicBezTo>
                  <a:pt x="725" y="1720"/>
                  <a:pt x="439" y="1619"/>
                  <a:pt x="439" y="1155"/>
                </a:cubicBezTo>
                <a:cubicBezTo>
                  <a:pt x="439" y="1020"/>
                  <a:pt x="489" y="911"/>
                  <a:pt x="565" y="826"/>
                </a:cubicBezTo>
                <a:cubicBezTo>
                  <a:pt x="557" y="793"/>
                  <a:pt x="514" y="675"/>
                  <a:pt x="582" y="506"/>
                </a:cubicBezTo>
                <a:cubicBezTo>
                  <a:pt x="582" y="506"/>
                  <a:pt x="683" y="472"/>
                  <a:pt x="911" y="633"/>
                </a:cubicBezTo>
                <a:cubicBezTo>
                  <a:pt x="1012" y="599"/>
                  <a:pt x="1113" y="590"/>
                  <a:pt x="1214" y="590"/>
                </a:cubicBezTo>
                <a:cubicBezTo>
                  <a:pt x="1316" y="590"/>
                  <a:pt x="1425" y="599"/>
                  <a:pt x="1518" y="633"/>
                </a:cubicBezTo>
                <a:cubicBezTo>
                  <a:pt x="1754" y="472"/>
                  <a:pt x="1855" y="506"/>
                  <a:pt x="1855" y="506"/>
                </a:cubicBezTo>
                <a:cubicBezTo>
                  <a:pt x="1914" y="675"/>
                  <a:pt x="1872" y="793"/>
                  <a:pt x="1864" y="826"/>
                </a:cubicBezTo>
                <a:cubicBezTo>
                  <a:pt x="1940" y="911"/>
                  <a:pt x="1990" y="1020"/>
                  <a:pt x="1990" y="1155"/>
                </a:cubicBezTo>
                <a:cubicBezTo>
                  <a:pt x="1990" y="1619"/>
                  <a:pt x="1703" y="1720"/>
                  <a:pt x="1434" y="1754"/>
                </a:cubicBezTo>
                <a:cubicBezTo>
                  <a:pt x="1476" y="1788"/>
                  <a:pt x="1518" y="1864"/>
                  <a:pt x="1518" y="1973"/>
                </a:cubicBezTo>
                <a:cubicBezTo>
                  <a:pt x="1518" y="2134"/>
                  <a:pt x="1518" y="2269"/>
                  <a:pt x="1518" y="2311"/>
                </a:cubicBezTo>
                <a:cubicBezTo>
                  <a:pt x="1518" y="2336"/>
                  <a:pt x="1535" y="2378"/>
                  <a:pt x="1602" y="2370"/>
                </a:cubicBezTo>
                <a:cubicBezTo>
                  <a:pt x="2075" y="2201"/>
                  <a:pt x="2429" y="1754"/>
                  <a:pt x="2429" y="1214"/>
                </a:cubicBezTo>
                <a:cubicBezTo>
                  <a:pt x="2429" y="548"/>
                  <a:pt x="1881" y="0"/>
                  <a:pt x="1214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D2D9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2436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aptop Screen" preserve="1">
  <p:cSld name="Laptop Screen"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oogle Shape;67;p15">
            <a:extLst>
              <a:ext uri="{FF2B5EF4-FFF2-40B4-BE49-F238E27FC236}">
                <a16:creationId xmlns:a16="http://schemas.microsoft.com/office/drawing/2014/main" id="{99726667-5DE7-A9B4-5AA7-770E0ED48D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" name="Google Shape;56;p14">
            <a:extLst>
              <a:ext uri="{FF2B5EF4-FFF2-40B4-BE49-F238E27FC236}">
                <a16:creationId xmlns:a16="http://schemas.microsoft.com/office/drawing/2014/main" id="{BA63017C-38CB-3F51-ABB8-23002D836FD8}"/>
              </a:ext>
            </a:extLst>
          </p:cNvPr>
          <p:cNvSpPr/>
          <p:nvPr userDrawn="1"/>
        </p:nvSpPr>
        <p:spPr>
          <a:xfrm>
            <a:off x="569084" y="4900823"/>
            <a:ext cx="5054476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 dirty="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5 THINGS YOU CAN DO WITH GITHUB COPILOT</a:t>
            </a:r>
            <a:endParaRPr lang="en-US" sz="500" b="0" i="0" u="none" strike="noStrike" kern="1200" cap="none" spc="600" dirty="0">
              <a:solidFill>
                <a:srgbClr val="627597"/>
              </a:solidFill>
              <a:latin typeface="Helvetica" pitchFamily="2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A657735-2043-CCB0-5F53-5A2F05FD22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2965919" y="-2502009"/>
            <a:ext cx="15070015" cy="11636350"/>
            <a:chOff x="-2965919" y="-2502009"/>
            <a:chExt cx="15070015" cy="11636350"/>
          </a:xfrm>
        </p:grpSpPr>
        <p:sp>
          <p:nvSpPr>
            <p:cNvPr id="90" name="Google Shape;90;p17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78440" y="2538241"/>
              <a:ext cx="7986300" cy="6596100"/>
            </a:xfrm>
            <a:prstGeom prst="ellipse">
              <a:avLst/>
            </a:prstGeom>
            <a:gradFill>
              <a:gsLst>
                <a:gs pos="0">
                  <a:srgbClr val="D59DFF">
                    <a:alpha val="9803"/>
                  </a:srgbClr>
                </a:gs>
                <a:gs pos="79000">
                  <a:srgbClr val="1F9CF0"/>
                </a:gs>
                <a:gs pos="100000">
                  <a:srgbClr val="1F9CF0"/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lvl="0" algn="ctr"/>
              <a:endParaRPr sz="800">
                <a:solidFill>
                  <a:srgbClr val="FFFFFF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1" name="Google Shape;91;p17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1683473" y="1613647"/>
              <a:ext cx="5768748" cy="3152352"/>
            </a:xfrm>
            <a:prstGeom prst="rect">
              <a:avLst/>
            </a:prstGeom>
            <a:noFill/>
            <a:ln>
              <a:noFill/>
            </a:ln>
            <a:effectLst>
              <a:outerShdw blurRad="1270000" sx="90000" sy="-19000" rotWithShape="0">
                <a:srgbClr val="000000">
                  <a:alpha val="40000"/>
                </a:srgbClr>
              </a:outerShdw>
            </a:effectLst>
          </p:spPr>
        </p:pic>
        <p:sp>
          <p:nvSpPr>
            <p:cNvPr id="92" name="Google Shape;92;p17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724096" y="1898061"/>
              <a:ext cx="1595100" cy="837600"/>
            </a:xfrm>
            <a:prstGeom prst="wedgeRectCallout">
              <a:avLst>
                <a:gd name="adj1" fmla="val 72666"/>
                <a:gd name="adj2" fmla="val 36106"/>
              </a:avLst>
            </a:prstGeom>
            <a:gradFill>
              <a:gsLst>
                <a:gs pos="0">
                  <a:srgbClr val="1F9CF0"/>
                </a:gs>
                <a:gs pos="2000">
                  <a:srgbClr val="1F9CF0"/>
                </a:gs>
                <a:gs pos="100000">
                  <a:srgbClr val="9477E2">
                    <a:alpha val="20000"/>
                  </a:srgbClr>
                </a:gs>
              </a:gsLst>
              <a:lin ang="2700006" scaled="0"/>
            </a:gradFill>
            <a:ln>
              <a:noFill/>
            </a:ln>
            <a:effectLst>
              <a:outerShdw blurRad="1270000" dist="1384300" dir="2700000" sx="75000" sy="75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lvl="0" algn="ctr"/>
              <a:endParaRPr sz="900">
                <a:solidFill>
                  <a:srgbClr val="FFFFFF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" name="Google Shape;93;p17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724096" y="3129893"/>
              <a:ext cx="1595100" cy="794700"/>
            </a:xfrm>
            <a:prstGeom prst="wedgeRectCallout">
              <a:avLst>
                <a:gd name="adj1" fmla="val 74259"/>
                <a:gd name="adj2" fmla="val -62681"/>
              </a:avLst>
            </a:prstGeom>
            <a:gradFill>
              <a:gsLst>
                <a:gs pos="0">
                  <a:srgbClr val="1F9CF0"/>
                </a:gs>
                <a:gs pos="100000">
                  <a:srgbClr val="9477E2">
                    <a:alpha val="20000"/>
                  </a:srgbClr>
                </a:gs>
              </a:gsLst>
              <a:lin ang="2700006" scaled="0"/>
            </a:gradFill>
            <a:ln>
              <a:noFill/>
            </a:ln>
            <a:effectLst>
              <a:outerShdw blurRad="1270000" dist="685800" dir="18900000" sx="85000" sy="85000" algn="b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lvl="0" algn="ctr"/>
              <a:endParaRPr sz="900">
                <a:solidFill>
                  <a:srgbClr val="FFFFFF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94;p17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824868" y="1898061"/>
              <a:ext cx="1595100" cy="837600"/>
            </a:xfrm>
            <a:prstGeom prst="wedgeRectCallout">
              <a:avLst>
                <a:gd name="adj1" fmla="val -82756"/>
                <a:gd name="adj2" fmla="val -6358"/>
              </a:avLst>
            </a:prstGeom>
            <a:gradFill>
              <a:gsLst>
                <a:gs pos="0">
                  <a:srgbClr val="9477E2">
                    <a:alpha val="20000"/>
                  </a:srgbClr>
                </a:gs>
                <a:gs pos="100000">
                  <a:srgbClr val="9477E2"/>
                </a:gs>
              </a:gsLst>
              <a:lin ang="0" scaled="0"/>
            </a:gradFill>
            <a:ln>
              <a:noFill/>
            </a:ln>
            <a:effectLst>
              <a:outerShdw blurRad="1270000" dist="1016000" dir="8100000" sx="86000" sy="86000" algn="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lvl="0" indent="0" algn="ctr" defTabSz="914400" eaLnBrk="1" fontAlgn="auto" latinLnBrk="0" hangingPunct="1">
                <a:buClrTx/>
                <a:buSzTx/>
                <a:buFontTx/>
                <a:buNone/>
                <a:tabLst/>
              </a:pPr>
              <a:endParaRPr kumimoji="0" sz="800" kern="0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95" name="Google Shape;95;p17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>
            <a:xfrm>
              <a:off x="3536833" y="613302"/>
              <a:ext cx="2070300" cy="0"/>
            </a:xfrm>
            <a:prstGeom prst="straightConnector1">
              <a:avLst/>
            </a:prstGeom>
            <a:noFill/>
            <a:ln w="12700" cap="flat" cmpd="sng">
              <a:solidFill>
                <a:srgbClr val="627597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96" name="Google Shape;96;p17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824140" y="3129892"/>
              <a:ext cx="1595100" cy="794700"/>
            </a:xfrm>
            <a:prstGeom prst="wedgeRectCallout">
              <a:avLst>
                <a:gd name="adj1" fmla="val -85826"/>
                <a:gd name="adj2" fmla="val -7867"/>
              </a:avLst>
            </a:prstGeom>
            <a:gradFill>
              <a:gsLst>
                <a:gs pos="0">
                  <a:srgbClr val="1F9CF0"/>
                </a:gs>
                <a:gs pos="2000">
                  <a:srgbClr val="1F9CF0"/>
                </a:gs>
                <a:gs pos="100000">
                  <a:srgbClr val="9477E2">
                    <a:alpha val="20000"/>
                  </a:srgbClr>
                </a:gs>
              </a:gsLst>
              <a:lin ang="2700006" scaled="0"/>
            </a:gradFill>
            <a:ln>
              <a:noFill/>
            </a:ln>
            <a:effectLst>
              <a:outerShdw blurRad="1270000" dist="1384300" dir="2700000" sx="75000" sy="75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lvl="0" algn="ctr"/>
              <a:endParaRPr sz="900">
                <a:solidFill>
                  <a:srgbClr val="FFFFFF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7" name="Google Shape;97;p17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 rotWithShape="1">
            <a:blip r:embed="rId3">
              <a:alphaModFix amt="30000"/>
            </a:blip>
            <a:srcRect/>
            <a:stretch/>
          </p:blipFill>
          <p:spPr>
            <a:xfrm>
              <a:off x="-2965919" y="-2502009"/>
              <a:ext cx="3762369" cy="376236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98" name="Google Shape;98;p17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 rotWithShape="1">
            <a:blip r:embed="rId3">
              <a:alphaModFix amt="30000"/>
            </a:blip>
            <a:srcRect/>
            <a:stretch/>
          </p:blipFill>
          <p:spPr>
            <a:xfrm>
              <a:off x="8341727" y="-2498835"/>
              <a:ext cx="3762369" cy="3762369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1" name="Google Shape;101;p17"/>
          <p:cNvSpPr txBox="1">
            <a:spLocks noGrp="1"/>
          </p:cNvSpPr>
          <p:nvPr>
            <p:ph type="title"/>
          </p:nvPr>
        </p:nvSpPr>
        <p:spPr>
          <a:xfrm>
            <a:off x="969264" y="841248"/>
            <a:ext cx="7196400" cy="4206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400"/>
              <a:buNone/>
              <a:defRPr b="1" i="0">
                <a:latin typeface="Helvetica" pitchFamily="2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" name="Google Shape;100;p17"/>
          <p:cNvSpPr txBox="1">
            <a:spLocks noGrp="1"/>
          </p:cNvSpPr>
          <p:nvPr>
            <p:ph type="subTitle" idx="1"/>
          </p:nvPr>
        </p:nvSpPr>
        <p:spPr>
          <a:xfrm>
            <a:off x="3063240" y="429768"/>
            <a:ext cx="3026700" cy="1554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algn="ctr" rtl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9pPr>
          </a:lstStyle>
          <a:p>
            <a:endParaRPr/>
          </a:p>
        </p:txBody>
      </p:sp>
      <p:sp>
        <p:nvSpPr>
          <p:cNvPr id="99" name="Google Shape;99;p17"/>
          <p:cNvSpPr>
            <a:spLocks noGrp="1"/>
          </p:cNvSpPr>
          <p:nvPr>
            <p:ph type="pic" idx="2"/>
          </p:nvPr>
        </p:nvSpPr>
        <p:spPr>
          <a:xfrm>
            <a:off x="2497800" y="1822417"/>
            <a:ext cx="4157532" cy="2594870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 sz="800" b="0" i="0">
                <a:solidFill>
                  <a:schemeClr val="tx1"/>
                </a:solidFill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102" name="Google Shape;102;p17"/>
          <p:cNvSpPr txBox="1">
            <a:spLocks noGrp="1"/>
          </p:cNvSpPr>
          <p:nvPr>
            <p:ph type="body" idx="3"/>
          </p:nvPr>
        </p:nvSpPr>
        <p:spPr>
          <a:xfrm>
            <a:off x="914400" y="2007961"/>
            <a:ext cx="1225200" cy="1737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 b="1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857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Char char="○"/>
              <a:defRPr sz="900"/>
            </a:lvl2pPr>
            <a:lvl3pPr marL="1371600" lvl="2" indent="-2857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Char char="■"/>
              <a:defRPr sz="900"/>
            </a:lvl3pPr>
            <a:lvl4pPr marL="1828800" lvl="3" indent="-2857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Char char="●"/>
              <a:defRPr sz="900"/>
            </a:lvl4pPr>
            <a:lvl5pPr marL="2286000" lvl="4" indent="-2857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Char char="○"/>
              <a:defRPr sz="900"/>
            </a:lvl5pPr>
            <a:lvl6pPr marL="2743200" lvl="5" indent="-2857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Char char="■"/>
              <a:defRPr sz="900"/>
            </a:lvl6pPr>
            <a:lvl7pPr marL="3200400" lvl="6" indent="-2857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Char char="●"/>
              <a:defRPr sz="900"/>
            </a:lvl7pPr>
            <a:lvl8pPr marL="3657600" lvl="7" indent="-2857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Char char="○"/>
              <a:defRPr sz="900"/>
            </a:lvl8pPr>
            <a:lvl9pPr marL="4114800" lvl="8" indent="-2857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Char char="■"/>
              <a:defRPr sz="900"/>
            </a:lvl9pPr>
          </a:lstStyle>
          <a:p>
            <a:endParaRPr/>
          </a:p>
        </p:txBody>
      </p:sp>
      <p:sp>
        <p:nvSpPr>
          <p:cNvPr id="106" name="Google Shape;106;p17"/>
          <p:cNvSpPr txBox="1">
            <a:spLocks noGrp="1"/>
          </p:cNvSpPr>
          <p:nvPr>
            <p:ph type="body" idx="7"/>
          </p:nvPr>
        </p:nvSpPr>
        <p:spPr>
          <a:xfrm>
            <a:off x="722376" y="2218273"/>
            <a:ext cx="1591200" cy="310800"/>
          </a:xfrm>
          <a:prstGeom prst="rect">
            <a:avLst/>
          </a:prstGeom>
        </p:spPr>
        <p:txBody>
          <a:bodyPr spcFirstLastPara="1" wrap="square" lIns="82275" tIns="18275" rIns="82275" bIns="18275" anchor="t" anchorCtr="0">
            <a:noAutofit/>
          </a:bodyPr>
          <a:lstStyle>
            <a:lvl1pPr marL="0" lvl="0" indent="0" algn="ctr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914400" lvl="1" indent="-279400" algn="ctr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algn="ctr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algn="ctr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algn="ctr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algn="ctr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algn="ctr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algn="ctr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algn="ctr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103" name="Google Shape;103;p17"/>
          <p:cNvSpPr txBox="1">
            <a:spLocks noGrp="1"/>
          </p:cNvSpPr>
          <p:nvPr>
            <p:ph type="body" idx="4"/>
          </p:nvPr>
        </p:nvSpPr>
        <p:spPr>
          <a:xfrm>
            <a:off x="914400" y="3224113"/>
            <a:ext cx="1225200" cy="1737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 b="1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857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Char char="○"/>
              <a:defRPr sz="900"/>
            </a:lvl2pPr>
            <a:lvl3pPr marL="1371600" lvl="2" indent="-2857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Char char="■"/>
              <a:defRPr sz="900"/>
            </a:lvl3pPr>
            <a:lvl4pPr marL="1828800" lvl="3" indent="-2857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Char char="●"/>
              <a:defRPr sz="900"/>
            </a:lvl4pPr>
            <a:lvl5pPr marL="2286000" lvl="4" indent="-2857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Char char="○"/>
              <a:defRPr sz="900"/>
            </a:lvl5pPr>
            <a:lvl6pPr marL="2743200" lvl="5" indent="-2857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Char char="■"/>
              <a:defRPr sz="900"/>
            </a:lvl6pPr>
            <a:lvl7pPr marL="3200400" lvl="6" indent="-2857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Char char="●"/>
              <a:defRPr sz="900"/>
            </a:lvl7pPr>
            <a:lvl8pPr marL="3657600" lvl="7" indent="-2857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Char char="○"/>
              <a:defRPr sz="900"/>
            </a:lvl8pPr>
            <a:lvl9pPr marL="4114800" lvl="8" indent="-2857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Char char="■"/>
              <a:defRPr sz="900"/>
            </a:lvl9pPr>
          </a:lstStyle>
          <a:p>
            <a:endParaRPr/>
          </a:p>
        </p:txBody>
      </p:sp>
      <p:sp>
        <p:nvSpPr>
          <p:cNvPr id="107" name="Google Shape;107;p17"/>
          <p:cNvSpPr txBox="1">
            <a:spLocks noGrp="1"/>
          </p:cNvSpPr>
          <p:nvPr>
            <p:ph type="body" idx="8"/>
          </p:nvPr>
        </p:nvSpPr>
        <p:spPr>
          <a:xfrm>
            <a:off x="722376" y="3434425"/>
            <a:ext cx="1591200" cy="310800"/>
          </a:xfrm>
          <a:prstGeom prst="rect">
            <a:avLst/>
          </a:prstGeom>
        </p:spPr>
        <p:txBody>
          <a:bodyPr spcFirstLastPara="1" wrap="square" lIns="82275" tIns="18275" rIns="82275" bIns="18275" anchor="t" anchorCtr="0">
            <a:no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914400" lvl="1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104" name="Google Shape;104;p17"/>
          <p:cNvSpPr txBox="1">
            <a:spLocks noGrp="1"/>
          </p:cNvSpPr>
          <p:nvPr>
            <p:ph type="body" idx="5"/>
          </p:nvPr>
        </p:nvSpPr>
        <p:spPr>
          <a:xfrm>
            <a:off x="7013448" y="2010661"/>
            <a:ext cx="1225200" cy="1737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 b="1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857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Char char="○"/>
              <a:defRPr sz="900"/>
            </a:lvl2pPr>
            <a:lvl3pPr marL="1371600" lvl="2" indent="-2857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Char char="■"/>
              <a:defRPr sz="900"/>
            </a:lvl3pPr>
            <a:lvl4pPr marL="1828800" lvl="3" indent="-2857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Char char="●"/>
              <a:defRPr sz="900"/>
            </a:lvl4pPr>
            <a:lvl5pPr marL="2286000" lvl="4" indent="-2857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Char char="○"/>
              <a:defRPr sz="900"/>
            </a:lvl5pPr>
            <a:lvl6pPr marL="2743200" lvl="5" indent="-2857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Char char="■"/>
              <a:defRPr sz="900"/>
            </a:lvl6pPr>
            <a:lvl7pPr marL="3200400" lvl="6" indent="-2857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Char char="●"/>
              <a:defRPr sz="900"/>
            </a:lvl7pPr>
            <a:lvl8pPr marL="3657600" lvl="7" indent="-2857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Char char="○"/>
              <a:defRPr sz="900"/>
            </a:lvl8pPr>
            <a:lvl9pPr marL="4114800" lvl="8" indent="-2857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Char char="■"/>
              <a:defRPr sz="900"/>
            </a:lvl9pPr>
          </a:lstStyle>
          <a:p>
            <a:endParaRPr/>
          </a:p>
        </p:txBody>
      </p:sp>
      <p:sp>
        <p:nvSpPr>
          <p:cNvPr id="108" name="Google Shape;108;p17"/>
          <p:cNvSpPr txBox="1">
            <a:spLocks noGrp="1"/>
          </p:cNvSpPr>
          <p:nvPr>
            <p:ph type="body" idx="9"/>
          </p:nvPr>
        </p:nvSpPr>
        <p:spPr>
          <a:xfrm>
            <a:off x="6821424" y="2227417"/>
            <a:ext cx="1591200" cy="310800"/>
          </a:xfrm>
          <a:prstGeom prst="rect">
            <a:avLst/>
          </a:prstGeom>
        </p:spPr>
        <p:txBody>
          <a:bodyPr spcFirstLastPara="1" wrap="square" lIns="82275" tIns="18275" rIns="82275" bIns="18275" anchor="t" anchorCtr="0">
            <a:no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914400" lvl="1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105" name="Google Shape;105;p17"/>
          <p:cNvSpPr txBox="1">
            <a:spLocks noGrp="1"/>
          </p:cNvSpPr>
          <p:nvPr>
            <p:ph type="body" idx="6"/>
          </p:nvPr>
        </p:nvSpPr>
        <p:spPr>
          <a:xfrm>
            <a:off x="7013550" y="3224113"/>
            <a:ext cx="1225200" cy="1737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 b="1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857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Char char="○"/>
              <a:defRPr sz="900"/>
            </a:lvl2pPr>
            <a:lvl3pPr marL="1371600" lvl="2" indent="-2857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Char char="■"/>
              <a:defRPr sz="900"/>
            </a:lvl3pPr>
            <a:lvl4pPr marL="1828800" lvl="3" indent="-2857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Char char="●"/>
              <a:defRPr sz="900"/>
            </a:lvl4pPr>
            <a:lvl5pPr marL="2286000" lvl="4" indent="-2857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Char char="○"/>
              <a:defRPr sz="900"/>
            </a:lvl5pPr>
            <a:lvl6pPr marL="2743200" lvl="5" indent="-2857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Char char="■"/>
              <a:defRPr sz="900"/>
            </a:lvl6pPr>
            <a:lvl7pPr marL="3200400" lvl="6" indent="-2857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Char char="●"/>
              <a:defRPr sz="900"/>
            </a:lvl7pPr>
            <a:lvl8pPr marL="3657600" lvl="7" indent="-2857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Char char="○"/>
              <a:defRPr sz="900"/>
            </a:lvl8pPr>
            <a:lvl9pPr marL="4114800" lvl="8" indent="-2857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Char char="■"/>
              <a:defRPr sz="900"/>
            </a:lvl9pPr>
          </a:lstStyle>
          <a:p>
            <a:endParaRPr/>
          </a:p>
        </p:txBody>
      </p:sp>
      <p:sp>
        <p:nvSpPr>
          <p:cNvPr id="109" name="Google Shape;109;p17"/>
          <p:cNvSpPr txBox="1">
            <a:spLocks noGrp="1"/>
          </p:cNvSpPr>
          <p:nvPr>
            <p:ph type="body" idx="13"/>
          </p:nvPr>
        </p:nvSpPr>
        <p:spPr>
          <a:xfrm>
            <a:off x="6821424" y="3443569"/>
            <a:ext cx="1591200" cy="310800"/>
          </a:xfrm>
          <a:prstGeom prst="rect">
            <a:avLst/>
          </a:prstGeom>
        </p:spPr>
        <p:txBody>
          <a:bodyPr spcFirstLastPara="1" wrap="square" lIns="82275" tIns="18275" rIns="82275" bIns="18275" anchor="t" anchorCtr="0">
            <a:no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914400" lvl="1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algn="ctr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177725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op-Bottom Split" preserve="1">
  <p:cSld name="Top-Bottom Split"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AE3E3842-1A1C-DFC2-C6F6-A988610AAB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407925" y="-3156864"/>
            <a:ext cx="8736154" cy="11546181"/>
            <a:chOff x="407925" y="-3156864"/>
            <a:chExt cx="8736154" cy="11546181"/>
          </a:xfrm>
        </p:grpSpPr>
        <p:cxnSp>
          <p:nvCxnSpPr>
            <p:cNvPr id="113" name="Google Shape;113;p18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>
            <a:xfrm>
              <a:off x="836471" y="737356"/>
              <a:ext cx="2070300" cy="0"/>
            </a:xfrm>
            <a:prstGeom prst="straightConnector1">
              <a:avLst/>
            </a:prstGeom>
            <a:noFill/>
            <a:ln w="12700" cap="flat" cmpd="sng">
              <a:solidFill>
                <a:srgbClr val="627597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grpSp>
          <p:nvGrpSpPr>
            <p:cNvPr id="115" name="Google Shape;115;p18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4679511" y="3094843"/>
              <a:ext cx="507623" cy="506585"/>
              <a:chOff x="8210789" y="6930887"/>
              <a:chExt cx="1081200" cy="1080600"/>
            </a:xfrm>
          </p:grpSpPr>
          <p:sp>
            <p:nvSpPr>
              <p:cNvPr id="116" name="Google Shape;116;p18"/>
              <p:cNvSpPr/>
              <p:nvPr/>
            </p:nvSpPr>
            <p:spPr>
              <a:xfrm>
                <a:off x="8210789" y="6930887"/>
                <a:ext cx="1081200" cy="1080600"/>
              </a:xfrm>
              <a:prstGeom prst="ellipse">
                <a:avLst/>
              </a:prstGeom>
              <a:solidFill>
                <a:srgbClr val="1F9CF0">
                  <a:alpha val="56860"/>
                </a:srgbClr>
              </a:solidFill>
              <a:ln>
                <a:noFill/>
              </a:ln>
              <a:effectLst>
                <a:outerShdw blurRad="889000" dist="50800" dir="5400000" sx="89000" sy="89000" algn="ctr" rotWithShape="0">
                  <a:srgbClr val="000000">
                    <a:alpha val="48630"/>
                  </a:srgbClr>
                </a:outerShdw>
              </a:effectLst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117;p18"/>
              <p:cNvSpPr/>
              <p:nvPr/>
            </p:nvSpPr>
            <p:spPr>
              <a:xfrm>
                <a:off x="8393115" y="7113123"/>
                <a:ext cx="716700" cy="716400"/>
              </a:xfrm>
              <a:prstGeom prst="ellipse">
                <a:avLst/>
              </a:prstGeom>
              <a:solidFill>
                <a:srgbClr val="1F9CF0"/>
              </a:soli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94EB603-8C2E-D4C8-50E5-D722D006D0A4}"/>
                </a:ext>
              </a:extLst>
            </p:cNvPr>
            <p:cNvGrpSpPr/>
            <p:nvPr userDrawn="1"/>
          </p:nvGrpSpPr>
          <p:grpSpPr>
            <a:xfrm>
              <a:off x="407925" y="-3156864"/>
              <a:ext cx="8736154" cy="11546181"/>
              <a:chOff x="407925" y="-3156864"/>
              <a:chExt cx="8736154" cy="11546181"/>
            </a:xfrm>
          </p:grpSpPr>
          <p:sp>
            <p:nvSpPr>
              <p:cNvPr id="111" name="Google Shape;111;p1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425779" y="2838193"/>
                <a:ext cx="8718300" cy="2305200"/>
              </a:xfrm>
              <a:prstGeom prst="round2SameRect">
                <a:avLst>
                  <a:gd name="adj1" fmla="val 4610"/>
                  <a:gd name="adj2" fmla="val 0"/>
                </a:avLst>
              </a:prstGeom>
              <a:gradFill>
                <a:gsLst>
                  <a:gs pos="0">
                    <a:srgbClr val="1F9CF0"/>
                  </a:gs>
                  <a:gs pos="48500">
                    <a:srgbClr val="9477E2">
                      <a:alpha val="48627"/>
                    </a:srgbClr>
                  </a:gs>
                  <a:gs pos="97000">
                    <a:srgbClr val="9477E2">
                      <a:alpha val="0"/>
                    </a:srgbClr>
                  </a:gs>
                  <a:gs pos="100000">
                    <a:srgbClr val="9477E2">
                      <a:alpha val="0"/>
                    </a:srgbClr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pic>
            <p:nvPicPr>
              <p:cNvPr id="112" name="Google Shape;112;p1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 preferRelativeResize="0"/>
              <p:nvPr/>
            </p:nvPicPr>
            <p:blipFill rotWithShape="1">
              <a:blip r:embed="rId2">
                <a:alphaModFix amt="30000"/>
              </a:blip>
              <a:srcRect/>
              <a:stretch/>
            </p:blipFill>
            <p:spPr>
              <a:xfrm>
                <a:off x="4672027" y="-3156864"/>
                <a:ext cx="3762369" cy="3762369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14" name="Google Shape;114;p1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 preferRelativeResize="0"/>
              <p:nvPr/>
            </p:nvPicPr>
            <p:blipFill rotWithShape="1">
              <a:blip r:embed="rId2">
                <a:alphaModFix amt="30000"/>
              </a:blip>
              <a:srcRect/>
              <a:stretch/>
            </p:blipFill>
            <p:spPr>
              <a:xfrm>
                <a:off x="4672026" y="4626948"/>
                <a:ext cx="3762369" cy="3762369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118" name="Google Shape;118;p1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 rot="10800000">
                <a:off x="407925" y="325"/>
                <a:ext cx="73200" cy="2216400"/>
              </a:xfrm>
              <a:prstGeom prst="rect">
                <a:avLst/>
              </a:prstGeom>
              <a:gradFill>
                <a:gsLst>
                  <a:gs pos="0">
                    <a:srgbClr val="D59DFF"/>
                  </a:gs>
                  <a:gs pos="100000">
                    <a:srgbClr val="28AFEA"/>
                  </a:gs>
                </a:gsLst>
                <a:lin ang="5400012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b="0" i="0">
                  <a:latin typeface="Helvetica" pitchFamily="2" charset="0"/>
                </a:endParaRPr>
              </a:p>
            </p:txBody>
          </p:sp>
        </p:grpSp>
      </p:grpSp>
      <p:sp>
        <p:nvSpPr>
          <p:cNvPr id="119" name="Google Shape;119;p18"/>
          <p:cNvSpPr txBox="1">
            <a:spLocks noGrp="1"/>
          </p:cNvSpPr>
          <p:nvPr>
            <p:ph type="subTitle" idx="1"/>
          </p:nvPr>
        </p:nvSpPr>
        <p:spPr>
          <a:xfrm>
            <a:off x="804672" y="548640"/>
            <a:ext cx="3026700" cy="1554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9pPr>
          </a:lstStyle>
          <a:p>
            <a:endParaRPr/>
          </a:p>
        </p:txBody>
      </p:sp>
      <p:sp>
        <p:nvSpPr>
          <p:cNvPr id="120" name="Google Shape;120;p18"/>
          <p:cNvSpPr txBox="1">
            <a:spLocks noGrp="1"/>
          </p:cNvSpPr>
          <p:nvPr>
            <p:ph type="title"/>
          </p:nvPr>
        </p:nvSpPr>
        <p:spPr>
          <a:xfrm>
            <a:off x="795528" y="932688"/>
            <a:ext cx="3511200" cy="13443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1700"/>
              <a:buNone/>
              <a:defRPr sz="1700" b="0" i="0">
                <a:latin typeface="Helvetica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18"/>
          <p:cNvSpPr txBox="1">
            <a:spLocks noGrp="1"/>
          </p:cNvSpPr>
          <p:nvPr>
            <p:ph type="body" idx="2"/>
          </p:nvPr>
        </p:nvSpPr>
        <p:spPr>
          <a:xfrm>
            <a:off x="4672584" y="932688"/>
            <a:ext cx="3447300" cy="11247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>
              <a:spcBef>
                <a:spcPts val="0"/>
              </a:spcBef>
              <a:spcAft>
                <a:spcPts val="0"/>
              </a:spcAft>
              <a:buSzPts val="1000"/>
              <a:buNone/>
              <a:defRPr b="0" i="0">
                <a:latin typeface="Helvetica" pitchFamily="2" charset="0"/>
              </a:defRPr>
            </a:lvl1pPr>
            <a:lvl2pPr marL="914400" lvl="1" indent="-292100">
              <a:spcBef>
                <a:spcPts val="0"/>
              </a:spcBef>
              <a:spcAft>
                <a:spcPts val="0"/>
              </a:spcAft>
              <a:buSzPts val="1000"/>
              <a:buChar char="○"/>
              <a:defRPr/>
            </a:lvl2pPr>
            <a:lvl3pPr marL="1371600" lvl="2" indent="-292100">
              <a:spcBef>
                <a:spcPts val="0"/>
              </a:spcBef>
              <a:spcAft>
                <a:spcPts val="0"/>
              </a:spcAft>
              <a:buSzPts val="1000"/>
              <a:buChar char="■"/>
              <a:defRPr/>
            </a:lvl3pPr>
            <a:lvl4pPr marL="1828800" lvl="3" indent="-292100">
              <a:spcBef>
                <a:spcPts val="0"/>
              </a:spcBef>
              <a:spcAft>
                <a:spcPts val="0"/>
              </a:spcAft>
              <a:buSzPts val="1000"/>
              <a:buChar char="●"/>
              <a:defRPr/>
            </a:lvl4pPr>
            <a:lvl5pPr marL="2286000" lvl="4" indent="-292100">
              <a:spcBef>
                <a:spcPts val="0"/>
              </a:spcBef>
              <a:spcAft>
                <a:spcPts val="0"/>
              </a:spcAft>
              <a:buSzPts val="1000"/>
              <a:buChar char="○"/>
              <a:defRPr/>
            </a:lvl5pPr>
            <a:lvl6pPr marL="2743200" lvl="5" indent="-292100">
              <a:spcBef>
                <a:spcPts val="0"/>
              </a:spcBef>
              <a:spcAft>
                <a:spcPts val="0"/>
              </a:spcAft>
              <a:buSzPts val="1000"/>
              <a:buChar char="■"/>
              <a:defRPr/>
            </a:lvl6pPr>
            <a:lvl7pPr marL="3200400" lvl="6" indent="-292100">
              <a:spcBef>
                <a:spcPts val="0"/>
              </a:spcBef>
              <a:spcAft>
                <a:spcPts val="0"/>
              </a:spcAft>
              <a:buSzPts val="1000"/>
              <a:buChar char="●"/>
              <a:defRPr/>
            </a:lvl7pPr>
            <a:lvl8pPr marL="3657600" lvl="7" indent="-292100">
              <a:spcBef>
                <a:spcPts val="0"/>
              </a:spcBef>
              <a:spcAft>
                <a:spcPts val="0"/>
              </a:spcAft>
              <a:buSzPts val="1000"/>
              <a:buChar char="○"/>
              <a:defRPr/>
            </a:lvl8pPr>
            <a:lvl9pPr marL="4114800" lvl="8" indent="-292100">
              <a:spcBef>
                <a:spcPts val="0"/>
              </a:spcBef>
              <a:spcAft>
                <a:spcPts val="0"/>
              </a:spcAft>
              <a:buSzPts val="1000"/>
              <a:buChar char="■"/>
              <a:defRPr/>
            </a:lvl9pPr>
          </a:lstStyle>
          <a:p>
            <a:endParaRPr/>
          </a:p>
        </p:txBody>
      </p:sp>
      <p:sp>
        <p:nvSpPr>
          <p:cNvPr id="122" name="Google Shape;122;p18"/>
          <p:cNvSpPr>
            <a:spLocks noGrp="1"/>
          </p:cNvSpPr>
          <p:nvPr>
            <p:ph type="pic" idx="3"/>
          </p:nvPr>
        </p:nvSpPr>
        <p:spPr>
          <a:xfrm>
            <a:off x="4807252" y="3222065"/>
            <a:ext cx="252140" cy="252140"/>
          </a:xfrm>
          <a:prstGeom prst="ellipse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300"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123" name="Google Shape;123;p18"/>
          <p:cNvSpPr txBox="1">
            <a:spLocks noGrp="1"/>
          </p:cNvSpPr>
          <p:nvPr>
            <p:ph type="title" idx="4"/>
          </p:nvPr>
        </p:nvSpPr>
        <p:spPr>
          <a:xfrm>
            <a:off x="5276088" y="3191256"/>
            <a:ext cx="2816400" cy="3018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1700"/>
              <a:buNone/>
              <a:defRPr sz="1700" b="1" i="0">
                <a:latin typeface="Helvetica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" name="Google Shape;124;p18"/>
          <p:cNvSpPr txBox="1">
            <a:spLocks noGrp="1"/>
          </p:cNvSpPr>
          <p:nvPr>
            <p:ph type="body" idx="5"/>
          </p:nvPr>
        </p:nvSpPr>
        <p:spPr>
          <a:xfrm>
            <a:off x="4765112" y="3730752"/>
            <a:ext cx="3318171" cy="6585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914400" lvl="1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159971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Four Sections" preserve="1" userDrawn="1">
  <p:cSld name="Four Sections"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oogle Shape;67;p15">
            <a:extLst>
              <a:ext uri="{FF2B5EF4-FFF2-40B4-BE49-F238E27FC236}">
                <a16:creationId xmlns:a16="http://schemas.microsoft.com/office/drawing/2014/main" id="{D62C45CC-EDDF-E817-60D7-019B741C50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" name="Google Shape;56;p14">
            <a:extLst>
              <a:ext uri="{FF2B5EF4-FFF2-40B4-BE49-F238E27FC236}">
                <a16:creationId xmlns:a16="http://schemas.microsoft.com/office/drawing/2014/main" id="{14FCF1BD-1522-066A-B286-D9CF0FE26986}"/>
              </a:ext>
            </a:extLst>
          </p:cNvPr>
          <p:cNvSpPr/>
          <p:nvPr userDrawn="1"/>
        </p:nvSpPr>
        <p:spPr>
          <a:xfrm>
            <a:off x="569084" y="4900823"/>
            <a:ext cx="5054476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 dirty="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5 THINGS YOU CAN DO WITH GITHUB COPILOT</a:t>
            </a:r>
            <a:endParaRPr lang="en-US" sz="500" b="0" i="0" u="none" strike="noStrike" kern="1200" cap="none" spc="600" dirty="0">
              <a:solidFill>
                <a:srgbClr val="627597"/>
              </a:solidFill>
              <a:latin typeface="Helvetica" pitchFamily="2" charset="0"/>
            </a:endParaRPr>
          </a:p>
        </p:txBody>
      </p:sp>
      <p:sp>
        <p:nvSpPr>
          <p:cNvPr id="151" name="Google Shape;151;p19"/>
          <p:cNvSpPr txBox="1">
            <a:spLocks noGrp="1"/>
          </p:cNvSpPr>
          <p:nvPr>
            <p:ph type="title" idx="15"/>
          </p:nvPr>
        </p:nvSpPr>
        <p:spPr>
          <a:xfrm>
            <a:off x="418500" y="228577"/>
            <a:ext cx="8352119" cy="535142"/>
          </a:xfrm>
          <a:prstGeom prst="rect">
            <a:avLst/>
          </a:prstGeom>
        </p:spPr>
        <p:txBody>
          <a:bodyPr spcFirstLastPara="1" wrap="square" lIns="0" tIns="18275" rIns="0" bIns="1827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300"/>
              <a:buNone/>
              <a:defRPr sz="2400" b="1" i="0">
                <a:latin typeface="Helvetica" pitchFamily="2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" name="Google Shape;129;p19"/>
          <p:cNvSpPr>
            <a:spLocks noGrp="1"/>
          </p:cNvSpPr>
          <p:nvPr>
            <p:ph type="pic" idx="5"/>
          </p:nvPr>
        </p:nvSpPr>
        <p:spPr>
          <a:xfrm>
            <a:off x="0" y="832670"/>
            <a:ext cx="2282700" cy="1389888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6D0AEF3-20C9-E36E-10B3-45993C86AF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1878238"/>
            <a:ext cx="2286000" cy="1718402"/>
            <a:chOff x="0" y="1878238"/>
            <a:chExt cx="2286000" cy="1718402"/>
          </a:xfrm>
        </p:grpSpPr>
        <p:sp>
          <p:nvSpPr>
            <p:cNvPr id="133" name="Google Shape;133;p19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0" y="2231132"/>
              <a:ext cx="2286000" cy="1365508"/>
            </a:xfrm>
            <a:prstGeom prst="rect">
              <a:avLst/>
            </a:prstGeom>
            <a:gradFill>
              <a:gsLst>
                <a:gs pos="0">
                  <a:srgbClr val="1F9CF0"/>
                </a:gs>
                <a:gs pos="100000">
                  <a:srgbClr val="9477E2">
                    <a:alpha val="0"/>
                  </a:srgbClr>
                </a:gs>
              </a:gsLst>
              <a:lin ang="2700006" scaled="0"/>
            </a:gra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39" name="Google Shape;115;p18">
              <a:extLst>
                <a:ext uri="{FF2B5EF4-FFF2-40B4-BE49-F238E27FC236}">
                  <a16:creationId xmlns:a16="http://schemas.microsoft.com/office/drawing/2014/main" id="{2CABBAFB-D7E4-4946-8936-326967B61E0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725202" y="1878238"/>
              <a:ext cx="720446" cy="718973"/>
              <a:chOff x="8210789" y="6930887"/>
              <a:chExt cx="1081200" cy="1080600"/>
            </a:xfrm>
          </p:grpSpPr>
          <p:sp>
            <p:nvSpPr>
              <p:cNvPr id="40" name="Google Shape;116;p18">
                <a:extLst>
                  <a:ext uri="{FF2B5EF4-FFF2-40B4-BE49-F238E27FC236}">
                    <a16:creationId xmlns:a16="http://schemas.microsoft.com/office/drawing/2014/main" id="{927C82E0-53EB-9E40-B93B-79D8C7C49530}"/>
                  </a:ext>
                </a:extLst>
              </p:cNvPr>
              <p:cNvSpPr/>
              <p:nvPr/>
            </p:nvSpPr>
            <p:spPr>
              <a:xfrm>
                <a:off x="8210789" y="6930887"/>
                <a:ext cx="1081200" cy="1080600"/>
              </a:xfrm>
              <a:prstGeom prst="ellipse">
                <a:avLst/>
              </a:prstGeom>
              <a:solidFill>
                <a:srgbClr val="1F9CF0">
                  <a:alpha val="56860"/>
                </a:srgbClr>
              </a:solidFill>
              <a:ln>
                <a:noFill/>
              </a:ln>
              <a:effectLst>
                <a:outerShdw blurRad="889000" dist="50800" dir="5400000" sx="89000" sy="89000" algn="ctr" rotWithShape="0">
                  <a:srgbClr val="000000">
                    <a:alpha val="48630"/>
                  </a:srgbClr>
                </a:outerShdw>
              </a:effectLst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" name="Google Shape;117;p18">
                <a:extLst>
                  <a:ext uri="{FF2B5EF4-FFF2-40B4-BE49-F238E27FC236}">
                    <a16:creationId xmlns:a16="http://schemas.microsoft.com/office/drawing/2014/main" id="{33518440-89C6-C546-AC7B-32EBE9911FC2}"/>
                  </a:ext>
                </a:extLst>
              </p:cNvPr>
              <p:cNvSpPr/>
              <p:nvPr/>
            </p:nvSpPr>
            <p:spPr>
              <a:xfrm>
                <a:off x="8393115" y="7113123"/>
                <a:ext cx="716700" cy="716400"/>
              </a:xfrm>
              <a:prstGeom prst="ellipse">
                <a:avLst/>
              </a:prstGeom>
              <a:solidFill>
                <a:srgbClr val="1F9CF0"/>
              </a:soli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" name="Google Shape;122;p18">
            <a:extLst>
              <a:ext uri="{FF2B5EF4-FFF2-40B4-BE49-F238E27FC236}">
                <a16:creationId xmlns:a16="http://schemas.microsoft.com/office/drawing/2014/main" id="{770EE0F9-203B-9148-A3BA-831953FEF71D}"/>
              </a:ext>
            </a:extLst>
          </p:cNvPr>
          <p:cNvSpPr>
            <a:spLocks noGrp="1"/>
          </p:cNvSpPr>
          <p:nvPr>
            <p:ph type="pic" idx="23"/>
          </p:nvPr>
        </p:nvSpPr>
        <p:spPr>
          <a:xfrm>
            <a:off x="906500" y="2058799"/>
            <a:ext cx="357851" cy="357851"/>
          </a:xfrm>
          <a:prstGeom prst="ellipse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300"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148" name="Google Shape;148;p19"/>
          <p:cNvSpPr txBox="1">
            <a:spLocks noGrp="1"/>
          </p:cNvSpPr>
          <p:nvPr>
            <p:ph type="body" idx="1"/>
          </p:nvPr>
        </p:nvSpPr>
        <p:spPr>
          <a:xfrm>
            <a:off x="338328" y="2604742"/>
            <a:ext cx="1252800" cy="239643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1000" b="0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149" name="Google Shape;149;p19"/>
          <p:cNvSpPr txBox="1">
            <a:spLocks noGrp="1"/>
          </p:cNvSpPr>
          <p:nvPr>
            <p:ph type="body" idx="13"/>
          </p:nvPr>
        </p:nvSpPr>
        <p:spPr>
          <a:xfrm>
            <a:off x="338328" y="2834006"/>
            <a:ext cx="1691700" cy="693683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914400" lvl="1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F7888B4-45D0-5024-C25B-EFA6D164CE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282650" y="1876768"/>
            <a:ext cx="2286000" cy="1719872"/>
            <a:chOff x="2282650" y="1876768"/>
            <a:chExt cx="2286000" cy="1719872"/>
          </a:xfrm>
        </p:grpSpPr>
        <p:sp>
          <p:nvSpPr>
            <p:cNvPr id="132" name="Google Shape;132;p19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2282650" y="2231132"/>
              <a:ext cx="2286000" cy="1365508"/>
            </a:xfrm>
            <a:prstGeom prst="rect">
              <a:avLst/>
            </a:prstGeom>
            <a:gradFill>
              <a:gsLst>
                <a:gs pos="0">
                  <a:srgbClr val="9477E2">
                    <a:alpha val="20000"/>
                  </a:srgbClr>
                </a:gs>
                <a:gs pos="100000">
                  <a:srgbClr val="9477E2">
                    <a:alpha val="0"/>
                  </a:srgbClr>
                </a:gs>
              </a:gsLst>
              <a:lin ang="2700006" scaled="0"/>
            </a:gra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80DF5EDE-E7F7-6146-AC08-AF61888173C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3068238" y="1876768"/>
              <a:ext cx="720300" cy="719400"/>
              <a:chOff x="3068238" y="1382291"/>
              <a:chExt cx="720300" cy="719400"/>
            </a:xfrm>
          </p:grpSpPr>
          <p:sp>
            <p:nvSpPr>
              <p:cNvPr id="134" name="Google Shape;134;p19"/>
              <p:cNvSpPr/>
              <p:nvPr/>
            </p:nvSpPr>
            <p:spPr>
              <a:xfrm>
                <a:off x="3068238" y="1382291"/>
                <a:ext cx="720300" cy="719400"/>
              </a:xfrm>
              <a:prstGeom prst="ellipse">
                <a:avLst/>
              </a:prstGeom>
              <a:solidFill>
                <a:srgbClr val="8661C5">
                  <a:alpha val="56860"/>
                </a:srgbClr>
              </a:solidFill>
              <a:ln>
                <a:noFill/>
              </a:ln>
              <a:effectLst>
                <a:outerShdw blurRad="889000" dist="50800" dir="5400000" sx="89000" sy="89000" algn="ctr" rotWithShape="0">
                  <a:srgbClr val="000000">
                    <a:alpha val="48630"/>
                  </a:srgbClr>
                </a:outerShdw>
              </a:effectLst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lvl="0" indent="0" algn="ctr">
                  <a:buNone/>
                </a:pPr>
                <a:endParaRPr sz="80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135;p19"/>
              <p:cNvSpPr/>
              <p:nvPr userDrawn="1"/>
            </p:nvSpPr>
            <p:spPr>
              <a:xfrm>
                <a:off x="3190019" y="1504824"/>
                <a:ext cx="477600" cy="476700"/>
              </a:xfrm>
              <a:prstGeom prst="ellipse">
                <a:avLst/>
              </a:prstGeom>
              <a:solidFill>
                <a:srgbClr val="8661C5"/>
              </a:soli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lvl="0" indent="0" algn="ctr">
                  <a:buNone/>
                </a:pPr>
                <a:endParaRPr sz="80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258C728-B08C-223E-4D1B-66EB88D64B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4568183" y="1876768"/>
            <a:ext cx="2286000" cy="1719872"/>
            <a:chOff x="4568183" y="1876768"/>
            <a:chExt cx="2286000" cy="1719872"/>
          </a:xfrm>
        </p:grpSpPr>
        <p:sp>
          <p:nvSpPr>
            <p:cNvPr id="131" name="Google Shape;131;p19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568183" y="2231132"/>
              <a:ext cx="2286000" cy="1365508"/>
            </a:xfrm>
            <a:prstGeom prst="rect">
              <a:avLst/>
            </a:prstGeom>
            <a:gradFill>
              <a:gsLst>
                <a:gs pos="0">
                  <a:srgbClr val="6A37C7">
                    <a:alpha val="20000"/>
                  </a:srgbClr>
                </a:gs>
                <a:gs pos="100000">
                  <a:srgbClr val="9477E2">
                    <a:alpha val="0"/>
                  </a:srgbClr>
                </a:gs>
              </a:gsLst>
              <a:lin ang="2700006" scaled="0"/>
            </a:gra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62153F02-68F3-1F42-A78B-072046ECEDD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5357600" y="1876768"/>
              <a:ext cx="720300" cy="719400"/>
              <a:chOff x="5357600" y="1382291"/>
              <a:chExt cx="720300" cy="719400"/>
            </a:xfrm>
          </p:grpSpPr>
          <p:sp>
            <p:nvSpPr>
              <p:cNvPr id="138" name="Google Shape;138;p19"/>
              <p:cNvSpPr/>
              <p:nvPr/>
            </p:nvSpPr>
            <p:spPr>
              <a:xfrm>
                <a:off x="5357600" y="1382291"/>
                <a:ext cx="720300" cy="719400"/>
              </a:xfrm>
              <a:prstGeom prst="ellipse">
                <a:avLst/>
              </a:prstGeom>
              <a:solidFill>
                <a:srgbClr val="8661C5">
                  <a:alpha val="56860"/>
                </a:srgbClr>
              </a:solidFill>
              <a:ln>
                <a:noFill/>
              </a:ln>
              <a:effectLst>
                <a:outerShdw blurRad="889000" dist="50800" dir="5400000" sx="89000" sy="89000" algn="ctr" rotWithShape="0">
                  <a:srgbClr val="000000">
                    <a:alpha val="48630"/>
                  </a:srgbClr>
                </a:outerShdw>
              </a:effectLst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139;p19"/>
              <p:cNvSpPr/>
              <p:nvPr/>
            </p:nvSpPr>
            <p:spPr>
              <a:xfrm>
                <a:off x="5479381" y="1504824"/>
                <a:ext cx="477600" cy="476700"/>
              </a:xfrm>
              <a:prstGeom prst="ellipse">
                <a:avLst/>
              </a:prstGeom>
              <a:solidFill>
                <a:srgbClr val="8661C5"/>
              </a:soli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4722DEE5-5AA0-E252-08EF-A18B4CD34D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6857536" y="1876768"/>
            <a:ext cx="2286000" cy="1719872"/>
            <a:chOff x="6857536" y="1876768"/>
            <a:chExt cx="2286000" cy="1719872"/>
          </a:xfrm>
        </p:grpSpPr>
        <p:sp>
          <p:nvSpPr>
            <p:cNvPr id="130" name="Google Shape;130;p19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857536" y="2231132"/>
              <a:ext cx="2286000" cy="1365508"/>
            </a:xfrm>
            <a:prstGeom prst="rect">
              <a:avLst/>
            </a:prstGeom>
            <a:gradFill>
              <a:gsLst>
                <a:gs pos="0">
                  <a:srgbClr val="9477E2">
                    <a:alpha val="20000"/>
                  </a:srgbClr>
                </a:gs>
                <a:gs pos="100000">
                  <a:srgbClr val="9477E2">
                    <a:alpha val="0"/>
                  </a:srgbClr>
                </a:gs>
              </a:gsLst>
              <a:lin ang="2700006" scaled="0"/>
            </a:gra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>
                <a:solidFill>
                  <a:schemeClr val="lt1"/>
                </a:solidFill>
                <a:latin typeface="Helvetica" pitchFamily="2" charset="0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0E2775DA-4DCB-AD4E-B04F-182EF29AE8A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7645560" y="1876768"/>
              <a:ext cx="720300" cy="719400"/>
              <a:chOff x="7645560" y="1382291"/>
              <a:chExt cx="720300" cy="719400"/>
            </a:xfrm>
          </p:grpSpPr>
          <p:sp>
            <p:nvSpPr>
              <p:cNvPr id="136" name="Google Shape;136;p19"/>
              <p:cNvSpPr/>
              <p:nvPr/>
            </p:nvSpPr>
            <p:spPr>
              <a:xfrm>
                <a:off x="7645560" y="1382291"/>
                <a:ext cx="720300" cy="719400"/>
              </a:xfrm>
              <a:prstGeom prst="ellipse">
                <a:avLst/>
              </a:prstGeom>
              <a:solidFill>
                <a:srgbClr val="8661C5">
                  <a:alpha val="56860"/>
                </a:srgbClr>
              </a:solidFill>
              <a:ln>
                <a:noFill/>
              </a:ln>
              <a:effectLst>
                <a:outerShdw blurRad="889000" dist="50800" dir="5400000" sx="89000" sy="89000" algn="ctr" rotWithShape="0">
                  <a:srgbClr val="000000">
                    <a:alpha val="48630"/>
                  </a:srgbClr>
                </a:outerShdw>
              </a:effectLst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lvl="0" indent="0" algn="ctr">
                  <a:buNone/>
                </a:pPr>
                <a:endParaRPr sz="80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137;p19"/>
              <p:cNvSpPr/>
              <p:nvPr/>
            </p:nvSpPr>
            <p:spPr>
              <a:xfrm>
                <a:off x="7767340" y="1504824"/>
                <a:ext cx="477600" cy="476700"/>
              </a:xfrm>
              <a:prstGeom prst="ellipse">
                <a:avLst/>
              </a:prstGeom>
              <a:solidFill>
                <a:srgbClr val="8661C5"/>
              </a:soli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lvl="0" indent="0" algn="ctr">
                  <a:buNone/>
                </a:pPr>
                <a:endParaRPr sz="80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" name="Google Shape;122;p18">
            <a:extLst>
              <a:ext uri="{FF2B5EF4-FFF2-40B4-BE49-F238E27FC236}">
                <a16:creationId xmlns:a16="http://schemas.microsoft.com/office/drawing/2014/main" id="{257D24F3-611A-FCC2-A794-C0EA49B74D6D}"/>
              </a:ext>
            </a:extLst>
          </p:cNvPr>
          <p:cNvSpPr>
            <a:spLocks noGrp="1"/>
          </p:cNvSpPr>
          <p:nvPr>
            <p:ph type="pic" idx="30"/>
          </p:nvPr>
        </p:nvSpPr>
        <p:spPr>
          <a:xfrm>
            <a:off x="3246724" y="2058799"/>
            <a:ext cx="357851" cy="357851"/>
          </a:xfrm>
          <a:prstGeom prst="ellipse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300"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153" name="Google Shape;153;p19"/>
          <p:cNvSpPr txBox="1">
            <a:spLocks noGrp="1"/>
          </p:cNvSpPr>
          <p:nvPr>
            <p:ph type="body" idx="17"/>
          </p:nvPr>
        </p:nvSpPr>
        <p:spPr>
          <a:xfrm>
            <a:off x="2697478" y="2604742"/>
            <a:ext cx="1252800" cy="239643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1000" b="0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794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154" name="Google Shape;154;p19"/>
          <p:cNvSpPr txBox="1">
            <a:spLocks noGrp="1"/>
          </p:cNvSpPr>
          <p:nvPr>
            <p:ph type="body" idx="18"/>
          </p:nvPr>
        </p:nvSpPr>
        <p:spPr>
          <a:xfrm>
            <a:off x="2697478" y="2834006"/>
            <a:ext cx="1691700" cy="693683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914400" lvl="1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52" name="Google Shape;129;p19">
            <a:extLst>
              <a:ext uri="{FF2B5EF4-FFF2-40B4-BE49-F238E27FC236}">
                <a16:creationId xmlns:a16="http://schemas.microsoft.com/office/drawing/2014/main" id="{183614BC-81FB-DD41-94B5-38C9366C2FD7}"/>
              </a:ext>
            </a:extLst>
          </p:cNvPr>
          <p:cNvSpPr>
            <a:spLocks noGrp="1"/>
          </p:cNvSpPr>
          <p:nvPr>
            <p:ph type="pic" idx="28"/>
          </p:nvPr>
        </p:nvSpPr>
        <p:spPr>
          <a:xfrm>
            <a:off x="2282650" y="3750056"/>
            <a:ext cx="2282700" cy="1393444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51" name="Google Shape;129;p19">
            <a:extLst>
              <a:ext uri="{FF2B5EF4-FFF2-40B4-BE49-F238E27FC236}">
                <a16:creationId xmlns:a16="http://schemas.microsoft.com/office/drawing/2014/main" id="{D02644DB-3AB0-6A40-906C-1B97F6BB74DF}"/>
              </a:ext>
            </a:extLst>
          </p:cNvPr>
          <p:cNvSpPr>
            <a:spLocks noGrp="1"/>
          </p:cNvSpPr>
          <p:nvPr>
            <p:ph type="pic" idx="27"/>
          </p:nvPr>
        </p:nvSpPr>
        <p:spPr>
          <a:xfrm>
            <a:off x="4568183" y="832670"/>
            <a:ext cx="2282700" cy="1389888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49" name="Google Shape;122;p18">
            <a:extLst>
              <a:ext uri="{FF2B5EF4-FFF2-40B4-BE49-F238E27FC236}">
                <a16:creationId xmlns:a16="http://schemas.microsoft.com/office/drawing/2014/main" id="{8125D358-82E1-5146-9868-59151E4787F5}"/>
              </a:ext>
            </a:extLst>
          </p:cNvPr>
          <p:cNvSpPr>
            <a:spLocks noGrp="1"/>
          </p:cNvSpPr>
          <p:nvPr>
            <p:ph type="pic" idx="25"/>
          </p:nvPr>
        </p:nvSpPr>
        <p:spPr>
          <a:xfrm>
            <a:off x="5538825" y="2057543"/>
            <a:ext cx="357851" cy="357851"/>
          </a:xfrm>
          <a:prstGeom prst="ellipse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300"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155" name="Google Shape;155;p19"/>
          <p:cNvSpPr txBox="1">
            <a:spLocks noGrp="1"/>
          </p:cNvSpPr>
          <p:nvPr>
            <p:ph type="body" idx="19"/>
          </p:nvPr>
        </p:nvSpPr>
        <p:spPr>
          <a:xfrm>
            <a:off x="4910328" y="2604742"/>
            <a:ext cx="1252800" cy="239643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1000" b="0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156" name="Google Shape;156;p19"/>
          <p:cNvSpPr txBox="1">
            <a:spLocks noGrp="1"/>
          </p:cNvSpPr>
          <p:nvPr>
            <p:ph type="body" idx="20"/>
          </p:nvPr>
        </p:nvSpPr>
        <p:spPr>
          <a:xfrm>
            <a:off x="4910328" y="2834006"/>
            <a:ext cx="1691700" cy="693683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914400" lvl="1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50" name="Google Shape;122;p18">
            <a:extLst>
              <a:ext uri="{FF2B5EF4-FFF2-40B4-BE49-F238E27FC236}">
                <a16:creationId xmlns:a16="http://schemas.microsoft.com/office/drawing/2014/main" id="{D612543C-1131-2740-B754-942B3C674732}"/>
              </a:ext>
            </a:extLst>
          </p:cNvPr>
          <p:cNvSpPr>
            <a:spLocks noGrp="1"/>
          </p:cNvSpPr>
          <p:nvPr>
            <p:ph type="pic" idx="26"/>
          </p:nvPr>
        </p:nvSpPr>
        <p:spPr>
          <a:xfrm>
            <a:off x="7826785" y="2057543"/>
            <a:ext cx="357851" cy="357851"/>
          </a:xfrm>
          <a:prstGeom prst="ellipse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300"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157" name="Google Shape;157;p19"/>
          <p:cNvSpPr txBox="1">
            <a:spLocks noGrp="1"/>
          </p:cNvSpPr>
          <p:nvPr>
            <p:ph type="body" idx="21"/>
          </p:nvPr>
        </p:nvSpPr>
        <p:spPr>
          <a:xfrm>
            <a:off x="7196328" y="2604742"/>
            <a:ext cx="1252800" cy="239643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1000" b="0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158" name="Google Shape;158;p19"/>
          <p:cNvSpPr txBox="1">
            <a:spLocks noGrp="1"/>
          </p:cNvSpPr>
          <p:nvPr>
            <p:ph type="body" idx="22"/>
          </p:nvPr>
        </p:nvSpPr>
        <p:spPr>
          <a:xfrm>
            <a:off x="7196328" y="2834006"/>
            <a:ext cx="1691700" cy="693683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914400" lvl="1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53" name="Google Shape;129;p19">
            <a:extLst>
              <a:ext uri="{FF2B5EF4-FFF2-40B4-BE49-F238E27FC236}">
                <a16:creationId xmlns:a16="http://schemas.microsoft.com/office/drawing/2014/main" id="{DE9CF3D8-208C-EF41-A2C5-9CB01676BFCD}"/>
              </a:ext>
            </a:extLst>
          </p:cNvPr>
          <p:cNvSpPr>
            <a:spLocks noGrp="1"/>
          </p:cNvSpPr>
          <p:nvPr>
            <p:ph type="pic" idx="29"/>
          </p:nvPr>
        </p:nvSpPr>
        <p:spPr>
          <a:xfrm>
            <a:off x="6860836" y="3750056"/>
            <a:ext cx="2282700" cy="1393444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 b="0" i="0">
                <a:latin typeface="Helvetica" pitchFamily="2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64894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hree Features" preserve="1" userDrawn="1">
  <p:cSld name="Three Features"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713EB9D9-6A50-217C-4FBA-3F7BF6C6CB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-1047201"/>
            <a:ext cx="9286243" cy="6190830"/>
            <a:chOff x="0" y="-1047201"/>
            <a:chExt cx="9286243" cy="6190830"/>
          </a:xfrm>
        </p:grpSpPr>
        <p:cxnSp>
          <p:nvCxnSpPr>
            <p:cNvPr id="177" name="Google Shape;177;p20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>
            <a:xfrm>
              <a:off x="836471" y="737356"/>
              <a:ext cx="2070300" cy="0"/>
            </a:xfrm>
            <a:prstGeom prst="straightConnector1">
              <a:avLst/>
            </a:prstGeom>
            <a:noFill/>
            <a:ln w="12700" cap="flat" cmpd="sng">
              <a:solidFill>
                <a:srgbClr val="627597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55E3903-7657-27AD-96AA-DB6E07D9B62F}"/>
                </a:ext>
              </a:extLst>
            </p:cNvPr>
            <p:cNvGrpSpPr/>
            <p:nvPr userDrawn="1"/>
          </p:nvGrpSpPr>
          <p:grpSpPr>
            <a:xfrm>
              <a:off x="0" y="-1047201"/>
              <a:ext cx="9286243" cy="6190830"/>
              <a:chOff x="0" y="-1047201"/>
              <a:chExt cx="9286243" cy="6190830"/>
            </a:xfrm>
          </p:grpSpPr>
          <p:pic>
            <p:nvPicPr>
              <p:cNvPr id="160" name="Google Shape;160;p2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 preferRelativeResize="0"/>
              <p:nvPr/>
            </p:nvPicPr>
            <p:blipFill rotWithShape="1">
              <a:blip r:embed="rId2">
                <a:alphaModFix amt="30000"/>
              </a:blip>
              <a:srcRect/>
              <a:stretch/>
            </p:blipFill>
            <p:spPr>
              <a:xfrm>
                <a:off x="5523874" y="-1047201"/>
                <a:ext cx="3762369" cy="3762369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161" name="Google Shape;161;p2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0" y="3028029"/>
                <a:ext cx="3048000" cy="2115600"/>
              </a:xfrm>
              <a:prstGeom prst="rect">
                <a:avLst/>
              </a:prstGeom>
              <a:gradFill>
                <a:gsLst>
                  <a:gs pos="0">
                    <a:srgbClr val="1F9CF0"/>
                  </a:gs>
                  <a:gs pos="2000">
                    <a:srgbClr val="1F9CF0"/>
                  </a:gs>
                  <a:gs pos="100000">
                    <a:srgbClr val="9477E2">
                      <a:alpha val="0"/>
                    </a:srgbClr>
                  </a:gs>
                </a:gsLst>
                <a:lin ang="2700006" scaled="0"/>
              </a:gra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162;p2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3048002" y="3028029"/>
                <a:ext cx="3048000" cy="2115600"/>
              </a:xfrm>
              <a:prstGeom prst="rect">
                <a:avLst/>
              </a:prstGeom>
              <a:gradFill>
                <a:gsLst>
                  <a:gs pos="0">
                    <a:srgbClr val="9477E2">
                      <a:alpha val="20000"/>
                    </a:srgbClr>
                  </a:gs>
                  <a:gs pos="2000">
                    <a:srgbClr val="9477E2">
                      <a:alpha val="20000"/>
                    </a:srgbClr>
                  </a:gs>
                  <a:gs pos="100000">
                    <a:srgbClr val="9477E2">
                      <a:alpha val="0"/>
                    </a:srgbClr>
                  </a:gs>
                </a:gsLst>
                <a:lin ang="2700006" scaled="0"/>
              </a:gra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163;p2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6096004" y="3028029"/>
                <a:ext cx="3048000" cy="2115600"/>
              </a:xfrm>
              <a:prstGeom prst="rect">
                <a:avLst/>
              </a:prstGeom>
              <a:gradFill>
                <a:gsLst>
                  <a:gs pos="0">
                    <a:srgbClr val="352559"/>
                  </a:gs>
                  <a:gs pos="2000">
                    <a:srgbClr val="352559"/>
                  </a:gs>
                  <a:gs pos="100000">
                    <a:srgbClr val="9477E2">
                      <a:alpha val="0"/>
                    </a:srgbClr>
                  </a:gs>
                </a:gsLst>
                <a:lin ang="2700006" scaled="0"/>
              </a:gradFill>
              <a:ln>
                <a:noFill/>
              </a:ln>
            </p:spPr>
            <p:txBody>
              <a:bodyPr spcFirstLastPara="1" wrap="square" lIns="42900" tIns="21450" rIns="42900" bIns="214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800" b="0" i="0">
                  <a:solidFill>
                    <a:schemeClr val="lt1"/>
                  </a:solidFill>
                  <a:latin typeface="Helvetica" pitchFamily="2" charset="0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164" name="Google Shape;164;p2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GrpSpPr/>
              <p:nvPr/>
            </p:nvGrpSpPr>
            <p:grpSpPr>
              <a:xfrm>
                <a:off x="1026526" y="2558754"/>
                <a:ext cx="940705" cy="938664"/>
                <a:chOff x="6104965" y="2265289"/>
                <a:chExt cx="1855800" cy="1855800"/>
              </a:xfrm>
            </p:grpSpPr>
            <p:sp>
              <p:nvSpPr>
                <p:cNvPr id="165" name="Google Shape;165;p20"/>
                <p:cNvSpPr/>
                <p:nvPr/>
              </p:nvSpPr>
              <p:spPr>
                <a:xfrm>
                  <a:off x="6104965" y="2265289"/>
                  <a:ext cx="1855800" cy="1855800"/>
                </a:xfrm>
                <a:prstGeom prst="ellipse">
                  <a:avLst/>
                </a:prstGeom>
                <a:solidFill>
                  <a:srgbClr val="1F9CF0">
                    <a:alpha val="30980"/>
                  </a:srgbClr>
                </a:solidFill>
                <a:ln>
                  <a:noFill/>
                </a:ln>
              </p:spPr>
              <p:txBody>
                <a:bodyPr spcFirstLastPara="1" wrap="square" lIns="42900" tIns="21450" rIns="42900" bIns="2145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800" b="0" i="0">
                    <a:solidFill>
                      <a:schemeClr val="lt1"/>
                    </a:solidFill>
                    <a:latin typeface="Helvetica" pitchFamily="2" charset="0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66" name="Google Shape;166;p20"/>
                <p:cNvSpPr/>
                <p:nvPr/>
              </p:nvSpPr>
              <p:spPr>
                <a:xfrm>
                  <a:off x="6326459" y="2482124"/>
                  <a:ext cx="1422000" cy="1422000"/>
                </a:xfrm>
                <a:prstGeom prst="ellipse">
                  <a:avLst/>
                </a:prstGeom>
                <a:solidFill>
                  <a:srgbClr val="1F9CF0">
                    <a:alpha val="56860"/>
                  </a:srgbClr>
                </a:solidFill>
                <a:ln>
                  <a:noFill/>
                </a:ln>
                <a:effectLst>
                  <a:outerShdw blurRad="889000" dist="50800" dir="5400000" sx="89000" sy="89000" algn="ctr" rotWithShape="0">
                    <a:srgbClr val="000000">
                      <a:alpha val="48630"/>
                    </a:srgbClr>
                  </a:outerShdw>
                </a:effectLst>
              </p:spPr>
              <p:txBody>
                <a:bodyPr spcFirstLastPara="1" wrap="square" lIns="42900" tIns="21450" rIns="42900" bIns="2145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800" b="0" i="0">
                    <a:solidFill>
                      <a:schemeClr val="lt1"/>
                    </a:solidFill>
                    <a:latin typeface="Helvetica" pitchFamily="2" charset="0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67" name="Google Shape;167;p20"/>
                <p:cNvSpPr/>
                <p:nvPr/>
              </p:nvSpPr>
              <p:spPr>
                <a:xfrm>
                  <a:off x="6566834" y="2724359"/>
                  <a:ext cx="942600" cy="942600"/>
                </a:xfrm>
                <a:prstGeom prst="ellipse">
                  <a:avLst/>
                </a:prstGeom>
                <a:solidFill>
                  <a:srgbClr val="1F9CF0"/>
                </a:solidFill>
                <a:ln>
                  <a:noFill/>
                </a:ln>
              </p:spPr>
              <p:txBody>
                <a:bodyPr spcFirstLastPara="1" wrap="square" lIns="42900" tIns="21450" rIns="42900" bIns="2145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800" b="0" i="0">
                    <a:solidFill>
                      <a:schemeClr val="lt1"/>
                    </a:solidFill>
                    <a:latin typeface="Helvetica" pitchFamily="2" charset="0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pic>
            <p:nvPicPr>
              <p:cNvPr id="168" name="Google Shape;168;p2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 preferRelativeResize="0"/>
              <p:nvPr/>
            </p:nvPicPr>
            <p:blipFill rotWithShape="1">
              <a:blip r:embed="rId3">
                <a:alphaModFix/>
              </a:blip>
              <a:srcRect/>
              <a:stretch/>
            </p:blipFill>
            <p:spPr>
              <a:xfrm>
                <a:off x="5550356" y="0"/>
                <a:ext cx="3587500" cy="3028029"/>
              </a:xfrm>
              <a:prstGeom prst="rect">
                <a:avLst/>
              </a:prstGeom>
              <a:noFill/>
              <a:ln>
                <a:noFill/>
              </a:ln>
            </p:spPr>
          </p:pic>
          <p:grpSp>
            <p:nvGrpSpPr>
              <p:cNvPr id="169" name="Google Shape;169;p2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GrpSpPr/>
              <p:nvPr/>
            </p:nvGrpSpPr>
            <p:grpSpPr>
              <a:xfrm>
                <a:off x="4094240" y="2556866"/>
                <a:ext cx="940148" cy="938664"/>
                <a:chOff x="6104965" y="2265289"/>
                <a:chExt cx="1855800" cy="1855800"/>
              </a:xfrm>
            </p:grpSpPr>
            <p:sp>
              <p:nvSpPr>
                <p:cNvPr id="170" name="Google Shape;170;p20"/>
                <p:cNvSpPr/>
                <p:nvPr/>
              </p:nvSpPr>
              <p:spPr>
                <a:xfrm>
                  <a:off x="6104965" y="2265289"/>
                  <a:ext cx="1855800" cy="1855800"/>
                </a:xfrm>
                <a:prstGeom prst="ellipse">
                  <a:avLst/>
                </a:prstGeom>
                <a:solidFill>
                  <a:srgbClr val="9477E2">
                    <a:alpha val="30980"/>
                  </a:srgbClr>
                </a:solidFill>
                <a:ln>
                  <a:noFill/>
                </a:ln>
              </p:spPr>
              <p:txBody>
                <a:bodyPr spcFirstLastPara="1" wrap="square" lIns="42900" tIns="21450" rIns="42900" bIns="21450" anchor="ctr" anchorCtr="0">
                  <a:noAutofit/>
                </a:bodyPr>
                <a:lstStyle/>
                <a:p>
                  <a:pPr marL="0" lvl="0" indent="0" algn="ctr" defTabSz="914400" eaLnBrk="1" fontAlgn="auto" latinLnBrk="0" hangingPunct="1">
                    <a:buClrTx/>
                    <a:buSzTx/>
                    <a:buFontTx/>
                    <a:buNone/>
                    <a:tabLst/>
                  </a:pPr>
                  <a:endParaRPr kumimoji="0" sz="800" kern="0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Helvetica" pitchFamily="2" charset="0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1" name="Google Shape;171;p20"/>
                <p:cNvSpPr/>
                <p:nvPr/>
              </p:nvSpPr>
              <p:spPr>
                <a:xfrm>
                  <a:off x="6326458" y="2482124"/>
                  <a:ext cx="1422000" cy="1422000"/>
                </a:xfrm>
                <a:prstGeom prst="ellipse">
                  <a:avLst/>
                </a:prstGeom>
                <a:solidFill>
                  <a:srgbClr val="9477E2">
                    <a:alpha val="56860"/>
                  </a:srgbClr>
                </a:solidFill>
                <a:ln>
                  <a:noFill/>
                </a:ln>
                <a:effectLst>
                  <a:outerShdw blurRad="889000" dist="50800" dir="5400000" sx="89000" sy="89000" algn="ctr" rotWithShape="0">
                    <a:srgbClr val="000000">
                      <a:alpha val="48630"/>
                    </a:srgbClr>
                  </a:outerShdw>
                </a:effectLst>
              </p:spPr>
              <p:txBody>
                <a:bodyPr spcFirstLastPara="1" wrap="square" lIns="42900" tIns="21450" rIns="42900" bIns="21450" anchor="ctr" anchorCtr="0">
                  <a:noAutofit/>
                </a:bodyPr>
                <a:lstStyle/>
                <a:p>
                  <a:pPr marL="0" lvl="0" indent="0" algn="ctr" defTabSz="914400" eaLnBrk="1" fontAlgn="auto" latinLnBrk="0" hangingPunct="1">
                    <a:buClrTx/>
                    <a:buSzTx/>
                    <a:buFontTx/>
                    <a:buNone/>
                    <a:tabLst/>
                  </a:pPr>
                  <a:endParaRPr kumimoji="0" sz="800" kern="0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Helvetica" pitchFamily="2" charset="0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2" name="Google Shape;172;p20"/>
                <p:cNvSpPr/>
                <p:nvPr/>
              </p:nvSpPr>
              <p:spPr>
                <a:xfrm>
                  <a:off x="6566834" y="2724359"/>
                  <a:ext cx="942600" cy="942600"/>
                </a:xfrm>
                <a:prstGeom prst="ellipse">
                  <a:avLst/>
                </a:prstGeom>
                <a:solidFill>
                  <a:srgbClr val="9477E2"/>
                </a:solidFill>
                <a:ln>
                  <a:noFill/>
                </a:ln>
              </p:spPr>
              <p:txBody>
                <a:bodyPr spcFirstLastPara="1" wrap="square" lIns="42900" tIns="21450" rIns="42900" bIns="21450" anchor="ctr" anchorCtr="0">
                  <a:noAutofit/>
                </a:bodyPr>
                <a:lstStyle/>
                <a:p>
                  <a:pPr marL="0" lvl="0" indent="0" algn="ctr" defTabSz="914400" eaLnBrk="1" fontAlgn="auto" latinLnBrk="0" hangingPunct="1">
                    <a:buClrTx/>
                    <a:buSzTx/>
                    <a:buFontTx/>
                    <a:buNone/>
                    <a:tabLst/>
                  </a:pPr>
                  <a:endParaRPr kumimoji="0" sz="800" kern="0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Helvetica" pitchFamily="2" charset="0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173" name="Google Shape;173;p2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GrpSpPr/>
              <p:nvPr/>
            </p:nvGrpSpPr>
            <p:grpSpPr>
              <a:xfrm>
                <a:off x="7149441" y="2559599"/>
                <a:ext cx="940148" cy="938664"/>
                <a:chOff x="6104965" y="2265289"/>
                <a:chExt cx="1855800" cy="1855800"/>
              </a:xfrm>
            </p:grpSpPr>
            <p:sp>
              <p:nvSpPr>
                <p:cNvPr id="174" name="Google Shape;174;p20"/>
                <p:cNvSpPr/>
                <p:nvPr/>
              </p:nvSpPr>
              <p:spPr>
                <a:xfrm>
                  <a:off x="6104965" y="2265289"/>
                  <a:ext cx="1855800" cy="1855800"/>
                </a:xfrm>
                <a:prstGeom prst="ellipse">
                  <a:avLst/>
                </a:prstGeom>
                <a:solidFill>
                  <a:srgbClr val="8661C5">
                    <a:alpha val="30980"/>
                  </a:srgbClr>
                </a:solidFill>
                <a:ln>
                  <a:noFill/>
                </a:ln>
              </p:spPr>
              <p:txBody>
                <a:bodyPr spcFirstLastPara="1" wrap="square" lIns="42900" tIns="21450" rIns="42900" bIns="2145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800" b="0" i="0">
                    <a:solidFill>
                      <a:schemeClr val="lt1"/>
                    </a:solidFill>
                    <a:latin typeface="Helvetica" pitchFamily="2" charset="0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5" name="Google Shape;175;p20"/>
                <p:cNvSpPr/>
                <p:nvPr/>
              </p:nvSpPr>
              <p:spPr>
                <a:xfrm>
                  <a:off x="6326458" y="2482124"/>
                  <a:ext cx="1422000" cy="1422000"/>
                </a:xfrm>
                <a:prstGeom prst="ellipse">
                  <a:avLst/>
                </a:prstGeom>
                <a:solidFill>
                  <a:srgbClr val="8661C5">
                    <a:alpha val="56860"/>
                  </a:srgbClr>
                </a:solidFill>
                <a:ln>
                  <a:noFill/>
                </a:ln>
                <a:effectLst>
                  <a:outerShdw blurRad="889000" dist="50800" dir="5400000" sx="89000" sy="89000" algn="ctr" rotWithShape="0">
                    <a:srgbClr val="000000">
                      <a:alpha val="48630"/>
                    </a:srgbClr>
                  </a:outerShdw>
                </a:effectLst>
              </p:spPr>
              <p:txBody>
                <a:bodyPr spcFirstLastPara="1" wrap="square" lIns="42900" tIns="21450" rIns="42900" bIns="2145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800" b="0" i="0">
                    <a:solidFill>
                      <a:schemeClr val="lt1"/>
                    </a:solidFill>
                    <a:latin typeface="Helvetica" pitchFamily="2" charset="0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6" name="Google Shape;176;p20"/>
                <p:cNvSpPr/>
                <p:nvPr/>
              </p:nvSpPr>
              <p:spPr>
                <a:xfrm>
                  <a:off x="6566834" y="2724359"/>
                  <a:ext cx="942600" cy="942600"/>
                </a:xfrm>
                <a:prstGeom prst="ellipse">
                  <a:avLst/>
                </a:prstGeom>
                <a:solidFill>
                  <a:srgbClr val="8661C5"/>
                </a:solidFill>
                <a:ln>
                  <a:noFill/>
                </a:ln>
              </p:spPr>
              <p:txBody>
                <a:bodyPr spcFirstLastPara="1" wrap="square" lIns="42900" tIns="21450" rIns="42900" bIns="2145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800" b="0" i="0">
                    <a:solidFill>
                      <a:schemeClr val="lt1"/>
                    </a:solidFill>
                    <a:latin typeface="Helvetica" pitchFamily="2" charset="0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178" name="Google Shape;178;p2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 rot="10800000">
                <a:off x="407925" y="275"/>
                <a:ext cx="73200" cy="2243100"/>
              </a:xfrm>
              <a:prstGeom prst="rect">
                <a:avLst/>
              </a:prstGeom>
              <a:gradFill>
                <a:gsLst>
                  <a:gs pos="0">
                    <a:srgbClr val="D59DFF"/>
                  </a:gs>
                  <a:gs pos="100000">
                    <a:srgbClr val="28AFEA"/>
                  </a:gs>
                </a:gsLst>
                <a:lin ang="5400012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b="0" i="0">
                  <a:latin typeface="Helvetica" pitchFamily="2" charset="0"/>
                </a:endParaRPr>
              </a:p>
            </p:txBody>
          </p:sp>
        </p:grpSp>
      </p:grpSp>
      <p:sp>
        <p:nvSpPr>
          <p:cNvPr id="32" name="Google Shape;120;p18">
            <a:extLst>
              <a:ext uri="{FF2B5EF4-FFF2-40B4-BE49-F238E27FC236}">
                <a16:creationId xmlns:a16="http://schemas.microsoft.com/office/drawing/2014/main" id="{E7A6AB27-0469-C841-892F-B81BA63227C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95528" y="932688"/>
            <a:ext cx="3511200" cy="13443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1700"/>
              <a:buNone/>
              <a:defRPr sz="1700" b="0" i="0">
                <a:latin typeface="Helvetica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9" name="Google Shape;179;p20"/>
          <p:cNvSpPr txBox="1">
            <a:spLocks noGrp="1"/>
          </p:cNvSpPr>
          <p:nvPr>
            <p:ph type="subTitle" idx="1"/>
          </p:nvPr>
        </p:nvSpPr>
        <p:spPr>
          <a:xfrm>
            <a:off x="804672" y="548640"/>
            <a:ext cx="3026700" cy="1554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000"/>
              <a:buNone/>
              <a:defRPr/>
            </a:lvl9pPr>
          </a:lstStyle>
          <a:p>
            <a:endParaRPr lang="en-US"/>
          </a:p>
        </p:txBody>
      </p:sp>
      <p:sp>
        <p:nvSpPr>
          <p:cNvPr id="33" name="Google Shape;122;p18">
            <a:extLst>
              <a:ext uri="{FF2B5EF4-FFF2-40B4-BE49-F238E27FC236}">
                <a16:creationId xmlns:a16="http://schemas.microsoft.com/office/drawing/2014/main" id="{CCD79018-57BD-894A-9B47-70A12FA8EE6C}"/>
              </a:ext>
            </a:extLst>
          </p:cNvPr>
          <p:cNvSpPr>
            <a:spLocks noGrp="1"/>
          </p:cNvSpPr>
          <p:nvPr>
            <p:ph type="pic" idx="23"/>
          </p:nvPr>
        </p:nvSpPr>
        <p:spPr>
          <a:xfrm>
            <a:off x="1317953" y="2849161"/>
            <a:ext cx="357851" cy="357851"/>
          </a:xfrm>
          <a:prstGeom prst="ellipse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300"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185" name="Google Shape;185;p20"/>
          <p:cNvSpPr txBox="1">
            <a:spLocks noGrp="1"/>
          </p:cNvSpPr>
          <p:nvPr>
            <p:ph type="body" idx="7"/>
          </p:nvPr>
        </p:nvSpPr>
        <p:spPr>
          <a:xfrm>
            <a:off x="677946" y="3657600"/>
            <a:ext cx="1679772" cy="2196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 b="1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92100">
              <a:spcBef>
                <a:spcPts val="0"/>
              </a:spcBef>
              <a:spcAft>
                <a:spcPts val="0"/>
              </a:spcAft>
              <a:buSzPts val="1000"/>
              <a:buChar char="○"/>
              <a:defRPr/>
            </a:lvl2pPr>
            <a:lvl3pPr marL="1371600" lvl="2" indent="-292100">
              <a:spcBef>
                <a:spcPts val="0"/>
              </a:spcBef>
              <a:spcAft>
                <a:spcPts val="0"/>
              </a:spcAft>
              <a:buSzPts val="1000"/>
              <a:buChar char="■"/>
              <a:defRPr/>
            </a:lvl3pPr>
            <a:lvl4pPr marL="1828800" lvl="3" indent="-292100">
              <a:spcBef>
                <a:spcPts val="0"/>
              </a:spcBef>
              <a:spcAft>
                <a:spcPts val="0"/>
              </a:spcAft>
              <a:buSzPts val="1000"/>
              <a:buChar char="●"/>
              <a:defRPr/>
            </a:lvl4pPr>
            <a:lvl5pPr marL="2286000" lvl="4" indent="-292100">
              <a:spcBef>
                <a:spcPts val="0"/>
              </a:spcBef>
              <a:spcAft>
                <a:spcPts val="0"/>
              </a:spcAft>
              <a:buSzPts val="1000"/>
              <a:buChar char="○"/>
              <a:defRPr/>
            </a:lvl5pPr>
            <a:lvl6pPr marL="2743200" lvl="5" indent="-292100">
              <a:spcBef>
                <a:spcPts val="0"/>
              </a:spcBef>
              <a:spcAft>
                <a:spcPts val="0"/>
              </a:spcAft>
              <a:buSzPts val="1000"/>
              <a:buChar char="■"/>
              <a:defRPr/>
            </a:lvl6pPr>
            <a:lvl7pPr marL="3200400" lvl="6" indent="-292100">
              <a:spcBef>
                <a:spcPts val="0"/>
              </a:spcBef>
              <a:spcAft>
                <a:spcPts val="0"/>
              </a:spcAft>
              <a:buSzPts val="1000"/>
              <a:buChar char="●"/>
              <a:defRPr/>
            </a:lvl7pPr>
            <a:lvl8pPr marL="3657600" lvl="7" indent="-292100">
              <a:spcBef>
                <a:spcPts val="0"/>
              </a:spcBef>
              <a:spcAft>
                <a:spcPts val="0"/>
              </a:spcAft>
              <a:buSzPts val="1000"/>
              <a:buChar char="○"/>
              <a:defRPr/>
            </a:lvl8pPr>
            <a:lvl9pPr marL="4114800" lvl="8" indent="-292100">
              <a:spcBef>
                <a:spcPts val="0"/>
              </a:spcBef>
              <a:spcAft>
                <a:spcPts val="0"/>
              </a:spcAft>
              <a:buSzPts val="1000"/>
              <a:buChar char="■"/>
              <a:defRPr/>
            </a:lvl9pPr>
          </a:lstStyle>
          <a:p>
            <a:endParaRPr/>
          </a:p>
        </p:txBody>
      </p:sp>
      <p:sp>
        <p:nvSpPr>
          <p:cNvPr id="184" name="Google Shape;184;p20"/>
          <p:cNvSpPr txBox="1">
            <a:spLocks noGrp="1"/>
          </p:cNvSpPr>
          <p:nvPr>
            <p:ph type="body" idx="6"/>
          </p:nvPr>
        </p:nvSpPr>
        <p:spPr>
          <a:xfrm>
            <a:off x="502920" y="3913632"/>
            <a:ext cx="2048400" cy="8139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914400" lvl="1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34" name="Google Shape;122;p18">
            <a:extLst>
              <a:ext uri="{FF2B5EF4-FFF2-40B4-BE49-F238E27FC236}">
                <a16:creationId xmlns:a16="http://schemas.microsoft.com/office/drawing/2014/main" id="{3821B06F-3407-5C43-AD89-CD938462AD20}"/>
              </a:ext>
            </a:extLst>
          </p:cNvPr>
          <p:cNvSpPr>
            <a:spLocks noGrp="1"/>
          </p:cNvSpPr>
          <p:nvPr>
            <p:ph type="pic" idx="24"/>
          </p:nvPr>
        </p:nvSpPr>
        <p:spPr>
          <a:xfrm>
            <a:off x="4385389" y="2847273"/>
            <a:ext cx="357851" cy="357851"/>
          </a:xfrm>
          <a:prstGeom prst="ellipse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300"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187" name="Google Shape;187;p20"/>
          <p:cNvSpPr txBox="1">
            <a:spLocks noGrp="1"/>
          </p:cNvSpPr>
          <p:nvPr>
            <p:ph type="body" idx="9"/>
          </p:nvPr>
        </p:nvSpPr>
        <p:spPr>
          <a:xfrm>
            <a:off x="3547584" y="3657600"/>
            <a:ext cx="2048688" cy="2196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 b="1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92100" rtl="0">
              <a:spcBef>
                <a:spcPts val="0"/>
              </a:spcBef>
              <a:spcAft>
                <a:spcPts val="0"/>
              </a:spcAft>
              <a:buSzPts val="1000"/>
              <a:buChar char="○"/>
              <a:defRPr/>
            </a:lvl2pPr>
            <a:lvl3pPr marL="1371600" lvl="2" indent="-292100" rtl="0">
              <a:spcBef>
                <a:spcPts val="0"/>
              </a:spcBef>
              <a:spcAft>
                <a:spcPts val="0"/>
              </a:spcAft>
              <a:buSzPts val="1000"/>
              <a:buChar char="■"/>
              <a:defRPr/>
            </a:lvl3pPr>
            <a:lvl4pPr marL="1828800" lvl="3" indent="-292100" rtl="0">
              <a:spcBef>
                <a:spcPts val="0"/>
              </a:spcBef>
              <a:spcAft>
                <a:spcPts val="0"/>
              </a:spcAft>
              <a:buSzPts val="1000"/>
              <a:buChar char="●"/>
              <a:defRPr/>
            </a:lvl4pPr>
            <a:lvl5pPr marL="2286000" lvl="4" indent="-292100" rtl="0">
              <a:spcBef>
                <a:spcPts val="0"/>
              </a:spcBef>
              <a:spcAft>
                <a:spcPts val="0"/>
              </a:spcAft>
              <a:buSzPts val="1000"/>
              <a:buChar char="○"/>
              <a:defRPr/>
            </a:lvl5pPr>
            <a:lvl6pPr marL="2743200" lvl="5" indent="-292100" rtl="0">
              <a:spcBef>
                <a:spcPts val="0"/>
              </a:spcBef>
              <a:spcAft>
                <a:spcPts val="0"/>
              </a:spcAft>
              <a:buSzPts val="1000"/>
              <a:buChar char="■"/>
              <a:defRPr/>
            </a:lvl6pPr>
            <a:lvl7pPr marL="3200400" lvl="6" indent="-292100" rtl="0">
              <a:spcBef>
                <a:spcPts val="0"/>
              </a:spcBef>
              <a:spcAft>
                <a:spcPts val="0"/>
              </a:spcAft>
              <a:buSzPts val="1000"/>
              <a:buChar char="●"/>
              <a:defRPr/>
            </a:lvl7pPr>
            <a:lvl8pPr marL="3657600" lvl="7" indent="-292100" rtl="0">
              <a:spcBef>
                <a:spcPts val="0"/>
              </a:spcBef>
              <a:spcAft>
                <a:spcPts val="0"/>
              </a:spcAft>
              <a:buSzPts val="1000"/>
              <a:buChar char="○"/>
              <a:defRPr/>
            </a:lvl8pPr>
            <a:lvl9pPr marL="4114800" lvl="8" indent="-292100" rtl="0">
              <a:spcBef>
                <a:spcPts val="0"/>
              </a:spcBef>
              <a:spcAft>
                <a:spcPts val="0"/>
              </a:spcAft>
              <a:buSzPts val="1000"/>
              <a:buChar char="■"/>
              <a:defRPr/>
            </a:lvl9pPr>
          </a:lstStyle>
          <a:p>
            <a:endParaRPr/>
          </a:p>
        </p:txBody>
      </p:sp>
      <p:sp>
        <p:nvSpPr>
          <p:cNvPr id="186" name="Google Shape;186;p20"/>
          <p:cNvSpPr txBox="1">
            <a:spLocks noGrp="1"/>
          </p:cNvSpPr>
          <p:nvPr>
            <p:ph type="body" idx="8"/>
          </p:nvPr>
        </p:nvSpPr>
        <p:spPr>
          <a:xfrm>
            <a:off x="3547872" y="3913632"/>
            <a:ext cx="2048400" cy="8139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914400" lvl="1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35" name="Google Shape;122;p18">
            <a:extLst>
              <a:ext uri="{FF2B5EF4-FFF2-40B4-BE49-F238E27FC236}">
                <a16:creationId xmlns:a16="http://schemas.microsoft.com/office/drawing/2014/main" id="{86A4FF54-90AF-1547-A759-FE79ACB06627}"/>
              </a:ext>
            </a:extLst>
          </p:cNvPr>
          <p:cNvSpPr>
            <a:spLocks noGrp="1"/>
          </p:cNvSpPr>
          <p:nvPr>
            <p:ph type="pic" idx="25"/>
          </p:nvPr>
        </p:nvSpPr>
        <p:spPr>
          <a:xfrm>
            <a:off x="7440590" y="2850006"/>
            <a:ext cx="357851" cy="357851"/>
          </a:xfrm>
          <a:prstGeom prst="ellipse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300" b="0" i="0"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189" name="Google Shape;189;p20"/>
          <p:cNvSpPr txBox="1">
            <a:spLocks noGrp="1"/>
          </p:cNvSpPr>
          <p:nvPr>
            <p:ph type="body" idx="14"/>
          </p:nvPr>
        </p:nvSpPr>
        <p:spPr>
          <a:xfrm>
            <a:off x="6663501" y="3666744"/>
            <a:ext cx="1906758" cy="2196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 b="1" i="0">
                <a:solidFill>
                  <a:schemeClr val="bg1"/>
                </a:solidFill>
                <a:latin typeface="Helvetica" pitchFamily="2" charset="0"/>
              </a:defRPr>
            </a:lvl1pPr>
            <a:lvl2pPr marL="914400" lvl="1" indent="-292100" rtl="0">
              <a:spcBef>
                <a:spcPts val="0"/>
              </a:spcBef>
              <a:spcAft>
                <a:spcPts val="0"/>
              </a:spcAft>
              <a:buSzPts val="1000"/>
              <a:buChar char="○"/>
              <a:defRPr/>
            </a:lvl2pPr>
            <a:lvl3pPr marL="1371600" lvl="2" indent="-292100" rtl="0">
              <a:spcBef>
                <a:spcPts val="0"/>
              </a:spcBef>
              <a:spcAft>
                <a:spcPts val="0"/>
              </a:spcAft>
              <a:buSzPts val="1000"/>
              <a:buChar char="■"/>
              <a:defRPr/>
            </a:lvl3pPr>
            <a:lvl4pPr marL="1828800" lvl="3" indent="-292100" rtl="0">
              <a:spcBef>
                <a:spcPts val="0"/>
              </a:spcBef>
              <a:spcAft>
                <a:spcPts val="0"/>
              </a:spcAft>
              <a:buSzPts val="1000"/>
              <a:buChar char="●"/>
              <a:defRPr/>
            </a:lvl4pPr>
            <a:lvl5pPr marL="2286000" lvl="4" indent="-292100" rtl="0">
              <a:spcBef>
                <a:spcPts val="0"/>
              </a:spcBef>
              <a:spcAft>
                <a:spcPts val="0"/>
              </a:spcAft>
              <a:buSzPts val="1000"/>
              <a:buChar char="○"/>
              <a:defRPr/>
            </a:lvl5pPr>
            <a:lvl6pPr marL="2743200" lvl="5" indent="-292100" rtl="0">
              <a:spcBef>
                <a:spcPts val="0"/>
              </a:spcBef>
              <a:spcAft>
                <a:spcPts val="0"/>
              </a:spcAft>
              <a:buSzPts val="1000"/>
              <a:buChar char="■"/>
              <a:defRPr/>
            </a:lvl6pPr>
            <a:lvl7pPr marL="3200400" lvl="6" indent="-292100" rtl="0">
              <a:spcBef>
                <a:spcPts val="0"/>
              </a:spcBef>
              <a:spcAft>
                <a:spcPts val="0"/>
              </a:spcAft>
              <a:buSzPts val="1000"/>
              <a:buChar char="●"/>
              <a:defRPr/>
            </a:lvl7pPr>
            <a:lvl8pPr marL="3657600" lvl="7" indent="-292100" rtl="0">
              <a:spcBef>
                <a:spcPts val="0"/>
              </a:spcBef>
              <a:spcAft>
                <a:spcPts val="0"/>
              </a:spcAft>
              <a:buSzPts val="1000"/>
              <a:buChar char="○"/>
              <a:defRPr/>
            </a:lvl8pPr>
            <a:lvl9pPr marL="4114800" lvl="8" indent="-292100" rtl="0">
              <a:spcBef>
                <a:spcPts val="0"/>
              </a:spcBef>
              <a:spcAft>
                <a:spcPts val="0"/>
              </a:spcAft>
              <a:buSzPts val="1000"/>
              <a:buChar char="■"/>
              <a:defRPr/>
            </a:lvl9pPr>
          </a:lstStyle>
          <a:p>
            <a:endParaRPr/>
          </a:p>
        </p:txBody>
      </p:sp>
      <p:sp>
        <p:nvSpPr>
          <p:cNvPr id="188" name="Google Shape;188;p20"/>
          <p:cNvSpPr txBox="1">
            <a:spLocks noGrp="1"/>
          </p:cNvSpPr>
          <p:nvPr>
            <p:ph type="body" idx="13"/>
          </p:nvPr>
        </p:nvSpPr>
        <p:spPr>
          <a:xfrm>
            <a:off x="6592670" y="3922776"/>
            <a:ext cx="2048400" cy="8139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>
                <a:latin typeface="Helvetica" pitchFamily="2" charset="0"/>
              </a:defRPr>
            </a:lvl1pPr>
            <a:lvl2pPr marL="914400" lvl="1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2pPr>
            <a:lvl3pPr marL="1371600" lvl="2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3pPr>
            <a:lvl4pPr marL="1828800" lvl="3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4pPr>
            <a:lvl5pPr marL="2286000" lvl="4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5pPr>
            <a:lvl6pPr marL="2743200" lvl="5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6pPr>
            <a:lvl7pPr marL="3200400" lvl="6" indent="-279400" rtl="0">
              <a:spcBef>
                <a:spcPts val="0"/>
              </a:spcBef>
              <a:spcAft>
                <a:spcPts val="0"/>
              </a:spcAft>
              <a:buSzPts val="800"/>
              <a:buChar char="●"/>
              <a:defRPr sz="800"/>
            </a:lvl7pPr>
            <a:lvl8pPr marL="3657600" lvl="7" indent="-279400" rtl="0">
              <a:spcBef>
                <a:spcPts val="0"/>
              </a:spcBef>
              <a:spcAft>
                <a:spcPts val="0"/>
              </a:spcAft>
              <a:buSzPts val="800"/>
              <a:buChar char="○"/>
              <a:defRPr sz="800"/>
            </a:lvl8pPr>
            <a:lvl9pPr marL="4114800" lvl="8" indent="-279400" rtl="0">
              <a:spcBef>
                <a:spcPts val="0"/>
              </a:spcBef>
              <a:spcAft>
                <a:spcPts val="0"/>
              </a:spcAft>
              <a:buSzPts val="800"/>
              <a:buChar char="■"/>
              <a:defRPr sz="800"/>
            </a:lvl9pPr>
          </a:lstStyle>
          <a:p>
            <a:endParaRPr/>
          </a:p>
        </p:txBody>
      </p:sp>
      <p:sp>
        <p:nvSpPr>
          <p:cNvPr id="36" name="Google Shape;268;p27">
            <a:extLst>
              <a:ext uri="{FF2B5EF4-FFF2-40B4-BE49-F238E27FC236}">
                <a16:creationId xmlns:a16="http://schemas.microsoft.com/office/drawing/2014/main" id="{7E4BF4A8-E0B6-8242-AC99-775A759DE1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450166" y="4900823"/>
            <a:ext cx="3595800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500" b="0" i="0">
                <a:solidFill>
                  <a:schemeClr val="lt1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‹#›</a:t>
            </a:fld>
            <a:endParaRPr sz="500" b="0" i="0">
              <a:solidFill>
                <a:schemeClr val="lt1"/>
              </a:solidFill>
              <a:latin typeface="Helvetica" pitchFamily="2" charset="0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4" name="Google Shape;67;p15">
            <a:extLst>
              <a:ext uri="{FF2B5EF4-FFF2-40B4-BE49-F238E27FC236}">
                <a16:creationId xmlns:a16="http://schemas.microsoft.com/office/drawing/2014/main" id="{E61066E1-893A-D804-CFC6-67902A5668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09600" y="4782911"/>
            <a:ext cx="8533703" cy="0"/>
          </a:xfrm>
          <a:prstGeom prst="straightConnector1">
            <a:avLst/>
          </a:prstGeom>
          <a:noFill/>
          <a:ln w="12700" cap="flat" cmpd="sng">
            <a:solidFill>
              <a:srgbClr val="62759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" name="Google Shape;56;p14">
            <a:extLst>
              <a:ext uri="{FF2B5EF4-FFF2-40B4-BE49-F238E27FC236}">
                <a16:creationId xmlns:a16="http://schemas.microsoft.com/office/drawing/2014/main" id="{7162BEEA-94BC-E709-B33E-D895422DA576}"/>
              </a:ext>
            </a:extLst>
          </p:cNvPr>
          <p:cNvSpPr/>
          <p:nvPr userDrawn="1"/>
        </p:nvSpPr>
        <p:spPr>
          <a:xfrm>
            <a:off x="569084" y="4900823"/>
            <a:ext cx="5054476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2900" tIns="21450" rIns="42900" bIns="21450" anchor="t" anchorCtr="0">
            <a:noAutofit/>
          </a:bodyPr>
          <a:lstStyle/>
          <a:p>
            <a:pPr marL="0" marR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 b="0" i="0" u="none" strike="noStrike" kern="1200" cap="none" spc="600" dirty="0">
                <a:solidFill>
                  <a:srgbClr val="627597"/>
                </a:solidFill>
                <a:latin typeface="Helvetica" pitchFamily="2" charset="0"/>
                <a:ea typeface="Helvetica Neue"/>
                <a:cs typeface="Helvetica Neue"/>
                <a:sym typeface="Helvetica Neue"/>
              </a:rPr>
              <a:t>5 THINGS YOU CAN DO WITH GITHUB COPILOT</a:t>
            </a:r>
            <a:endParaRPr lang="en-US" sz="500" b="0" i="0" u="none" strike="noStrike" kern="1200" cap="none" spc="600" dirty="0">
              <a:solidFill>
                <a:srgbClr val="627597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82729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ubsection Cover E" preserve="1">
  <p:cSld name="Subsection Cover E"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EAB10C81-7E96-8DBC-D29F-80FF1F4E4F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-25"/>
            <a:ext cx="10671924" cy="7690782"/>
            <a:chOff x="0" y="-25"/>
            <a:chExt cx="10671924" cy="7690782"/>
          </a:xfrm>
        </p:grpSpPr>
        <p:pic>
          <p:nvPicPr>
            <p:cNvPr id="191" name="Google Shape;191;p21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 rotWithShape="1">
            <a:blip r:embed="rId2">
              <a:alphaModFix/>
            </a:blip>
            <a:srcRect l="17695" t="23177" b="8771"/>
            <a:stretch/>
          </p:blipFill>
          <p:spPr>
            <a:xfrm>
              <a:off x="0" y="-25"/>
              <a:ext cx="6961777" cy="514349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2" name="Google Shape;192;p21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 rotWithShape="1">
            <a:blip r:embed="rId3">
              <a:alphaModFix amt="30000"/>
            </a:blip>
            <a:srcRect/>
            <a:stretch/>
          </p:blipFill>
          <p:spPr>
            <a:xfrm>
              <a:off x="6909555" y="1122319"/>
              <a:ext cx="3762369" cy="376236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3" name="Google Shape;193;p21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 preferRelativeResize="0"/>
            <p:nvPr/>
          </p:nvPicPr>
          <p:blipFill rotWithShape="1">
            <a:blip r:embed="rId3">
              <a:alphaModFix amt="30000"/>
            </a:blip>
            <a:srcRect/>
            <a:stretch/>
          </p:blipFill>
          <p:spPr>
            <a:xfrm>
              <a:off x="1022198" y="3928388"/>
              <a:ext cx="3762369" cy="376236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94" name="Google Shape;194;p21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 rot="10800000">
              <a:off x="998900" y="-25"/>
              <a:ext cx="73200" cy="31794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i="0">
                <a:latin typeface="Helvetica" pitchFamily="2" charset="0"/>
              </a:endParaRPr>
            </a:p>
          </p:txBody>
        </p:sp>
        <p:cxnSp>
          <p:nvCxnSpPr>
            <p:cNvPr id="195" name="Google Shape;195;p21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>
            <a:xfrm>
              <a:off x="1264320" y="1478529"/>
              <a:ext cx="2070300" cy="0"/>
            </a:xfrm>
            <a:prstGeom prst="straightConnector1">
              <a:avLst/>
            </a:prstGeom>
            <a:noFill/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196" name="Google Shape;196;p21"/>
          <p:cNvSpPr txBox="1">
            <a:spLocks noGrp="1"/>
          </p:cNvSpPr>
          <p:nvPr>
            <p:ph type="title"/>
          </p:nvPr>
        </p:nvSpPr>
        <p:spPr>
          <a:xfrm>
            <a:off x="1225300" y="1720400"/>
            <a:ext cx="4023300" cy="2202600"/>
          </a:xfrm>
          <a:prstGeom prst="rect">
            <a:avLst/>
          </a:prstGeom>
        </p:spPr>
        <p:txBody>
          <a:bodyPr spcFirstLastPara="1" wrap="square" lIns="45700" tIns="18275" rIns="45700" bIns="182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400"/>
              <a:buNone/>
              <a:defRPr b="1" i="0">
                <a:latin typeface="Helvetica" pitchFamily="2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7" name="Google Shape;197;p21"/>
          <p:cNvSpPr txBox="1">
            <a:spLocks noGrp="1"/>
          </p:cNvSpPr>
          <p:nvPr>
            <p:ph type="subTitle" idx="1"/>
          </p:nvPr>
        </p:nvSpPr>
        <p:spPr>
          <a:xfrm>
            <a:off x="1225296" y="1008000"/>
            <a:ext cx="4023300" cy="436704"/>
          </a:xfrm>
          <a:prstGeom prst="rect">
            <a:avLst/>
          </a:prstGeom>
        </p:spPr>
        <p:txBody>
          <a:bodyPr spcFirstLastPara="1" wrap="square" lIns="45700" tIns="18275" rIns="45700" bIns="18275" anchor="b" anchorCtr="0">
            <a:noAutofit/>
          </a:bodyPr>
          <a:lstStyle>
            <a:lvl1pPr>
              <a:defRPr sz="1600" dirty="0">
                <a:solidFill>
                  <a:schemeClr val="lt1"/>
                </a:solidFill>
              </a:defRPr>
            </a:lvl1pPr>
          </a:lstStyle>
          <a:p>
            <a:pPr marL="0" lvl="0">
              <a:buClr>
                <a:schemeClr val="lt1"/>
              </a:buClr>
              <a:buSzPts val="8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080676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rgbClr val="2E3252"/>
            </a:gs>
            <a:gs pos="2000">
              <a:srgbClr val="2E3252"/>
            </a:gs>
            <a:gs pos="100000">
              <a:srgbClr val="161828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316AFC-6BD9-0FA2-F90B-B66F2327B7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2670334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7" imgW="306" imgH="306" progId="TCLayout.ActiveDocument.1">
                  <p:embed/>
                </p:oleObj>
              </mc:Choice>
              <mc:Fallback>
                <p:oleObj name="think-cell Slide" r:id="rId47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316AFC-6BD9-0FA2-F90B-B66F2327B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627856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anchor="ctr" anchorCtr="0">
            <a:noAutofit/>
          </a:bodyPr>
          <a:lstStyle/>
          <a:p>
            <a:pPr marR="0"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Helvetica Neue"/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083469"/>
            <a:ext cx="7886700" cy="32635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12057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9" r:id="rId1"/>
    <p:sldLayoutId id="2147484020" r:id="rId2"/>
    <p:sldLayoutId id="2147484021" r:id="rId3"/>
    <p:sldLayoutId id="2147484022" r:id="rId4"/>
    <p:sldLayoutId id="2147484023" r:id="rId5"/>
    <p:sldLayoutId id="2147484024" r:id="rId6"/>
    <p:sldLayoutId id="2147484025" r:id="rId7"/>
    <p:sldLayoutId id="2147484026" r:id="rId8"/>
    <p:sldLayoutId id="2147484027" r:id="rId9"/>
    <p:sldLayoutId id="2147484028" r:id="rId10"/>
    <p:sldLayoutId id="2147484029" r:id="rId11"/>
    <p:sldLayoutId id="2147484030" r:id="rId12"/>
    <p:sldLayoutId id="2147484031" r:id="rId13"/>
    <p:sldLayoutId id="2147484032" r:id="rId14"/>
    <p:sldLayoutId id="2147484033" r:id="rId15"/>
    <p:sldLayoutId id="2147484034" r:id="rId16"/>
    <p:sldLayoutId id="2147484035" r:id="rId17"/>
    <p:sldLayoutId id="2147484036" r:id="rId18"/>
    <p:sldLayoutId id="2147484037" r:id="rId19"/>
    <p:sldLayoutId id="2147484038" r:id="rId20"/>
    <p:sldLayoutId id="2147484039" r:id="rId21"/>
    <p:sldLayoutId id="2147484040" r:id="rId22"/>
    <p:sldLayoutId id="2147484041" r:id="rId23"/>
    <p:sldLayoutId id="2147484042" r:id="rId24"/>
    <p:sldLayoutId id="2147484043" r:id="rId25"/>
    <p:sldLayoutId id="2147484044" r:id="rId26"/>
    <p:sldLayoutId id="2147484045" r:id="rId27"/>
    <p:sldLayoutId id="2147484046" r:id="rId28"/>
    <p:sldLayoutId id="2147484047" r:id="rId29"/>
    <p:sldLayoutId id="2147484048" r:id="rId30"/>
    <p:sldLayoutId id="2147484049" r:id="rId31"/>
    <p:sldLayoutId id="2147484050" r:id="rId32"/>
    <p:sldLayoutId id="2147484051" r:id="rId33"/>
    <p:sldLayoutId id="2147484052" r:id="rId34"/>
    <p:sldLayoutId id="2147484053" r:id="rId35"/>
    <p:sldLayoutId id="2147484054" r:id="rId36"/>
    <p:sldLayoutId id="2147484055" r:id="rId37"/>
    <p:sldLayoutId id="2147484056" r:id="rId38"/>
    <p:sldLayoutId id="2147484057" r:id="rId39"/>
    <p:sldLayoutId id="2147484058" r:id="rId40"/>
    <p:sldLayoutId id="2147484059" r:id="rId41"/>
    <p:sldLayoutId id="2147484060" r:id="rId42"/>
    <p:sldLayoutId id="2147484061" r:id="rId43"/>
    <p:sldLayoutId id="2147484062" r:id="rId44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en-US" sz="3400" b="1" i="0" u="none" strike="noStrike" kern="1200" cap="none" dirty="0">
          <a:solidFill>
            <a:schemeClr val="lt1"/>
          </a:solidFill>
          <a:latin typeface="+mn-lt"/>
          <a:ea typeface="+mj-ea"/>
          <a:cs typeface="+mj-cs"/>
          <a:sym typeface="Arial"/>
        </a:defRPr>
      </a:lvl1pPr>
    </p:titleStyle>
    <p:bodyStyle>
      <a:lvl1pPr marL="190500" indent="-190500" algn="l" defTabSz="6858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569913" indent="-227013" algn="l" defTabSz="685800" rtl="0" eaLnBrk="1" latinLnBrk="0" hangingPunct="1">
        <a:lnSpc>
          <a:spcPct val="100000"/>
        </a:lnSpc>
        <a:spcBef>
          <a:spcPts val="600"/>
        </a:spcBef>
        <a:buFont typeface="Helvetica" panose="020B0604020202030204" pitchFamily="34" charset="0"/>
        <a:buChar char="–"/>
        <a:defRPr sz="1800" kern="1200">
          <a:solidFill>
            <a:schemeClr val="bg1"/>
          </a:solidFill>
          <a:latin typeface="+mn-lt"/>
          <a:ea typeface="+mn-ea"/>
          <a:cs typeface="+mn-cs"/>
        </a:defRPr>
      </a:lvl2pPr>
      <a:lvl3pPr marL="920750" indent="-234950" algn="l" defTabSz="685800" rtl="0" eaLnBrk="1" latinLnBrk="0" hangingPunct="1">
        <a:lnSpc>
          <a:spcPct val="100000"/>
        </a:lnSpc>
        <a:spcBef>
          <a:spcPts val="600"/>
        </a:spcBef>
        <a:buFont typeface="Courier New" panose="02070309020205020404" pitchFamily="49" charset="0"/>
        <a:buChar char="o"/>
        <a:defRPr sz="1600" kern="1200">
          <a:solidFill>
            <a:schemeClr val="bg1"/>
          </a:solidFill>
          <a:latin typeface="+mn-lt"/>
          <a:ea typeface="+mn-ea"/>
          <a:cs typeface="+mn-cs"/>
        </a:defRPr>
      </a:lvl3pPr>
      <a:lvl4pPr marL="1230313" indent="-180975" algn="l" defTabSz="685800" rtl="0" eaLnBrk="1" latinLnBrk="0" hangingPunct="1">
        <a:lnSpc>
          <a:spcPct val="100000"/>
        </a:lnSpc>
        <a:spcBef>
          <a:spcPts val="600"/>
        </a:spcBef>
        <a:buFont typeface="Wingdings" panose="05000000000000000000" pitchFamily="2" charset="2"/>
        <a:buChar char="§"/>
        <a:defRPr sz="1400" kern="1200">
          <a:solidFill>
            <a:schemeClr val="bg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bg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">
          <p15:clr>
            <a:srgbClr val="F26B43"/>
          </p15:clr>
        </p15:guide>
        <p15:guide id="3" pos="537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linkedin.com/in/dscottraynsford/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8.xml"/><Relationship Id="rId5" Type="http://schemas.openxmlformats.org/officeDocument/2006/relationships/image" Target="../media/image27.svg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28.png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9.xml"/><Relationship Id="rId5" Type="http://schemas.openxmlformats.org/officeDocument/2006/relationships/image" Target="../media/image24.png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9.xml"/><Relationship Id="rId5" Type="http://schemas.openxmlformats.org/officeDocument/2006/relationships/image" Target="../media/image27.svg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9.xml"/><Relationship Id="rId5" Type="http://schemas.openxmlformats.org/officeDocument/2006/relationships/image" Target="../media/image27.svg"/><Relationship Id="rId4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9.xml"/><Relationship Id="rId5" Type="http://schemas.openxmlformats.org/officeDocument/2006/relationships/image" Target="../media/image27.svg"/><Relationship Id="rId4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9.xml"/><Relationship Id="rId5" Type="http://schemas.openxmlformats.org/officeDocument/2006/relationships/image" Target="../media/image27.svg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4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6" name="Google Shape;4116;p372"/>
          <p:cNvSpPr txBox="1">
            <a:spLocks noGrp="1"/>
          </p:cNvSpPr>
          <p:nvPr>
            <p:ph type="title"/>
          </p:nvPr>
        </p:nvSpPr>
        <p:spPr/>
        <p:txBody>
          <a:bodyPr spcFirstLastPara="1" wrap="square" lIns="0" tIns="0" rIns="0" bIns="0" anchor="t" anchorCtr="0">
            <a:noAutofit/>
          </a:bodyPr>
          <a:lstStyle/>
          <a:p>
            <a:pPr lvl="0"/>
            <a:r>
              <a:rPr lang="en-US" sz="4800" dirty="0"/>
              <a:t>5 things you can do with GitHub Copilot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0DB4D5D-EB3A-5AF7-047A-1497B226D02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 anchor="b"/>
          <a:lstStyle/>
          <a:p>
            <a:pPr algn="r"/>
            <a:r>
              <a:rPr lang="en-NZ" sz="1200" dirty="0"/>
              <a:t>Daniel Scott-Raynsford</a:t>
            </a:r>
          </a:p>
          <a:p>
            <a:pPr algn="r"/>
            <a:r>
              <a:rPr lang="en-NZ" sz="1200" dirty="0"/>
              <a:t>Sr. Solution Architect, AI &amp; Data | Microsoft</a:t>
            </a:r>
          </a:p>
          <a:p>
            <a:pPr algn="r"/>
            <a:r>
              <a:rPr lang="en-NZ" sz="1200" dirty="0">
                <a:hlinkClick r:id="rId4"/>
              </a:rPr>
              <a:t>https://www.linkedin.com/in/dscottraynsford/</a:t>
            </a:r>
            <a:endParaRPr lang="en-NZ" sz="12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4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oogle Shape;427;p33">
            <a:extLst>
              <a:ext uri="{FF2B5EF4-FFF2-40B4-BE49-F238E27FC236}">
                <a16:creationId xmlns:a16="http://schemas.microsoft.com/office/drawing/2014/main" id="{44574B03-A534-5C57-4B3E-E3AF333DA3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3">
            <a:alphaModFix amt="23000"/>
          </a:blip>
          <a:srcRect r="33453" b="13524"/>
          <a:stretch/>
        </p:blipFill>
        <p:spPr>
          <a:xfrm>
            <a:off x="4878193" y="3"/>
            <a:ext cx="4265812" cy="5143497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Google Shape;525;p35">
            <a:extLst>
              <a:ext uri="{FF2B5EF4-FFF2-40B4-BE49-F238E27FC236}">
                <a16:creationId xmlns:a16="http://schemas.microsoft.com/office/drawing/2014/main" id="{34332113-B583-8258-8FB2-696456DA3A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0800000">
            <a:off x="407925" y="524"/>
            <a:ext cx="73200" cy="1466325"/>
          </a:xfrm>
          <a:prstGeom prst="rect">
            <a:avLst/>
          </a:prstGeom>
          <a:gradFill>
            <a:gsLst>
              <a:gs pos="0">
                <a:srgbClr val="D59DFF"/>
              </a:gs>
              <a:gs pos="100000">
                <a:srgbClr val="28AFEA"/>
              </a:gs>
            </a:gsLst>
            <a:lin ang="5400012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0" i="0">
              <a:latin typeface="Helvetica" pitchFamily="2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0B875F9-108D-22F6-9BAC-59A7C26300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" y="4380580"/>
            <a:ext cx="541303" cy="762921"/>
          </a:xfrm>
          <a:custGeom>
            <a:avLst/>
            <a:gdLst>
              <a:gd name="connsiteX0" fmla="*/ 0 w 541303"/>
              <a:gd name="connsiteY0" fmla="*/ 0 h 762921"/>
              <a:gd name="connsiteX1" fmla="*/ 16117 w 541303"/>
              <a:gd name="connsiteY1" fmla="*/ 1622 h 762921"/>
              <a:gd name="connsiteX2" fmla="*/ 541303 w 541303"/>
              <a:gd name="connsiteY2" fmla="*/ 645044 h 762921"/>
              <a:gd name="connsiteX3" fmla="*/ 529402 w 541303"/>
              <a:gd name="connsiteY3" fmla="*/ 762921 h 762921"/>
              <a:gd name="connsiteX4" fmla="*/ 0 w 541303"/>
              <a:gd name="connsiteY4" fmla="*/ 762921 h 762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1303" h="762921">
                <a:moveTo>
                  <a:pt x="0" y="0"/>
                </a:moveTo>
                <a:lnTo>
                  <a:pt x="16117" y="1622"/>
                </a:lnTo>
                <a:cubicBezTo>
                  <a:pt x="315840" y="62863"/>
                  <a:pt x="541303" y="327663"/>
                  <a:pt x="541303" y="645044"/>
                </a:cubicBezTo>
                <a:lnTo>
                  <a:pt x="529402" y="762921"/>
                </a:lnTo>
                <a:lnTo>
                  <a:pt x="0" y="762921"/>
                </a:lnTo>
                <a:close/>
              </a:path>
            </a:pathLst>
          </a:custGeom>
          <a:gradFill>
            <a:gsLst>
              <a:gs pos="0">
                <a:srgbClr val="8661C5"/>
              </a:gs>
              <a:gs pos="100000">
                <a:srgbClr val="161828">
                  <a:alpha val="74901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spcFirstLastPara="1" wrap="square" lIns="42900" tIns="21450" rIns="42900" bIns="214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 b="0" i="0">
              <a:solidFill>
                <a:schemeClr val="lt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15" name="Google Shape;166;p20_1">
            <a:extLst>
              <a:ext uri="{FF2B5EF4-FFF2-40B4-BE49-F238E27FC236}">
                <a16:creationId xmlns:a16="http://schemas.microsoft.com/office/drawing/2014/main" id="{29E17049-4BDD-EB12-DB36-C9A5A8F72B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609600" y="1666710"/>
            <a:ext cx="650176" cy="649148"/>
          </a:xfrm>
          <a:prstGeom prst="ellipse">
            <a:avLst/>
          </a:prstGeom>
          <a:solidFill>
            <a:srgbClr val="1F9CF0">
              <a:alpha val="30980"/>
            </a:srgbClr>
          </a:solidFill>
          <a:ln>
            <a:noFill/>
          </a:ln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algn="ctr" defTabSz="609585">
              <a:buClrTx/>
            </a:pPr>
            <a:endParaRPr sz="800" kern="1200">
              <a:solidFill>
                <a:schemeClr val="bg1"/>
              </a:solidFill>
              <a:latin typeface="Helvetica" panose="020B0604020202020204" pitchFamily="34" charset="0"/>
              <a:ea typeface="Calibri"/>
              <a:sym typeface="Calibri"/>
            </a:endParaRPr>
          </a:p>
        </p:txBody>
      </p:sp>
      <p:sp>
        <p:nvSpPr>
          <p:cNvPr id="16" name="Google Shape;171;p20_1">
            <a:extLst>
              <a:ext uri="{FF2B5EF4-FFF2-40B4-BE49-F238E27FC236}">
                <a16:creationId xmlns:a16="http://schemas.microsoft.com/office/drawing/2014/main" id="{3E309927-5567-C8DE-0BCE-32AEA80582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09601" y="2449431"/>
            <a:ext cx="650176" cy="649148"/>
          </a:xfrm>
          <a:prstGeom prst="ellipse">
            <a:avLst/>
          </a:prstGeom>
          <a:solidFill>
            <a:srgbClr val="9477E2">
              <a:alpha val="31000"/>
            </a:srgbClr>
          </a:solidFill>
          <a:ln>
            <a:noFill/>
          </a:ln>
          <a:effectLst>
            <a:outerShdw blurRad="889000" dist="50800" dir="5400000" sx="89000" sy="89000" algn="ctr" rotWithShape="0">
              <a:srgbClr val="000000">
                <a:alpha val="48630"/>
              </a:srgbClr>
            </a:outerShdw>
          </a:effectLst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Calibri"/>
              <a:cs typeface="Helvetica" panose="020B0604020202020204" pitchFamily="34" charset="0"/>
              <a:sym typeface="Calibri"/>
            </a:endParaRPr>
          </a:p>
        </p:txBody>
      </p:sp>
      <p:sp>
        <p:nvSpPr>
          <p:cNvPr id="17" name="Google Shape;175;p20_1">
            <a:extLst>
              <a:ext uri="{FF2B5EF4-FFF2-40B4-BE49-F238E27FC236}">
                <a16:creationId xmlns:a16="http://schemas.microsoft.com/office/drawing/2014/main" id="{7E513BD0-CEE9-AC09-F330-4CDBD388F4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609601" y="3232150"/>
            <a:ext cx="650176" cy="649148"/>
          </a:xfrm>
          <a:prstGeom prst="ellipse">
            <a:avLst/>
          </a:prstGeom>
          <a:solidFill>
            <a:schemeClr val="accent1">
              <a:alpha val="31000"/>
            </a:schemeClr>
          </a:solidFill>
          <a:ln>
            <a:noFill/>
          </a:ln>
          <a:effectLst>
            <a:outerShdw blurRad="889000" dist="50800" dir="5400000" sx="89000" sy="89000" algn="ctr" rotWithShape="0">
              <a:srgbClr val="000000">
                <a:alpha val="48630"/>
              </a:srgbClr>
            </a:outerShdw>
          </a:effectLst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Calibri"/>
              <a:cs typeface="Helvetica" panose="020B0604020202020204" pitchFamily="34" charset="0"/>
              <a:sym typeface="Calibri"/>
            </a:endParaRPr>
          </a:p>
        </p:txBody>
      </p:sp>
      <p:sp>
        <p:nvSpPr>
          <p:cNvPr id="18" name="Google Shape;166;p20">
            <a:extLst>
              <a:ext uri="{FF2B5EF4-FFF2-40B4-BE49-F238E27FC236}">
                <a16:creationId xmlns:a16="http://schemas.microsoft.com/office/drawing/2014/main" id="{46C6BBF5-4F62-F610-2C89-ED593CEEFB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644338" y="1701393"/>
            <a:ext cx="580700" cy="579782"/>
          </a:xfrm>
          <a:prstGeom prst="ellipse">
            <a:avLst/>
          </a:prstGeom>
          <a:solidFill>
            <a:srgbClr val="1F9CF0">
              <a:alpha val="56860"/>
            </a:srgbClr>
          </a:solidFill>
          <a:ln>
            <a:noFill/>
          </a:ln>
          <a:effectLst>
            <a:outerShdw blurRad="889000" dist="50800" dir="5400000" sx="89000" sy="89000" algn="ctr" rotWithShape="0">
              <a:srgbClr val="000000">
                <a:alpha val="48630"/>
              </a:srgbClr>
            </a:outerShdw>
          </a:effectLst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Calibri"/>
              <a:cs typeface="Helvetica" panose="020B0604020202020204" pitchFamily="34" charset="0"/>
              <a:sym typeface="Calibri"/>
            </a:endParaRPr>
          </a:p>
        </p:txBody>
      </p:sp>
      <p:sp>
        <p:nvSpPr>
          <p:cNvPr id="19" name="Google Shape;171;p20">
            <a:extLst>
              <a:ext uri="{FF2B5EF4-FFF2-40B4-BE49-F238E27FC236}">
                <a16:creationId xmlns:a16="http://schemas.microsoft.com/office/drawing/2014/main" id="{66E95100-1056-72A3-D6AC-8E6595AA11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44339" y="2484114"/>
            <a:ext cx="580700" cy="579782"/>
          </a:xfrm>
          <a:prstGeom prst="ellipse">
            <a:avLst/>
          </a:prstGeom>
          <a:solidFill>
            <a:srgbClr val="9477E2">
              <a:alpha val="56860"/>
            </a:srgbClr>
          </a:solidFill>
          <a:ln>
            <a:noFill/>
          </a:ln>
          <a:effectLst>
            <a:outerShdw blurRad="889000" dist="50800" dir="5400000" sx="89000" sy="89000" algn="ctr" rotWithShape="0">
              <a:srgbClr val="000000">
                <a:alpha val="48630"/>
              </a:srgbClr>
            </a:outerShdw>
          </a:effectLst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Calibri"/>
              <a:cs typeface="Helvetica" panose="020B0604020202020204" pitchFamily="34" charset="0"/>
              <a:sym typeface="Calibri"/>
            </a:endParaRPr>
          </a:p>
        </p:txBody>
      </p:sp>
      <p:sp>
        <p:nvSpPr>
          <p:cNvPr id="20" name="Google Shape;175;p20">
            <a:extLst>
              <a:ext uri="{FF2B5EF4-FFF2-40B4-BE49-F238E27FC236}">
                <a16:creationId xmlns:a16="http://schemas.microsoft.com/office/drawing/2014/main" id="{569AB463-8A51-E760-DBF8-E72EB8FF90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644339" y="3266833"/>
            <a:ext cx="580700" cy="579782"/>
          </a:xfrm>
          <a:prstGeom prst="ellipse">
            <a:avLst/>
          </a:prstGeom>
          <a:solidFill>
            <a:schemeClr val="accent1">
              <a:alpha val="56860"/>
            </a:schemeClr>
          </a:solidFill>
          <a:ln>
            <a:noFill/>
          </a:ln>
          <a:effectLst>
            <a:outerShdw blurRad="889000" dist="50800" dir="5400000" sx="89000" sy="89000" algn="ctr" rotWithShape="0">
              <a:srgbClr val="000000">
                <a:alpha val="48630"/>
              </a:srgbClr>
            </a:outerShdw>
          </a:effectLst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Calibri"/>
              <a:cs typeface="Helvetica" panose="020B0604020202020204" pitchFamily="34" charset="0"/>
              <a:sym typeface="Calibri"/>
            </a:endParaRP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1AFFC0EE-416A-7B70-F81A-1CC83CC4CD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0532" y="1827127"/>
            <a:ext cx="328312" cy="328312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EA6399DE-1250-AE98-5F15-621D8E70D7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0640" y="2609848"/>
            <a:ext cx="328312" cy="328312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5214074B-7CB4-02EB-6026-BD61EB7283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0640" y="3392567"/>
            <a:ext cx="328312" cy="328312"/>
          </a:xfrm>
          <a:prstGeom prst="rect">
            <a:avLst/>
          </a:prstGeom>
        </p:spPr>
      </p:pic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BEF3F9F5-CF0B-F808-584D-753CB2365E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09600" y="333551"/>
            <a:ext cx="2951988" cy="0"/>
          </a:xfrm>
          <a:prstGeom prst="line">
            <a:avLst/>
          </a:prstGeom>
          <a:noFill/>
          <a:ln w="12700" cap="flat" cmpd="sng" algn="ctr">
            <a:solidFill>
              <a:srgbClr val="627597"/>
            </a:solidFill>
            <a:prstDash val="solid"/>
            <a:miter lim="800000"/>
          </a:ln>
          <a:effectLst/>
        </p:spPr>
      </p:cxn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A56CBB96-2BDA-2039-BCBB-91825A94C1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1142319" y="2485128"/>
            <a:ext cx="7353202" cy="577752"/>
          </a:xfrm>
          <a:custGeom>
            <a:avLst/>
            <a:gdLst>
              <a:gd name="connsiteX0" fmla="*/ 0 w 7353202"/>
              <a:gd name="connsiteY0" fmla="*/ 0 h 577752"/>
              <a:gd name="connsiteX1" fmla="*/ 1983557 w 7353202"/>
              <a:gd name="connsiteY1" fmla="*/ 0 h 577752"/>
              <a:gd name="connsiteX2" fmla="*/ 4629830 w 7353202"/>
              <a:gd name="connsiteY2" fmla="*/ 0 h 577752"/>
              <a:gd name="connsiteX3" fmla="*/ 4729089 w 7353202"/>
              <a:gd name="connsiteY3" fmla="*/ 0 h 577752"/>
              <a:gd name="connsiteX4" fmla="*/ 5369645 w 7353202"/>
              <a:gd name="connsiteY4" fmla="*/ 0 h 577752"/>
              <a:gd name="connsiteX5" fmla="*/ 6613387 w 7353202"/>
              <a:gd name="connsiteY5" fmla="*/ 0 h 577752"/>
              <a:gd name="connsiteX6" fmla="*/ 6712646 w 7353202"/>
              <a:gd name="connsiteY6" fmla="*/ 0 h 577752"/>
              <a:gd name="connsiteX7" fmla="*/ 7353202 w 7353202"/>
              <a:gd name="connsiteY7" fmla="*/ 0 h 577752"/>
              <a:gd name="connsiteX8" fmla="*/ 7353202 w 7353202"/>
              <a:gd name="connsiteY8" fmla="*/ 577752 h 577752"/>
              <a:gd name="connsiteX9" fmla="*/ 6712646 w 7353202"/>
              <a:gd name="connsiteY9" fmla="*/ 577752 h 577752"/>
              <a:gd name="connsiteX10" fmla="*/ 6613387 w 7353202"/>
              <a:gd name="connsiteY10" fmla="*/ 577752 h 577752"/>
              <a:gd name="connsiteX11" fmla="*/ 5369645 w 7353202"/>
              <a:gd name="connsiteY11" fmla="*/ 577752 h 577752"/>
              <a:gd name="connsiteX12" fmla="*/ 4729089 w 7353202"/>
              <a:gd name="connsiteY12" fmla="*/ 577752 h 577752"/>
              <a:gd name="connsiteX13" fmla="*/ 4629830 w 7353202"/>
              <a:gd name="connsiteY13" fmla="*/ 577752 h 577752"/>
              <a:gd name="connsiteX14" fmla="*/ 1983557 w 7353202"/>
              <a:gd name="connsiteY14" fmla="*/ 577752 h 577752"/>
              <a:gd name="connsiteX15" fmla="*/ 0 w 7353202"/>
              <a:gd name="connsiteY15" fmla="*/ 577752 h 577752"/>
              <a:gd name="connsiteX16" fmla="*/ 44766 w 7353202"/>
              <a:gd name="connsiteY16" fmla="*/ 540875 h 577752"/>
              <a:gd name="connsiteX17" fmla="*/ 149312 w 7353202"/>
              <a:gd name="connsiteY17" fmla="*/ 288876 h 577752"/>
              <a:gd name="connsiteX18" fmla="*/ 44766 w 7353202"/>
              <a:gd name="connsiteY18" fmla="*/ 36878 h 57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7353202" h="577752">
                <a:moveTo>
                  <a:pt x="0" y="0"/>
                </a:moveTo>
                <a:lnTo>
                  <a:pt x="1983557" y="0"/>
                </a:lnTo>
                <a:lnTo>
                  <a:pt x="4629830" y="0"/>
                </a:lnTo>
                <a:lnTo>
                  <a:pt x="4729089" y="0"/>
                </a:lnTo>
                <a:lnTo>
                  <a:pt x="5369645" y="0"/>
                </a:lnTo>
                <a:lnTo>
                  <a:pt x="6613387" y="0"/>
                </a:lnTo>
                <a:lnTo>
                  <a:pt x="6712646" y="0"/>
                </a:lnTo>
                <a:lnTo>
                  <a:pt x="7353202" y="0"/>
                </a:lnTo>
                <a:lnTo>
                  <a:pt x="7353202" y="577752"/>
                </a:lnTo>
                <a:lnTo>
                  <a:pt x="6712646" y="577752"/>
                </a:lnTo>
                <a:lnTo>
                  <a:pt x="6613387" y="577752"/>
                </a:lnTo>
                <a:lnTo>
                  <a:pt x="5369645" y="577752"/>
                </a:lnTo>
                <a:lnTo>
                  <a:pt x="4729089" y="577752"/>
                </a:lnTo>
                <a:lnTo>
                  <a:pt x="4629830" y="577752"/>
                </a:lnTo>
                <a:lnTo>
                  <a:pt x="1983557" y="577752"/>
                </a:lnTo>
                <a:lnTo>
                  <a:pt x="0" y="577752"/>
                </a:lnTo>
                <a:lnTo>
                  <a:pt x="44766" y="540875"/>
                </a:lnTo>
                <a:cubicBezTo>
                  <a:pt x="109360" y="476383"/>
                  <a:pt x="149312" y="387288"/>
                  <a:pt x="149312" y="288876"/>
                </a:cubicBezTo>
                <a:cubicBezTo>
                  <a:pt x="149312" y="190465"/>
                  <a:pt x="109360" y="101370"/>
                  <a:pt x="44766" y="36878"/>
                </a:cubicBezTo>
                <a:close/>
              </a:path>
            </a:pathLst>
          </a:custGeom>
          <a:gradFill>
            <a:gsLst>
              <a:gs pos="0">
                <a:srgbClr val="6A37C7">
                  <a:alpha val="47000"/>
                </a:srgbClr>
              </a:gs>
              <a:gs pos="100000">
                <a:srgbClr val="9477E2">
                  <a:alpha val="0"/>
                </a:srgbClr>
              </a:gs>
            </a:gsLst>
            <a:lin ang="2700006" scaled="0"/>
          </a:gradFill>
          <a:ln>
            <a:noFill/>
          </a:ln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algn="ctr" defTabSz="609585">
              <a:buClrTx/>
            </a:pPr>
            <a:endParaRPr sz="1100" kern="1200">
              <a:solidFill>
                <a:schemeClr val="bg1"/>
              </a:solidFill>
              <a:latin typeface="Helvetica" panose="020B0604020202020204" pitchFamily="34" charset="0"/>
              <a:ea typeface="Calibri"/>
              <a:sym typeface="Calibri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442E0EEF-88F4-E71E-7CD4-81DEB5E3F3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1142319" y="3267848"/>
            <a:ext cx="7353202" cy="577752"/>
          </a:xfrm>
          <a:custGeom>
            <a:avLst/>
            <a:gdLst>
              <a:gd name="connsiteX0" fmla="*/ 0 w 7353202"/>
              <a:gd name="connsiteY0" fmla="*/ 0 h 577752"/>
              <a:gd name="connsiteX1" fmla="*/ 1983557 w 7353202"/>
              <a:gd name="connsiteY1" fmla="*/ 0 h 577752"/>
              <a:gd name="connsiteX2" fmla="*/ 4629830 w 7353202"/>
              <a:gd name="connsiteY2" fmla="*/ 0 h 577752"/>
              <a:gd name="connsiteX3" fmla="*/ 4729089 w 7353202"/>
              <a:gd name="connsiteY3" fmla="*/ 0 h 577752"/>
              <a:gd name="connsiteX4" fmla="*/ 5369645 w 7353202"/>
              <a:gd name="connsiteY4" fmla="*/ 0 h 577752"/>
              <a:gd name="connsiteX5" fmla="*/ 6613387 w 7353202"/>
              <a:gd name="connsiteY5" fmla="*/ 0 h 577752"/>
              <a:gd name="connsiteX6" fmla="*/ 6712646 w 7353202"/>
              <a:gd name="connsiteY6" fmla="*/ 0 h 577752"/>
              <a:gd name="connsiteX7" fmla="*/ 7353202 w 7353202"/>
              <a:gd name="connsiteY7" fmla="*/ 0 h 577752"/>
              <a:gd name="connsiteX8" fmla="*/ 7353202 w 7353202"/>
              <a:gd name="connsiteY8" fmla="*/ 577752 h 577752"/>
              <a:gd name="connsiteX9" fmla="*/ 6712646 w 7353202"/>
              <a:gd name="connsiteY9" fmla="*/ 577752 h 577752"/>
              <a:gd name="connsiteX10" fmla="*/ 6613387 w 7353202"/>
              <a:gd name="connsiteY10" fmla="*/ 577752 h 577752"/>
              <a:gd name="connsiteX11" fmla="*/ 5369645 w 7353202"/>
              <a:gd name="connsiteY11" fmla="*/ 577752 h 577752"/>
              <a:gd name="connsiteX12" fmla="*/ 4729089 w 7353202"/>
              <a:gd name="connsiteY12" fmla="*/ 577752 h 577752"/>
              <a:gd name="connsiteX13" fmla="*/ 4629830 w 7353202"/>
              <a:gd name="connsiteY13" fmla="*/ 577752 h 577752"/>
              <a:gd name="connsiteX14" fmla="*/ 1983557 w 7353202"/>
              <a:gd name="connsiteY14" fmla="*/ 577752 h 577752"/>
              <a:gd name="connsiteX15" fmla="*/ 0 w 7353202"/>
              <a:gd name="connsiteY15" fmla="*/ 577752 h 577752"/>
              <a:gd name="connsiteX16" fmla="*/ 44766 w 7353202"/>
              <a:gd name="connsiteY16" fmla="*/ 540875 h 577752"/>
              <a:gd name="connsiteX17" fmla="*/ 149312 w 7353202"/>
              <a:gd name="connsiteY17" fmla="*/ 288876 h 577752"/>
              <a:gd name="connsiteX18" fmla="*/ 44766 w 7353202"/>
              <a:gd name="connsiteY18" fmla="*/ 36878 h 57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7353202" h="577752">
                <a:moveTo>
                  <a:pt x="0" y="0"/>
                </a:moveTo>
                <a:lnTo>
                  <a:pt x="1983557" y="0"/>
                </a:lnTo>
                <a:lnTo>
                  <a:pt x="4629830" y="0"/>
                </a:lnTo>
                <a:lnTo>
                  <a:pt x="4729089" y="0"/>
                </a:lnTo>
                <a:lnTo>
                  <a:pt x="5369645" y="0"/>
                </a:lnTo>
                <a:lnTo>
                  <a:pt x="6613387" y="0"/>
                </a:lnTo>
                <a:lnTo>
                  <a:pt x="6712646" y="0"/>
                </a:lnTo>
                <a:lnTo>
                  <a:pt x="7353202" y="0"/>
                </a:lnTo>
                <a:lnTo>
                  <a:pt x="7353202" y="577752"/>
                </a:lnTo>
                <a:lnTo>
                  <a:pt x="6712646" y="577752"/>
                </a:lnTo>
                <a:lnTo>
                  <a:pt x="6613387" y="577752"/>
                </a:lnTo>
                <a:lnTo>
                  <a:pt x="5369645" y="577752"/>
                </a:lnTo>
                <a:lnTo>
                  <a:pt x="4729089" y="577752"/>
                </a:lnTo>
                <a:lnTo>
                  <a:pt x="4629830" y="577752"/>
                </a:lnTo>
                <a:lnTo>
                  <a:pt x="1983557" y="577752"/>
                </a:lnTo>
                <a:lnTo>
                  <a:pt x="0" y="577752"/>
                </a:lnTo>
                <a:lnTo>
                  <a:pt x="44766" y="540875"/>
                </a:lnTo>
                <a:cubicBezTo>
                  <a:pt x="109360" y="476383"/>
                  <a:pt x="149312" y="387288"/>
                  <a:pt x="149312" y="288876"/>
                </a:cubicBezTo>
                <a:cubicBezTo>
                  <a:pt x="149312" y="190465"/>
                  <a:pt x="109360" y="101370"/>
                  <a:pt x="44766" y="36878"/>
                </a:cubicBezTo>
                <a:close/>
              </a:path>
            </a:pathLst>
          </a:custGeom>
          <a:gradFill>
            <a:gsLst>
              <a:gs pos="0">
                <a:schemeClr val="accent1">
                  <a:alpha val="47000"/>
                </a:schemeClr>
              </a:gs>
              <a:gs pos="100000">
                <a:srgbClr val="9477E2">
                  <a:alpha val="0"/>
                </a:srgbClr>
              </a:gs>
            </a:gsLst>
            <a:lin ang="2700006" scaled="0"/>
          </a:gradFill>
          <a:ln>
            <a:noFill/>
          </a:ln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algn="ctr" defTabSz="609585">
              <a:buClrTx/>
            </a:pPr>
            <a:endParaRPr sz="1100" kern="1200">
              <a:solidFill>
                <a:schemeClr val="bg1"/>
              </a:solidFill>
              <a:latin typeface="Helvetica" panose="020B0604020202020204" pitchFamily="34" charset="0"/>
              <a:ea typeface="Calibri"/>
              <a:sym typeface="Calibri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691914E-31A3-6575-D26D-05A8AC30C6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1142319" y="1702408"/>
            <a:ext cx="7353202" cy="577752"/>
          </a:xfrm>
          <a:custGeom>
            <a:avLst/>
            <a:gdLst>
              <a:gd name="connsiteX0" fmla="*/ 0 w 7353202"/>
              <a:gd name="connsiteY0" fmla="*/ 0 h 577752"/>
              <a:gd name="connsiteX1" fmla="*/ 1983557 w 7353202"/>
              <a:gd name="connsiteY1" fmla="*/ 0 h 577752"/>
              <a:gd name="connsiteX2" fmla="*/ 4629830 w 7353202"/>
              <a:gd name="connsiteY2" fmla="*/ 0 h 577752"/>
              <a:gd name="connsiteX3" fmla="*/ 4729089 w 7353202"/>
              <a:gd name="connsiteY3" fmla="*/ 0 h 577752"/>
              <a:gd name="connsiteX4" fmla="*/ 5369645 w 7353202"/>
              <a:gd name="connsiteY4" fmla="*/ 0 h 577752"/>
              <a:gd name="connsiteX5" fmla="*/ 6613387 w 7353202"/>
              <a:gd name="connsiteY5" fmla="*/ 0 h 577752"/>
              <a:gd name="connsiteX6" fmla="*/ 6712646 w 7353202"/>
              <a:gd name="connsiteY6" fmla="*/ 0 h 577752"/>
              <a:gd name="connsiteX7" fmla="*/ 7353202 w 7353202"/>
              <a:gd name="connsiteY7" fmla="*/ 0 h 577752"/>
              <a:gd name="connsiteX8" fmla="*/ 7353202 w 7353202"/>
              <a:gd name="connsiteY8" fmla="*/ 577752 h 577752"/>
              <a:gd name="connsiteX9" fmla="*/ 6712646 w 7353202"/>
              <a:gd name="connsiteY9" fmla="*/ 577752 h 577752"/>
              <a:gd name="connsiteX10" fmla="*/ 6613387 w 7353202"/>
              <a:gd name="connsiteY10" fmla="*/ 577752 h 577752"/>
              <a:gd name="connsiteX11" fmla="*/ 5369645 w 7353202"/>
              <a:gd name="connsiteY11" fmla="*/ 577752 h 577752"/>
              <a:gd name="connsiteX12" fmla="*/ 4729089 w 7353202"/>
              <a:gd name="connsiteY12" fmla="*/ 577752 h 577752"/>
              <a:gd name="connsiteX13" fmla="*/ 4629830 w 7353202"/>
              <a:gd name="connsiteY13" fmla="*/ 577752 h 577752"/>
              <a:gd name="connsiteX14" fmla="*/ 1983557 w 7353202"/>
              <a:gd name="connsiteY14" fmla="*/ 577752 h 577752"/>
              <a:gd name="connsiteX15" fmla="*/ 0 w 7353202"/>
              <a:gd name="connsiteY15" fmla="*/ 577752 h 577752"/>
              <a:gd name="connsiteX16" fmla="*/ 44766 w 7353202"/>
              <a:gd name="connsiteY16" fmla="*/ 540875 h 577752"/>
              <a:gd name="connsiteX17" fmla="*/ 149312 w 7353202"/>
              <a:gd name="connsiteY17" fmla="*/ 288876 h 577752"/>
              <a:gd name="connsiteX18" fmla="*/ 44766 w 7353202"/>
              <a:gd name="connsiteY18" fmla="*/ 36877 h 57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7353202" h="577752">
                <a:moveTo>
                  <a:pt x="0" y="0"/>
                </a:moveTo>
                <a:lnTo>
                  <a:pt x="1983557" y="0"/>
                </a:lnTo>
                <a:lnTo>
                  <a:pt x="4629830" y="0"/>
                </a:lnTo>
                <a:lnTo>
                  <a:pt x="4729089" y="0"/>
                </a:lnTo>
                <a:lnTo>
                  <a:pt x="5369645" y="0"/>
                </a:lnTo>
                <a:lnTo>
                  <a:pt x="6613387" y="0"/>
                </a:lnTo>
                <a:lnTo>
                  <a:pt x="6712646" y="0"/>
                </a:lnTo>
                <a:lnTo>
                  <a:pt x="7353202" y="0"/>
                </a:lnTo>
                <a:lnTo>
                  <a:pt x="7353202" y="577752"/>
                </a:lnTo>
                <a:lnTo>
                  <a:pt x="6712646" y="577752"/>
                </a:lnTo>
                <a:lnTo>
                  <a:pt x="6613387" y="577752"/>
                </a:lnTo>
                <a:lnTo>
                  <a:pt x="5369645" y="577752"/>
                </a:lnTo>
                <a:lnTo>
                  <a:pt x="4729089" y="577752"/>
                </a:lnTo>
                <a:lnTo>
                  <a:pt x="4629830" y="577752"/>
                </a:lnTo>
                <a:lnTo>
                  <a:pt x="1983557" y="577752"/>
                </a:lnTo>
                <a:lnTo>
                  <a:pt x="0" y="577752"/>
                </a:lnTo>
                <a:lnTo>
                  <a:pt x="44766" y="540875"/>
                </a:lnTo>
                <a:cubicBezTo>
                  <a:pt x="109360" y="476383"/>
                  <a:pt x="149312" y="387288"/>
                  <a:pt x="149312" y="288876"/>
                </a:cubicBezTo>
                <a:cubicBezTo>
                  <a:pt x="149312" y="190465"/>
                  <a:pt x="109360" y="101370"/>
                  <a:pt x="44766" y="36877"/>
                </a:cubicBezTo>
                <a:close/>
              </a:path>
            </a:pathLst>
          </a:custGeom>
          <a:gradFill>
            <a:gsLst>
              <a:gs pos="0">
                <a:srgbClr val="1F9CF0">
                  <a:alpha val="47000"/>
                </a:srgbClr>
              </a:gs>
              <a:gs pos="100000">
                <a:srgbClr val="9477E2">
                  <a:alpha val="0"/>
                </a:srgbClr>
              </a:gs>
            </a:gsLst>
            <a:lin ang="2700006" scaled="0"/>
          </a:gradFill>
          <a:ln>
            <a:noFill/>
          </a:ln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Calibri"/>
              <a:cs typeface="Helvetica" panose="020B0604020202020204" pitchFamily="34" charset="0"/>
              <a:sym typeface="Calibri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7F9B15E-44C5-A562-327A-6536B3FC0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02083"/>
            <a:ext cx="7924800" cy="627856"/>
          </a:xfrm>
        </p:spPr>
        <p:txBody>
          <a:bodyPr/>
          <a:lstStyle/>
          <a:p>
            <a:pPr lvl="0"/>
            <a:r>
              <a:rPr lang="en-US" dirty="0">
                <a:solidFill>
                  <a:schemeClr val="accent1"/>
                </a:solidFill>
                <a:sym typeface="Inter SemiBold"/>
              </a:rPr>
              <a:t>Techniques </a:t>
            </a:r>
            <a:r>
              <a:rPr lang="en-US" dirty="0">
                <a:sym typeface="Inter SemiBold"/>
              </a:rPr>
              <a:t>for architects and </a:t>
            </a:r>
            <a:r>
              <a:rPr lang="en-US">
                <a:sym typeface="Inter SemiBold"/>
              </a:rPr>
              <a:t>senior developers</a:t>
            </a:r>
            <a:endParaRPr lang="en-US" dirty="0">
              <a:sym typeface="Inter SemiBold"/>
            </a:endParaRPr>
          </a:p>
        </p:txBody>
      </p:sp>
      <p:sp>
        <p:nvSpPr>
          <p:cNvPr id="7" name="Google Shape;2742;p299">
            <a:extLst>
              <a:ext uri="{FF2B5EF4-FFF2-40B4-BE49-F238E27FC236}">
                <a16:creationId xmlns:a16="http://schemas.microsoft.com/office/drawing/2014/main" id="{DF53BF93-474F-133E-7A87-92AFECB7ED4D}"/>
              </a:ext>
            </a:extLst>
          </p:cNvPr>
          <p:cNvSpPr txBox="1">
            <a:spLocks/>
          </p:cNvSpPr>
          <p:nvPr/>
        </p:nvSpPr>
        <p:spPr>
          <a:xfrm>
            <a:off x="609702" y="127466"/>
            <a:ext cx="3043326" cy="169277"/>
          </a:xfrm>
          <a:prstGeom prst="rect">
            <a:avLst/>
          </a:prstGeom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Helvetica" pitchFamily="2" charset="0"/>
                <a:ea typeface="Helvetica" pitchFamily="2" charset="0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  <a:latin typeface="+mn-lt"/>
                <a:cs typeface="Helvetica" panose="020B0604020202020204" pitchFamily="34" charset="0"/>
              </a:rPr>
              <a:t>GitHub Copilot / </a:t>
            </a:r>
            <a:r>
              <a:rPr lang="en-US" sz="1100" dirty="0">
                <a:solidFill>
                  <a:schemeClr val="accent2"/>
                </a:solidFill>
                <a:latin typeface="+mn-lt"/>
              </a:rPr>
              <a:t>Architects and Senior Devs</a:t>
            </a:r>
          </a:p>
        </p:txBody>
      </p:sp>
      <p:sp>
        <p:nvSpPr>
          <p:cNvPr id="22" name="TextBox 5">
            <a:extLst>
              <a:ext uri="{FF2B5EF4-FFF2-40B4-BE49-F238E27FC236}">
                <a16:creationId xmlns:a16="http://schemas.microsoft.com/office/drawing/2014/main" id="{FBAB4168-4C4B-6A45-D8B1-6296D8CC1A6D}"/>
              </a:ext>
            </a:extLst>
          </p:cNvPr>
          <p:cNvSpPr txBox="1">
            <a:spLocks/>
          </p:cNvSpPr>
          <p:nvPr/>
        </p:nvSpPr>
        <p:spPr>
          <a:xfrm>
            <a:off x="1443119" y="1868174"/>
            <a:ext cx="693024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 defTabSz="914377">
              <a:buClrTx/>
              <a:buFont typeface="Arial"/>
              <a:buNone/>
              <a:defRPr/>
            </a:pPr>
            <a:r>
              <a:rPr lang="en-IN" sz="1600" dirty="0">
                <a:solidFill>
                  <a:schemeClr val="bg1"/>
                </a:solidFill>
                <a:sym typeface="Inter"/>
              </a:rPr>
              <a:t>Assist with education of engineers</a:t>
            </a:r>
          </a:p>
        </p:txBody>
      </p:sp>
      <p:sp>
        <p:nvSpPr>
          <p:cNvPr id="24" name="TextBox 5">
            <a:extLst>
              <a:ext uri="{FF2B5EF4-FFF2-40B4-BE49-F238E27FC236}">
                <a16:creationId xmlns:a16="http://schemas.microsoft.com/office/drawing/2014/main" id="{68EF589D-2C6E-24C0-E153-D5A0FC28C9F6}"/>
              </a:ext>
            </a:extLst>
          </p:cNvPr>
          <p:cNvSpPr txBox="1">
            <a:spLocks/>
          </p:cNvSpPr>
          <p:nvPr/>
        </p:nvSpPr>
        <p:spPr>
          <a:xfrm>
            <a:off x="1443120" y="2650894"/>
            <a:ext cx="693024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 defTabSz="914377">
              <a:buClrTx/>
              <a:buFont typeface="Arial"/>
              <a:buNone/>
              <a:defRPr/>
            </a:pPr>
            <a:r>
              <a:rPr lang="en-US" sz="1600" dirty="0">
                <a:solidFill>
                  <a:schemeClr val="bg1"/>
                </a:solidFill>
                <a:sym typeface="Inter"/>
              </a:rPr>
              <a:t>Clean code and design recommendations prior to submission</a:t>
            </a:r>
          </a:p>
        </p:txBody>
      </p:sp>
      <p:sp>
        <p:nvSpPr>
          <p:cNvPr id="26" name="TextBox 5">
            <a:extLst>
              <a:ext uri="{FF2B5EF4-FFF2-40B4-BE49-F238E27FC236}">
                <a16:creationId xmlns:a16="http://schemas.microsoft.com/office/drawing/2014/main" id="{1842809F-1918-3430-6A8A-78C0D5DCA954}"/>
              </a:ext>
            </a:extLst>
          </p:cNvPr>
          <p:cNvSpPr txBox="1">
            <a:spLocks/>
          </p:cNvSpPr>
          <p:nvPr/>
        </p:nvSpPr>
        <p:spPr>
          <a:xfrm>
            <a:off x="1443120" y="3433615"/>
            <a:ext cx="60793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 defTabSz="914377">
              <a:buClrTx/>
              <a:buFont typeface="Arial"/>
              <a:buNone/>
              <a:defRPr/>
            </a:pPr>
            <a:r>
              <a:rPr lang="en-US" sz="1600" dirty="0">
                <a:solidFill>
                  <a:schemeClr val="bg1"/>
                </a:solidFill>
                <a:sym typeface="Inter"/>
              </a:rPr>
              <a:t>Creation of technical documentation</a:t>
            </a:r>
          </a:p>
        </p:txBody>
      </p:sp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oogle Shape;600;p39">
            <a:extLst>
              <a:ext uri="{FF2B5EF4-FFF2-40B4-BE49-F238E27FC236}">
                <a16:creationId xmlns:a16="http://schemas.microsoft.com/office/drawing/2014/main" id="{78C39ABD-6775-8F45-45A9-4CD880DB66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933703" y="2335502"/>
            <a:ext cx="1244056" cy="1244056"/>
          </a:xfrm>
          <a:prstGeom prst="rect">
            <a:avLst/>
          </a:prstGeom>
          <a:noFill/>
          <a:ln>
            <a:noFill/>
          </a:ln>
        </p:spPr>
      </p:pic>
      <p:sp>
        <p:nvSpPr>
          <p:cNvPr id="42" name="Circle: Hollow 41">
            <a:extLst>
              <a:ext uri="{FF2B5EF4-FFF2-40B4-BE49-F238E27FC236}">
                <a16:creationId xmlns:a16="http://schemas.microsoft.com/office/drawing/2014/main" id="{3C4299AB-4345-C9FF-DB56-F607C69AF2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-2000250"/>
            <a:ext cx="9144000" cy="9144000"/>
          </a:xfrm>
          <a:prstGeom prst="donut">
            <a:avLst>
              <a:gd name="adj" fmla="val 21045"/>
            </a:avLst>
          </a:prstGeom>
          <a:gradFill flip="none" rotWithShape="1">
            <a:gsLst>
              <a:gs pos="2000">
                <a:srgbClr val="1F9CF0"/>
              </a:gs>
              <a:gs pos="100000">
                <a:schemeClr val="accent2">
                  <a:alpha val="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44" name="Google Shape;599;p39">
            <a:extLst>
              <a:ext uri="{FF2B5EF4-FFF2-40B4-BE49-F238E27FC236}">
                <a16:creationId xmlns:a16="http://schemas.microsoft.com/office/drawing/2014/main" id="{12A5B2D8-4C4E-3EAC-4C65-5F945B50AC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4">
            <a:alphaModFix amt="30000"/>
          </a:blip>
          <a:srcRect l="50000"/>
          <a:stretch/>
        </p:blipFill>
        <p:spPr>
          <a:xfrm>
            <a:off x="0" y="690566"/>
            <a:ext cx="1881184" cy="3762369"/>
          </a:xfrm>
          <a:prstGeom prst="rect">
            <a:avLst/>
          </a:prstGeom>
          <a:noFill/>
          <a:ln>
            <a:noFill/>
          </a:ln>
        </p:spPr>
      </p:pic>
      <p:pic>
        <p:nvPicPr>
          <p:cNvPr id="45" name="Google Shape;599;p39">
            <a:extLst>
              <a:ext uri="{FF2B5EF4-FFF2-40B4-BE49-F238E27FC236}">
                <a16:creationId xmlns:a16="http://schemas.microsoft.com/office/drawing/2014/main" id="{57FB5E5B-EEF6-DE1D-A135-C25733F13E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4">
            <a:alphaModFix amt="30000"/>
          </a:blip>
          <a:srcRect r="49135"/>
          <a:stretch/>
        </p:blipFill>
        <p:spPr>
          <a:xfrm>
            <a:off x="7230279" y="690566"/>
            <a:ext cx="1913722" cy="376236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9C4D2FBC-E742-1420-625F-48964F741A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725960" y="4029280"/>
            <a:ext cx="2840170" cy="839856"/>
            <a:chOff x="7251064" y="1318261"/>
            <a:chExt cx="3459237" cy="1022919"/>
          </a:xfrm>
        </p:grpSpPr>
        <p:sp>
          <p:nvSpPr>
            <p:cNvPr id="60" name="Freeform: Shape 33">
              <a:extLst>
                <a:ext uri="{FF2B5EF4-FFF2-40B4-BE49-F238E27FC236}">
                  <a16:creationId xmlns:a16="http://schemas.microsoft.com/office/drawing/2014/main" id="{62A3EFF2-22AE-DAEB-8DF7-37759659B8B8}"/>
                </a:ext>
              </a:extLst>
            </p:cNvPr>
            <p:cNvSpPr/>
            <p:nvPr userDrawn="1"/>
          </p:nvSpPr>
          <p:spPr>
            <a:xfrm>
              <a:off x="7338060" y="1318261"/>
              <a:ext cx="3372241" cy="937260"/>
            </a:xfrm>
            <a:custGeom>
              <a:avLst/>
              <a:gdLst>
                <a:gd name="connsiteX0" fmla="*/ 1082040 w 2766060"/>
                <a:gd name="connsiteY0" fmla="*/ 274320 h 937260"/>
                <a:gd name="connsiteX1" fmla="*/ 1569720 w 2766060"/>
                <a:gd name="connsiteY1" fmla="*/ 274320 h 937260"/>
                <a:gd name="connsiteX2" fmla="*/ 1844040 w 2766060"/>
                <a:gd name="connsiteY2" fmla="*/ 0 h 937260"/>
                <a:gd name="connsiteX3" fmla="*/ 2766060 w 2766060"/>
                <a:gd name="connsiteY3" fmla="*/ 0 h 937260"/>
                <a:gd name="connsiteX4" fmla="*/ 2766060 w 2766060"/>
                <a:gd name="connsiteY4" fmla="*/ 281940 h 937260"/>
                <a:gd name="connsiteX5" fmla="*/ 2537460 w 2766060"/>
                <a:gd name="connsiteY5" fmla="*/ 510540 h 937260"/>
                <a:gd name="connsiteX6" fmla="*/ 1569720 w 2766060"/>
                <a:gd name="connsiteY6" fmla="*/ 510540 h 937260"/>
                <a:gd name="connsiteX7" fmla="*/ 1371600 w 2766060"/>
                <a:gd name="connsiteY7" fmla="*/ 708660 h 937260"/>
                <a:gd name="connsiteX8" fmla="*/ 228600 w 2766060"/>
                <a:gd name="connsiteY8" fmla="*/ 708660 h 937260"/>
                <a:gd name="connsiteX9" fmla="*/ 0 w 2766060"/>
                <a:gd name="connsiteY9" fmla="*/ 937260 h 93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66060" h="937260">
                  <a:moveTo>
                    <a:pt x="1082040" y="274320"/>
                  </a:moveTo>
                  <a:lnTo>
                    <a:pt x="1569720" y="274320"/>
                  </a:lnTo>
                  <a:lnTo>
                    <a:pt x="1844040" y="0"/>
                  </a:lnTo>
                  <a:lnTo>
                    <a:pt x="2766060" y="0"/>
                  </a:lnTo>
                  <a:lnTo>
                    <a:pt x="2766060" y="281940"/>
                  </a:lnTo>
                  <a:lnTo>
                    <a:pt x="2537460" y="510540"/>
                  </a:lnTo>
                  <a:lnTo>
                    <a:pt x="1569720" y="510540"/>
                  </a:lnTo>
                  <a:lnTo>
                    <a:pt x="1371600" y="708660"/>
                  </a:lnTo>
                  <a:lnTo>
                    <a:pt x="228600" y="708660"/>
                  </a:lnTo>
                  <a:lnTo>
                    <a:pt x="0" y="937260"/>
                  </a:lnTo>
                </a:path>
              </a:pathLst>
            </a:custGeom>
            <a:noFill/>
            <a:ln w="6350">
              <a:solidFill>
                <a:srgbClr val="BFE8F6">
                  <a:alpha val="1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>
                <a:latin typeface="Helvetica" panose="020B0604020202030204" pitchFamily="34" charset="0"/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FADEDF2F-BF54-5D1E-5978-01675B3784D4}"/>
                </a:ext>
              </a:extLst>
            </p:cNvPr>
            <p:cNvSpPr/>
            <p:nvPr userDrawn="1"/>
          </p:nvSpPr>
          <p:spPr>
            <a:xfrm flipH="1">
              <a:off x="8499543" y="1523635"/>
              <a:ext cx="159624" cy="159624"/>
            </a:xfrm>
            <a:prstGeom prst="ellipse">
              <a:avLst/>
            </a:prstGeom>
            <a:noFill/>
            <a:ln w="6350">
              <a:solidFill>
                <a:srgbClr val="BFE8F6">
                  <a:alpha val="1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latin typeface="Helvetica" panose="020B0604020202030204" pitchFamily="34" charset="0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5C5441C8-9249-54AD-E61D-B7229B400096}"/>
                </a:ext>
              </a:extLst>
            </p:cNvPr>
            <p:cNvSpPr/>
            <p:nvPr userDrawn="1"/>
          </p:nvSpPr>
          <p:spPr>
            <a:xfrm flipH="1">
              <a:off x="7251064" y="2239184"/>
              <a:ext cx="101996" cy="101996"/>
            </a:xfrm>
            <a:prstGeom prst="ellipse">
              <a:avLst/>
            </a:prstGeom>
            <a:noFill/>
            <a:ln w="6350">
              <a:solidFill>
                <a:srgbClr val="BFE8F6">
                  <a:alpha val="1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latin typeface="Helvetica" panose="020B0604020202030204" pitchFamily="34" charset="0"/>
              </a:endParaRPr>
            </a:p>
          </p:txBody>
        </p:sp>
      </p:grpSp>
      <p:sp>
        <p:nvSpPr>
          <p:cNvPr id="21" name="Title 52">
            <a:extLst>
              <a:ext uri="{FF2B5EF4-FFF2-40B4-BE49-F238E27FC236}">
                <a16:creationId xmlns:a16="http://schemas.microsoft.com/office/drawing/2014/main" id="{89A93FDB-22F2-DB88-E3D9-E79458EE0E89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 bwMode="auto">
          <a:xfrm>
            <a:off x="3022714" y="1563942"/>
            <a:ext cx="3098572" cy="643253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Helvetica Neue"/>
              <a:buNone/>
              <a:defRPr sz="3400" b="1" i="0" u="none" strike="noStrike" cap="none">
                <a:solidFill>
                  <a:schemeClr val="lt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3828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>
                <a:ln>
                  <a:noFill/>
                </a:ln>
                <a:solidFill>
                  <a:srgbClr val="D59DFF"/>
                </a:solidFill>
                <a:effectLst>
                  <a:outerShdw blurRad="1270000" dist="914400" dir="8100000" algn="tr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Helvetica" pitchFamily="2" charset="0"/>
                <a:ea typeface="+mn-ea"/>
                <a:cs typeface="+mn-cs"/>
                <a:sym typeface="Segoe UI Semibold"/>
              </a:rPr>
              <a:t>Thank You!</a:t>
            </a:r>
          </a:p>
        </p:txBody>
      </p:sp>
      <p:pic>
        <p:nvPicPr>
          <p:cNvPr id="16" name="Google Shape;3049;p316" descr="GitHub Copilot avatar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4132991" y="2590110"/>
            <a:ext cx="845480" cy="7348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2E3B1E4D-F9DD-3193-DC7B-5F335CFDC0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81502" y="481283"/>
            <a:ext cx="3663292" cy="4291371"/>
          </a:xfrm>
          <a:prstGeom prst="roundRect">
            <a:avLst>
              <a:gd name="adj" fmla="val 3592"/>
            </a:avLst>
          </a:prstGeom>
        </p:spPr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IN" sz="1600">
              <a:solidFill>
                <a:srgbClr val="39355E"/>
              </a:solidFill>
              <a:latin typeface="Helvetica" panose="020B0604020202020204" pitchFamily="34" charset="0"/>
              <a:ea typeface="Inter SemiBold"/>
              <a:cs typeface="Helvetica" panose="020B0604020202020204" pitchFamily="34" charset="0"/>
              <a:sym typeface="Inter SemiBold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F29C47E6-CB9D-DDD4-594D-94549AA721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>
                <a:latin typeface="Helvetica" panose="020B0604020202020204" pitchFamily="34" charset="0"/>
                <a:cs typeface="Helvetica" panose="020B0604020202020204" pitchFamily="34" charset="0"/>
                <a:sym typeface="Inter SemiBold"/>
              </a:rPr>
              <a:t>Our Agenda</a:t>
            </a:r>
            <a:endParaRPr lang="en-GB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grpSp>
        <p:nvGrpSpPr>
          <p:cNvPr id="40" name="Group 39" descr="Number 1">
            <a:extLst>
              <a:ext uri="{FF2B5EF4-FFF2-40B4-BE49-F238E27FC236}">
                <a16:creationId xmlns:a16="http://schemas.microsoft.com/office/drawing/2014/main" id="{384C9021-44D2-C97E-1600-384B897825E9}"/>
              </a:ext>
            </a:extLst>
          </p:cNvPr>
          <p:cNvGrpSpPr/>
          <p:nvPr/>
        </p:nvGrpSpPr>
        <p:grpSpPr>
          <a:xfrm>
            <a:off x="4461213" y="845673"/>
            <a:ext cx="621587" cy="620292"/>
            <a:chOff x="4535032" y="562816"/>
            <a:chExt cx="705778" cy="704309"/>
          </a:xfrm>
        </p:grpSpPr>
        <p:sp>
          <p:nvSpPr>
            <p:cNvPr id="37" name="Google Shape;489;p34">
              <a:extLst>
                <a:ext uri="{FF2B5EF4-FFF2-40B4-BE49-F238E27FC236}">
                  <a16:creationId xmlns:a16="http://schemas.microsoft.com/office/drawing/2014/main" id="{DAF3D5DC-5944-725D-5377-C43D3E1371D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535032" y="562816"/>
              <a:ext cx="705778" cy="704309"/>
            </a:xfrm>
            <a:prstGeom prst="ellipse">
              <a:avLst/>
            </a:prstGeom>
            <a:solidFill>
              <a:schemeClr val="accent3">
                <a:alpha val="56860"/>
              </a:schemeClr>
            </a:solidFill>
            <a:ln>
              <a:noFill/>
            </a:ln>
            <a:effectLst>
              <a:outerShdw blurRad="889000" dist="50800" dir="5400000" sx="89000" sy="89000" algn="ctr" rotWithShape="0">
                <a:srgbClr val="000000">
                  <a:alpha val="48630"/>
                </a:srgbClr>
              </a:outerShdw>
            </a:effectLst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0" i="0">
                <a:solidFill>
                  <a:schemeClr val="lt1"/>
                </a:solidFill>
                <a:latin typeface="Helvetica" panose="020B0604020202020204" pitchFamily="34" charset="0"/>
                <a:ea typeface="Calibri"/>
                <a:cs typeface="Helvetica" panose="020B0604020202020204" pitchFamily="34" charset="0"/>
                <a:sym typeface="Calibri"/>
              </a:endParaRPr>
            </a:p>
          </p:txBody>
        </p:sp>
        <p:sp>
          <p:nvSpPr>
            <p:cNvPr id="38" name="Google Shape;490;p34">
              <a:extLst>
                <a:ext uri="{FF2B5EF4-FFF2-40B4-BE49-F238E27FC236}">
                  <a16:creationId xmlns:a16="http://schemas.microsoft.com/office/drawing/2014/main" id="{0AE25EC6-BDB9-D77A-19BB-3550CE9832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654130" y="681620"/>
              <a:ext cx="467582" cy="46670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IN" sz="2000" b="1" i="0">
                  <a:solidFill>
                    <a:schemeClr val="lt1"/>
                  </a:solidFill>
                  <a:latin typeface="Helvetica" panose="020B0604020202020204" pitchFamily="34" charset="0"/>
                  <a:ea typeface="Calibri"/>
                  <a:cs typeface="Helvetica" panose="020B0604020202020204" pitchFamily="34" charset="0"/>
                  <a:sym typeface="Calibri"/>
                </a:rPr>
                <a:t>1</a:t>
              </a:r>
              <a:endParaRPr sz="2000" b="1" i="0">
                <a:solidFill>
                  <a:schemeClr val="lt1"/>
                </a:solidFill>
                <a:latin typeface="Helvetica" panose="020B0604020202020204" pitchFamily="34" charset="0"/>
                <a:ea typeface="Calibri"/>
                <a:cs typeface="Helvetica" panose="020B0604020202020204" pitchFamily="34" charset="0"/>
                <a:sym typeface="Calibri"/>
              </a:endParaRPr>
            </a:p>
          </p:txBody>
        </p:sp>
      </p:grpSp>
      <p:sp>
        <p:nvSpPr>
          <p:cNvPr id="18" name="Google Shape;2594;p293"/>
          <p:cNvSpPr txBox="1">
            <a:spLocks/>
          </p:cNvSpPr>
          <p:nvPr/>
        </p:nvSpPr>
        <p:spPr>
          <a:xfrm>
            <a:off x="5189022" y="863432"/>
            <a:ext cx="2726377" cy="584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bg1"/>
                </a:solidFill>
                <a:latin typeface="Helvetica" panose="020B0604020202020204" pitchFamily="34" charset="0"/>
                <a:ea typeface="Inter SemiBold"/>
                <a:cs typeface="Helvetica" panose="020B0604020202020204" pitchFamily="34" charset="0"/>
                <a:sym typeface="Inter SemiBold"/>
              </a:rPr>
              <a:t>The Copilot Effect</a:t>
            </a:r>
          </a:p>
          <a:p>
            <a:pPr marL="0" lvl="0" indent="0">
              <a:buFont typeface="Arial"/>
              <a:buNone/>
            </a:pPr>
            <a:r>
              <a:rPr lang="en-US" sz="1800" dirty="0" err="1">
                <a:solidFill>
                  <a:schemeClr val="accent2"/>
                </a:solidFill>
                <a:latin typeface="Helvetica" panose="020B0604020202020204" pitchFamily="34" charset="0"/>
                <a:ea typeface="Inter SemiBold"/>
                <a:sym typeface="Inter SemiBold"/>
              </a:rPr>
              <a:t>DevEx</a:t>
            </a:r>
            <a:endParaRPr lang="en-US" sz="1800" dirty="0">
              <a:solidFill>
                <a:schemeClr val="accent2"/>
              </a:solidFill>
              <a:latin typeface="Helvetica" panose="020B0604020202020204" pitchFamily="34" charset="0"/>
              <a:ea typeface="Inter SemiBold"/>
              <a:sym typeface="Inter SemiBold"/>
            </a:endParaRPr>
          </a:p>
        </p:txBody>
      </p:sp>
      <p:grpSp>
        <p:nvGrpSpPr>
          <p:cNvPr id="44" name="Group 43" descr="Number 2">
            <a:extLst>
              <a:ext uri="{FF2B5EF4-FFF2-40B4-BE49-F238E27FC236}">
                <a16:creationId xmlns:a16="http://schemas.microsoft.com/office/drawing/2014/main" id="{57CB0B94-795F-F771-6CB5-D65905F3AAFE}"/>
              </a:ext>
            </a:extLst>
          </p:cNvPr>
          <p:cNvGrpSpPr/>
          <p:nvPr/>
        </p:nvGrpSpPr>
        <p:grpSpPr>
          <a:xfrm>
            <a:off x="4461213" y="2316823"/>
            <a:ext cx="621587" cy="620292"/>
            <a:chOff x="4535032" y="562816"/>
            <a:chExt cx="705778" cy="704309"/>
          </a:xfrm>
        </p:grpSpPr>
        <p:sp>
          <p:nvSpPr>
            <p:cNvPr id="45" name="Google Shape;489;p34">
              <a:extLst>
                <a:ext uri="{FF2B5EF4-FFF2-40B4-BE49-F238E27FC236}">
                  <a16:creationId xmlns:a16="http://schemas.microsoft.com/office/drawing/2014/main" id="{59AD4CAE-70BF-DC16-E074-ECCF0749A5E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535032" y="562816"/>
              <a:ext cx="705778" cy="704309"/>
            </a:xfrm>
            <a:prstGeom prst="ellipse">
              <a:avLst/>
            </a:prstGeom>
            <a:solidFill>
              <a:schemeClr val="accent3">
                <a:alpha val="56860"/>
              </a:schemeClr>
            </a:solidFill>
            <a:ln>
              <a:noFill/>
            </a:ln>
            <a:effectLst>
              <a:outerShdw blurRad="889000" dist="50800" dir="5400000" sx="89000" sy="89000" algn="ctr" rotWithShape="0">
                <a:srgbClr val="000000">
                  <a:alpha val="48630"/>
                </a:srgbClr>
              </a:outerShdw>
            </a:effectLst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0" i="0">
                <a:solidFill>
                  <a:schemeClr val="lt1"/>
                </a:solidFill>
                <a:latin typeface="Helvetica" panose="020B0604020202020204" pitchFamily="34" charset="0"/>
                <a:ea typeface="Calibri"/>
                <a:cs typeface="Helvetica" panose="020B0604020202020204" pitchFamily="34" charset="0"/>
                <a:sym typeface="Calibri"/>
              </a:endParaRPr>
            </a:p>
          </p:txBody>
        </p:sp>
        <p:sp>
          <p:nvSpPr>
            <p:cNvPr id="46" name="Google Shape;490;p34">
              <a:extLst>
                <a:ext uri="{FF2B5EF4-FFF2-40B4-BE49-F238E27FC236}">
                  <a16:creationId xmlns:a16="http://schemas.microsoft.com/office/drawing/2014/main" id="{E57A768B-F91B-B36E-0F3F-2870840B9D7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654130" y="681620"/>
              <a:ext cx="467582" cy="46670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IN" sz="2000" b="1" i="0">
                  <a:solidFill>
                    <a:schemeClr val="lt1"/>
                  </a:solidFill>
                  <a:latin typeface="Helvetica" panose="020B0604020202020204" pitchFamily="34" charset="0"/>
                  <a:ea typeface="Calibri"/>
                  <a:cs typeface="Helvetica" panose="020B0604020202020204" pitchFamily="34" charset="0"/>
                  <a:sym typeface="Calibri"/>
                </a:rPr>
                <a:t>2</a:t>
              </a:r>
              <a:endParaRPr sz="2000" b="1" i="0">
                <a:solidFill>
                  <a:schemeClr val="lt1"/>
                </a:solidFill>
                <a:latin typeface="Helvetica" panose="020B0604020202020204" pitchFamily="34" charset="0"/>
                <a:ea typeface="Calibri"/>
                <a:cs typeface="Helvetica" panose="020B0604020202020204" pitchFamily="34" charset="0"/>
                <a:sym typeface="Calibri"/>
              </a:endParaRPr>
            </a:p>
          </p:txBody>
        </p:sp>
      </p:grpSp>
      <p:sp>
        <p:nvSpPr>
          <p:cNvPr id="20" name="Google Shape;2596;p293"/>
          <p:cNvSpPr txBox="1">
            <a:spLocks/>
          </p:cNvSpPr>
          <p:nvPr/>
        </p:nvSpPr>
        <p:spPr>
          <a:xfrm>
            <a:off x="5189022" y="2334582"/>
            <a:ext cx="2726377" cy="584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bg1"/>
                </a:solidFill>
                <a:latin typeface="Helvetica" panose="020B0604020202020204" pitchFamily="34" charset="0"/>
                <a:ea typeface="Inter SemiBold"/>
                <a:cs typeface="Helvetica" panose="020B0604020202020204" pitchFamily="34" charset="0"/>
                <a:sym typeface="Inter SemiBold"/>
              </a:rPr>
              <a:t>How It Works</a:t>
            </a:r>
          </a:p>
          <a:p>
            <a:pPr marL="0" lvl="0" indent="0">
              <a:buFont typeface="Arial"/>
              <a:buNone/>
            </a:pPr>
            <a:r>
              <a:rPr lang="en-US" sz="1800" dirty="0">
                <a:solidFill>
                  <a:schemeClr val="accent2"/>
                </a:solidFill>
                <a:latin typeface="Helvetica" panose="020B0604020202020204" pitchFamily="34" charset="0"/>
                <a:ea typeface="Inter SemiBold"/>
                <a:sym typeface="Inter SemiBold"/>
              </a:rPr>
              <a:t>A 2-minute overview</a:t>
            </a:r>
          </a:p>
        </p:txBody>
      </p:sp>
      <p:grpSp>
        <p:nvGrpSpPr>
          <p:cNvPr id="47" name="Group 46" descr="Number 3">
            <a:extLst>
              <a:ext uri="{FF2B5EF4-FFF2-40B4-BE49-F238E27FC236}">
                <a16:creationId xmlns:a16="http://schemas.microsoft.com/office/drawing/2014/main" id="{5108AEA1-510B-47BA-25E3-AF1213FCB8E7}"/>
              </a:ext>
            </a:extLst>
          </p:cNvPr>
          <p:cNvGrpSpPr/>
          <p:nvPr/>
        </p:nvGrpSpPr>
        <p:grpSpPr>
          <a:xfrm>
            <a:off x="4461213" y="3787972"/>
            <a:ext cx="621587" cy="620292"/>
            <a:chOff x="4535032" y="562816"/>
            <a:chExt cx="705778" cy="704309"/>
          </a:xfrm>
        </p:grpSpPr>
        <p:sp>
          <p:nvSpPr>
            <p:cNvPr id="48" name="Google Shape;489;p34">
              <a:extLst>
                <a:ext uri="{FF2B5EF4-FFF2-40B4-BE49-F238E27FC236}">
                  <a16:creationId xmlns:a16="http://schemas.microsoft.com/office/drawing/2014/main" id="{121FF3B0-D8E6-7BB7-2773-09A12EC00E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535032" y="562816"/>
              <a:ext cx="705778" cy="704309"/>
            </a:xfrm>
            <a:prstGeom prst="ellipse">
              <a:avLst/>
            </a:prstGeom>
            <a:solidFill>
              <a:schemeClr val="accent3">
                <a:alpha val="56860"/>
              </a:schemeClr>
            </a:solidFill>
            <a:ln>
              <a:noFill/>
            </a:ln>
            <a:effectLst>
              <a:outerShdw blurRad="889000" dist="50800" dir="5400000" sx="89000" sy="89000" algn="ctr" rotWithShape="0">
                <a:srgbClr val="000000">
                  <a:alpha val="48630"/>
                </a:srgbClr>
              </a:outerShdw>
            </a:effectLst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0" i="0">
                <a:solidFill>
                  <a:schemeClr val="lt1"/>
                </a:solidFill>
                <a:latin typeface="Helvetica" panose="020B0604020202020204" pitchFamily="34" charset="0"/>
                <a:ea typeface="Calibri"/>
                <a:cs typeface="Helvetica" panose="020B0604020202020204" pitchFamily="34" charset="0"/>
                <a:sym typeface="Calibri"/>
              </a:endParaRPr>
            </a:p>
          </p:txBody>
        </p:sp>
        <p:sp>
          <p:nvSpPr>
            <p:cNvPr id="49" name="Google Shape;490;p34">
              <a:extLst>
                <a:ext uri="{FF2B5EF4-FFF2-40B4-BE49-F238E27FC236}">
                  <a16:creationId xmlns:a16="http://schemas.microsoft.com/office/drawing/2014/main" id="{F3549B81-EBF2-E36F-C795-09B7E482CD4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654130" y="681620"/>
              <a:ext cx="467582" cy="46670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IN" sz="2000" b="1" i="0">
                  <a:solidFill>
                    <a:schemeClr val="lt1"/>
                  </a:solidFill>
                  <a:latin typeface="Helvetica" panose="020B0604020202020204" pitchFamily="34" charset="0"/>
                  <a:ea typeface="Calibri"/>
                  <a:cs typeface="Helvetica" panose="020B0604020202020204" pitchFamily="34" charset="0"/>
                  <a:sym typeface="Calibri"/>
                </a:rPr>
                <a:t>3</a:t>
              </a:r>
              <a:endParaRPr sz="2000" b="1" i="0">
                <a:solidFill>
                  <a:schemeClr val="lt1"/>
                </a:solidFill>
                <a:latin typeface="Helvetica" panose="020B0604020202020204" pitchFamily="34" charset="0"/>
                <a:ea typeface="Calibri"/>
                <a:cs typeface="Helvetica" panose="020B0604020202020204" pitchFamily="34" charset="0"/>
                <a:sym typeface="Calibri"/>
              </a:endParaRPr>
            </a:p>
          </p:txBody>
        </p:sp>
      </p:grpSp>
      <p:sp>
        <p:nvSpPr>
          <p:cNvPr id="23" name="Google Shape;2599;p293"/>
          <p:cNvSpPr txBox="1">
            <a:spLocks/>
          </p:cNvSpPr>
          <p:nvPr/>
        </p:nvSpPr>
        <p:spPr>
          <a:xfrm>
            <a:off x="5189022" y="3805731"/>
            <a:ext cx="2726377" cy="584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bg1"/>
                </a:solidFill>
                <a:latin typeface="Helvetica" panose="020B0604020202020204" pitchFamily="34" charset="0"/>
                <a:ea typeface="Inter SemiBold"/>
                <a:cs typeface="Helvetica" panose="020B0604020202020204" pitchFamily="34" charset="0"/>
                <a:sym typeface="Inter SemiBold"/>
              </a:rPr>
              <a:t>The Demos</a:t>
            </a:r>
          </a:p>
          <a:p>
            <a:pPr marL="0" lvl="0" indent="0">
              <a:buFont typeface="Arial"/>
              <a:buNone/>
            </a:pPr>
            <a:r>
              <a:rPr lang="en-US" sz="1800" dirty="0">
                <a:solidFill>
                  <a:schemeClr val="accent2"/>
                </a:solidFill>
                <a:latin typeface="Helvetica" panose="020B0604020202020204" pitchFamily="34" charset="0"/>
                <a:ea typeface="Inter SemiBold"/>
                <a:sym typeface="Inter SemiBold"/>
              </a:rPr>
              <a:t>5 ways I stay in the flow</a:t>
            </a:r>
          </a:p>
        </p:txBody>
      </p:sp>
    </p:spTree>
    <p:extLst>
      <p:ext uri="{BB962C8B-B14F-4D97-AF65-F5344CB8AC3E}">
        <p14:creationId xmlns:p14="http://schemas.microsoft.com/office/powerpoint/2010/main" val="41562496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4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oogle Shape;427;p33">
            <a:extLst>
              <a:ext uri="{FF2B5EF4-FFF2-40B4-BE49-F238E27FC236}">
                <a16:creationId xmlns:a16="http://schemas.microsoft.com/office/drawing/2014/main" id="{C1E54C84-6524-C807-055D-A660C5FA6B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4">
            <a:alphaModFix amt="23000"/>
          </a:blip>
          <a:srcRect r="33453" b="13524"/>
          <a:stretch/>
        </p:blipFill>
        <p:spPr>
          <a:xfrm>
            <a:off x="4878193" y="3"/>
            <a:ext cx="4265812" cy="5143497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545;p36">
            <a:extLst>
              <a:ext uri="{FF2B5EF4-FFF2-40B4-BE49-F238E27FC236}">
                <a16:creationId xmlns:a16="http://schemas.microsoft.com/office/drawing/2014/main" id="{423CAA25-EB5A-E80D-C071-A8FBBDBFE3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6300000">
            <a:off x="-989730" y="-235696"/>
            <a:ext cx="5104200" cy="5107072"/>
          </a:xfrm>
          <a:prstGeom prst="ellipse">
            <a:avLst/>
          </a:prstGeom>
          <a:gradFill>
            <a:gsLst>
              <a:gs pos="0">
                <a:schemeClr val="accent3"/>
              </a:gs>
              <a:gs pos="72000">
                <a:srgbClr val="D59DFF">
                  <a:alpha val="0"/>
                </a:srgbClr>
              </a:gs>
              <a:gs pos="100000">
                <a:srgbClr val="D59DFF">
                  <a:alpha val="0"/>
                </a:srgbClr>
              </a:gs>
            </a:gsLst>
            <a:lin ang="2700006" scaled="0"/>
          </a:gradFill>
          <a:ln>
            <a:noFill/>
          </a:ln>
        </p:spPr>
        <p:txBody>
          <a:bodyPr spcFirstLastPara="1" wrap="square" lIns="42900" tIns="21450" rIns="42900" bIns="214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 b="0" i="0">
              <a:solidFill>
                <a:schemeClr val="lt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6" name="Arrow: Bent 5">
            <a:extLst>
              <a:ext uri="{FF2B5EF4-FFF2-40B4-BE49-F238E27FC236}">
                <a16:creationId xmlns:a16="http://schemas.microsoft.com/office/drawing/2014/main" id="{8C9C5E70-8ACA-78C8-55D9-DC46F25784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 flipH="1">
            <a:off x="3009356" y="2988418"/>
            <a:ext cx="2778439" cy="265534"/>
          </a:xfrm>
          <a:prstGeom prst="bentArrow">
            <a:avLst>
              <a:gd name="adj1" fmla="val 25000"/>
              <a:gd name="adj2" fmla="val 0"/>
              <a:gd name="adj3" fmla="val 25000"/>
              <a:gd name="adj4" fmla="val 23189"/>
            </a:avLst>
          </a:prstGeom>
          <a:noFill/>
          <a:ln w="6350" cap="flat" cmpd="sng" algn="ctr">
            <a:solidFill>
              <a:sysClr val="window" lastClr="FFFFFF">
                <a:alpha val="16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en-GB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BF5973E-192E-EE1E-FD25-9DB0642E9F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4649703" y="2630603"/>
            <a:ext cx="3883167" cy="346788"/>
          </a:xfrm>
          <a:prstGeom prst="roundRect">
            <a:avLst>
              <a:gd name="adj" fmla="val 50000"/>
            </a:avLst>
          </a:prstGeom>
          <a:solidFill>
            <a:schemeClr val="accent3">
              <a:alpha val="56860"/>
            </a:schemeClr>
          </a:solidFill>
          <a:ln>
            <a:noFill/>
          </a:ln>
          <a:effectLst>
            <a:outerShdw blurRad="889000" dist="50800" dir="5400000" sx="89000" sy="89000" algn="ctr" rotWithShape="0">
              <a:srgbClr val="000000">
                <a:alpha val="4863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endParaRPr lang="en-GB" sz="1600">
              <a:solidFill>
                <a:schemeClr val="bg1"/>
              </a:solidFill>
              <a:latin typeface="Helvetica" panose="020B0604020202020204" pitchFamily="34" charset="0"/>
              <a:ea typeface="Inter"/>
              <a:cs typeface="Helvetica" panose="020B0604020202020204" pitchFamily="34" charset="0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CC4DEF5-5DAF-38AB-3685-7595A16B9C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4649703" y="3361599"/>
            <a:ext cx="3883167" cy="346788"/>
          </a:xfrm>
          <a:prstGeom prst="roundRect">
            <a:avLst>
              <a:gd name="adj" fmla="val 50000"/>
            </a:avLst>
          </a:prstGeom>
          <a:solidFill>
            <a:schemeClr val="accent3">
              <a:alpha val="56860"/>
            </a:schemeClr>
          </a:solidFill>
          <a:ln>
            <a:noFill/>
          </a:ln>
          <a:effectLst>
            <a:outerShdw blurRad="889000" dist="50800" dir="5400000" sx="89000" sy="89000" algn="ctr" rotWithShape="0">
              <a:srgbClr val="000000">
                <a:alpha val="48630"/>
              </a:srgbClr>
            </a:outerShdw>
          </a:effectLst>
        </p:spPr>
        <p:txBody>
          <a:bodyPr spcFirstLastPara="1" wrap="square" lIns="408660" tIns="21450" rIns="42900" bIns="21450" anchor="ctr" anchorCtr="0">
            <a:noAutofit/>
          </a:bodyPr>
          <a:lstStyle/>
          <a:p>
            <a:endParaRPr lang="en-GB" sz="1600">
              <a:solidFill>
                <a:schemeClr val="bg1"/>
              </a:solidFill>
              <a:latin typeface="Helvetica" panose="020B0604020202020204" pitchFamily="34" charset="0"/>
              <a:ea typeface="Inter"/>
              <a:cs typeface="Helvetica" panose="020B0604020202020204" pitchFamily="34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F10A8DAB-AAA2-E475-EE22-8E0D624540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4649703" y="4094842"/>
            <a:ext cx="3883167" cy="346788"/>
          </a:xfrm>
          <a:prstGeom prst="roundRect">
            <a:avLst>
              <a:gd name="adj" fmla="val 50000"/>
            </a:avLst>
          </a:prstGeom>
          <a:solidFill>
            <a:schemeClr val="accent3">
              <a:alpha val="56860"/>
            </a:schemeClr>
          </a:solidFill>
          <a:ln>
            <a:noFill/>
          </a:ln>
          <a:effectLst>
            <a:outerShdw blurRad="889000" dist="50800" dir="5400000" sx="89000" sy="89000" algn="ctr" rotWithShape="0">
              <a:srgbClr val="000000">
                <a:alpha val="48630"/>
              </a:srgbClr>
            </a:outerShdw>
          </a:effectLst>
        </p:spPr>
        <p:txBody>
          <a:bodyPr spcFirstLastPara="1" wrap="square" lIns="408660" tIns="21450" rIns="42900" bIns="21450" anchor="ctr" anchorCtr="0">
            <a:noAutofit/>
          </a:bodyPr>
          <a:lstStyle/>
          <a:p>
            <a:endParaRPr lang="en-GB" sz="1600">
              <a:solidFill>
                <a:schemeClr val="bg1"/>
              </a:solidFill>
              <a:latin typeface="Helvetica" panose="020B0604020202020204" pitchFamily="34" charset="0"/>
              <a:ea typeface="Inter"/>
              <a:cs typeface="Helvetica" panose="020B0604020202020204" pitchFamily="34" charset="0"/>
            </a:endParaRPr>
          </a:p>
        </p:txBody>
      </p:sp>
      <p:sp>
        <p:nvSpPr>
          <p:cNvPr id="10" name="Arrow: U-Turn 9">
            <a:extLst>
              <a:ext uri="{FF2B5EF4-FFF2-40B4-BE49-F238E27FC236}">
                <a16:creationId xmlns:a16="http://schemas.microsoft.com/office/drawing/2014/main" id="{6424A8F5-6CE4-6E4E-407B-5C2898B0A7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 flipV="1">
            <a:off x="6464637" y="-336269"/>
            <a:ext cx="134938" cy="4001526"/>
          </a:xfrm>
          <a:prstGeom prst="uturnArrow">
            <a:avLst>
              <a:gd name="adj1" fmla="val 25000"/>
              <a:gd name="adj2" fmla="val 0"/>
              <a:gd name="adj3" fmla="val 15220"/>
              <a:gd name="adj4" fmla="val 43750"/>
              <a:gd name="adj5" fmla="val 40220"/>
            </a:avLst>
          </a:prstGeom>
          <a:noFill/>
          <a:ln w="6350" cap="flat" cmpd="sng" algn="ctr">
            <a:solidFill>
              <a:sysClr val="window" lastClr="FFFFFF">
                <a:alpha val="16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en-GB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1" name="Google Shape;525;p35">
            <a:extLst>
              <a:ext uri="{FF2B5EF4-FFF2-40B4-BE49-F238E27FC236}">
                <a16:creationId xmlns:a16="http://schemas.microsoft.com/office/drawing/2014/main" id="{897EA1E9-F2CD-0FA0-9E2F-A23240550C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400000">
            <a:off x="5666809" y="161888"/>
            <a:ext cx="73200" cy="2875200"/>
          </a:xfrm>
          <a:prstGeom prst="rect">
            <a:avLst/>
          </a:prstGeom>
          <a:gradFill>
            <a:gsLst>
              <a:gs pos="0">
                <a:srgbClr val="D59DFF"/>
              </a:gs>
              <a:gs pos="100000">
                <a:srgbClr val="28AFEA"/>
              </a:gs>
            </a:gsLst>
            <a:lin ang="5400012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0" i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5CF9975-230E-5D78-2615-CE680B9934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31410" y="4510403"/>
            <a:ext cx="73200" cy="73200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FAE073C-B0D2-7616-B5B8-457EB67145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/>
        </p:nvGrpSpPr>
        <p:grpSpPr>
          <a:xfrm>
            <a:off x="4394230" y="2488630"/>
            <a:ext cx="630734" cy="630734"/>
            <a:chOff x="4535032" y="562816"/>
            <a:chExt cx="705778" cy="704309"/>
          </a:xfrm>
        </p:grpSpPr>
        <p:sp>
          <p:nvSpPr>
            <p:cNvPr id="14" name="Google Shape;489;p34">
              <a:extLst>
                <a:ext uri="{FF2B5EF4-FFF2-40B4-BE49-F238E27FC236}">
                  <a16:creationId xmlns:a16="http://schemas.microsoft.com/office/drawing/2014/main" id="{1FBFA6C2-517C-C713-7985-20250C5D0B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535032" y="562816"/>
              <a:ext cx="705778" cy="704309"/>
            </a:xfrm>
            <a:prstGeom prst="ellipse">
              <a:avLst/>
            </a:prstGeom>
            <a:solidFill>
              <a:schemeClr val="accent3">
                <a:alpha val="56860"/>
              </a:schemeClr>
            </a:solidFill>
            <a:ln>
              <a:noFill/>
            </a:ln>
            <a:effectLst>
              <a:outerShdw blurRad="889000" dist="50800" dir="5400000" sx="89000" sy="89000" algn="ctr" rotWithShape="0">
                <a:srgbClr val="000000">
                  <a:alpha val="48630"/>
                </a:srgbClr>
              </a:outerShdw>
            </a:effectLst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0" i="0">
                <a:solidFill>
                  <a:schemeClr val="lt1"/>
                </a:solidFill>
                <a:latin typeface="Helvetica" panose="020B0604020202020204" pitchFamily="34" charset="0"/>
                <a:ea typeface="Calibri"/>
                <a:cs typeface="Helvetica" panose="020B0604020202020204" pitchFamily="34" charset="0"/>
                <a:sym typeface="Calibri"/>
              </a:endParaRPr>
            </a:p>
          </p:txBody>
        </p:sp>
        <p:sp>
          <p:nvSpPr>
            <p:cNvPr id="15" name="Google Shape;490;p34">
              <a:extLst>
                <a:ext uri="{FF2B5EF4-FFF2-40B4-BE49-F238E27FC236}">
                  <a16:creationId xmlns:a16="http://schemas.microsoft.com/office/drawing/2014/main" id="{CB10029B-8CC4-51D7-0AB2-0F874C9DBF2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654130" y="681620"/>
              <a:ext cx="467582" cy="46670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 b="1" i="0">
                <a:solidFill>
                  <a:schemeClr val="lt1"/>
                </a:solidFill>
                <a:latin typeface="Helvetica" panose="020B0604020202020204" pitchFamily="34" charset="0"/>
                <a:ea typeface="Calibri"/>
                <a:cs typeface="Helvetica" panose="020B0604020202020204" pitchFamily="34" charset="0"/>
                <a:sym typeface="Calibri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5189078-5776-A415-BE4B-D6898D54FA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/>
        </p:nvGrpSpPr>
        <p:grpSpPr>
          <a:xfrm>
            <a:off x="4394230" y="3219626"/>
            <a:ext cx="630734" cy="630734"/>
            <a:chOff x="4535032" y="562816"/>
            <a:chExt cx="705778" cy="704309"/>
          </a:xfrm>
        </p:grpSpPr>
        <p:sp>
          <p:nvSpPr>
            <p:cNvPr id="17" name="Google Shape;489;p34">
              <a:extLst>
                <a:ext uri="{FF2B5EF4-FFF2-40B4-BE49-F238E27FC236}">
                  <a16:creationId xmlns:a16="http://schemas.microsoft.com/office/drawing/2014/main" id="{282786B1-B893-BF8C-7E36-1F11077E08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535032" y="562816"/>
              <a:ext cx="705778" cy="704309"/>
            </a:xfrm>
            <a:prstGeom prst="ellipse">
              <a:avLst/>
            </a:prstGeom>
            <a:solidFill>
              <a:schemeClr val="accent3">
                <a:alpha val="56860"/>
              </a:schemeClr>
            </a:solidFill>
            <a:ln>
              <a:noFill/>
            </a:ln>
            <a:effectLst>
              <a:outerShdw blurRad="889000" dist="50800" dir="5400000" sx="89000" sy="89000" algn="ctr" rotWithShape="0">
                <a:srgbClr val="000000">
                  <a:alpha val="48630"/>
                </a:srgbClr>
              </a:outerShdw>
            </a:effectLst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0" i="0">
                <a:solidFill>
                  <a:schemeClr val="lt1"/>
                </a:solidFill>
                <a:latin typeface="Helvetica" panose="020B0604020202020204" pitchFamily="34" charset="0"/>
                <a:ea typeface="Calibri"/>
                <a:cs typeface="Helvetica" panose="020B0604020202020204" pitchFamily="34" charset="0"/>
                <a:sym typeface="Calibri"/>
              </a:endParaRPr>
            </a:p>
          </p:txBody>
        </p:sp>
        <p:sp>
          <p:nvSpPr>
            <p:cNvPr id="18" name="Google Shape;490;p34">
              <a:extLst>
                <a:ext uri="{FF2B5EF4-FFF2-40B4-BE49-F238E27FC236}">
                  <a16:creationId xmlns:a16="http://schemas.microsoft.com/office/drawing/2014/main" id="{30F3B035-99CF-93EC-C5EE-2EE2D71BCB0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654130" y="681620"/>
              <a:ext cx="467582" cy="46670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 b="1" i="0">
                <a:solidFill>
                  <a:schemeClr val="lt1"/>
                </a:solidFill>
                <a:latin typeface="Helvetica" panose="020B0604020202020204" pitchFamily="34" charset="0"/>
                <a:ea typeface="Calibri"/>
                <a:cs typeface="Helvetica" panose="020B0604020202020204" pitchFamily="34" charset="0"/>
                <a:sym typeface="Calibri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8AB574E-F43C-6BBC-2C50-B0F53B33BA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/>
        </p:nvGrpSpPr>
        <p:grpSpPr>
          <a:xfrm>
            <a:off x="4394230" y="3952869"/>
            <a:ext cx="630734" cy="630734"/>
            <a:chOff x="4535032" y="562816"/>
            <a:chExt cx="705778" cy="704309"/>
          </a:xfrm>
        </p:grpSpPr>
        <p:sp>
          <p:nvSpPr>
            <p:cNvPr id="20" name="Google Shape;489;p34">
              <a:extLst>
                <a:ext uri="{FF2B5EF4-FFF2-40B4-BE49-F238E27FC236}">
                  <a16:creationId xmlns:a16="http://schemas.microsoft.com/office/drawing/2014/main" id="{94AFAC89-7E93-E252-C385-EBA6F564B1C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535032" y="562816"/>
              <a:ext cx="705778" cy="704309"/>
            </a:xfrm>
            <a:prstGeom prst="ellipse">
              <a:avLst/>
            </a:prstGeom>
            <a:solidFill>
              <a:schemeClr val="accent3">
                <a:alpha val="56860"/>
              </a:schemeClr>
            </a:solidFill>
            <a:ln>
              <a:noFill/>
            </a:ln>
            <a:effectLst>
              <a:outerShdw blurRad="889000" dist="50800" dir="5400000" sx="89000" sy="89000" algn="ctr" rotWithShape="0">
                <a:srgbClr val="000000">
                  <a:alpha val="48630"/>
                </a:srgbClr>
              </a:outerShdw>
            </a:effectLst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0" i="0">
                <a:solidFill>
                  <a:schemeClr val="lt1"/>
                </a:solidFill>
                <a:latin typeface="Helvetica" panose="020B0604020202020204" pitchFamily="34" charset="0"/>
                <a:ea typeface="Calibri"/>
                <a:cs typeface="Helvetica" panose="020B0604020202020204" pitchFamily="34" charset="0"/>
                <a:sym typeface="Calibri"/>
              </a:endParaRPr>
            </a:p>
          </p:txBody>
        </p:sp>
        <p:sp>
          <p:nvSpPr>
            <p:cNvPr id="21" name="Google Shape;490;p34">
              <a:extLst>
                <a:ext uri="{FF2B5EF4-FFF2-40B4-BE49-F238E27FC236}">
                  <a16:creationId xmlns:a16="http://schemas.microsoft.com/office/drawing/2014/main" id="{4D82FD48-C3A8-7BBF-0EA4-01CEB2E723D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654130" y="681620"/>
              <a:ext cx="467582" cy="46670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42900" tIns="21450" rIns="42900" bIns="214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 b="1" i="0">
                <a:solidFill>
                  <a:schemeClr val="lt1"/>
                </a:solidFill>
                <a:latin typeface="Helvetica" panose="020B0604020202020204" pitchFamily="34" charset="0"/>
                <a:ea typeface="Calibri"/>
                <a:cs typeface="Helvetica" panose="020B0604020202020204" pitchFamily="34" charset="0"/>
                <a:sym typeface="Calibri"/>
              </a:endParaRPr>
            </a:p>
          </p:txBody>
        </p:sp>
      </p:grpSp>
      <p:sp>
        <p:nvSpPr>
          <p:cNvPr id="23" name="Free-form: Shape 2663">
            <a:extLst>
              <a:ext uri="{FF2B5EF4-FFF2-40B4-BE49-F238E27FC236}">
                <a16:creationId xmlns:a16="http://schemas.microsoft.com/office/drawing/2014/main" id="{4F33050B-5994-A1C1-A1C9-69CD16BFAE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601343" y="2695743"/>
            <a:ext cx="216508" cy="216508"/>
          </a:xfrm>
          <a:custGeom>
            <a:avLst/>
            <a:gdLst>
              <a:gd name="connsiteX0" fmla="*/ 1277722 w 3901439"/>
              <a:gd name="connsiteY0" fmla="*/ 2385974 h 3901440"/>
              <a:gd name="connsiteX1" fmla="*/ 1233830 w 3901439"/>
              <a:gd name="connsiteY1" fmla="*/ 2404262 h 3901440"/>
              <a:gd name="connsiteX2" fmla="*/ 424282 w 3901439"/>
              <a:gd name="connsiteY2" fmla="*/ 3213811 h 3901440"/>
              <a:gd name="connsiteX3" fmla="*/ 234086 w 3901439"/>
              <a:gd name="connsiteY3" fmla="*/ 3023616 h 3901440"/>
              <a:gd name="connsiteX4" fmla="*/ 190195 w 3901439"/>
              <a:gd name="connsiteY4" fmla="*/ 3004109 h 3901440"/>
              <a:gd name="connsiteX5" fmla="*/ 165811 w 3901439"/>
              <a:gd name="connsiteY5" fmla="*/ 3008985 h 3901440"/>
              <a:gd name="connsiteX6" fmla="*/ 126797 w 3901439"/>
              <a:gd name="connsiteY6" fmla="*/ 3067507 h 3901440"/>
              <a:gd name="connsiteX7" fmla="*/ 126797 w 3901439"/>
              <a:gd name="connsiteY7" fmla="*/ 3716122 h 3901440"/>
              <a:gd name="connsiteX8" fmla="*/ 190195 w 3901439"/>
              <a:gd name="connsiteY8" fmla="*/ 3779520 h 3901440"/>
              <a:gd name="connsiteX9" fmla="*/ 833933 w 3901439"/>
              <a:gd name="connsiteY9" fmla="*/ 3779520 h 3901440"/>
              <a:gd name="connsiteX10" fmla="*/ 892454 w 3901439"/>
              <a:gd name="connsiteY10" fmla="*/ 3740506 h 3901440"/>
              <a:gd name="connsiteX11" fmla="*/ 877824 w 3901439"/>
              <a:gd name="connsiteY11" fmla="*/ 3672231 h 3901440"/>
              <a:gd name="connsiteX12" fmla="*/ 687629 w 3901439"/>
              <a:gd name="connsiteY12" fmla="*/ 3482035 h 3901440"/>
              <a:gd name="connsiteX13" fmla="*/ 1502054 w 3901439"/>
              <a:gd name="connsiteY13" fmla="*/ 2672487 h 3901440"/>
              <a:gd name="connsiteX14" fmla="*/ 1521562 w 3901439"/>
              <a:gd name="connsiteY14" fmla="*/ 2628595 h 3901440"/>
              <a:gd name="connsiteX15" fmla="*/ 1502054 w 3901439"/>
              <a:gd name="connsiteY15" fmla="*/ 2584704 h 3901440"/>
              <a:gd name="connsiteX16" fmla="*/ 1321613 w 3901439"/>
              <a:gd name="connsiteY16" fmla="*/ 2404262 h 3901440"/>
              <a:gd name="connsiteX17" fmla="*/ 1277722 w 3901439"/>
              <a:gd name="connsiteY17" fmla="*/ 2385974 h 3901440"/>
              <a:gd name="connsiteX18" fmla="*/ 2623718 w 3901439"/>
              <a:gd name="connsiteY18" fmla="*/ 2379878 h 3901440"/>
              <a:gd name="connsiteX19" fmla="*/ 2579827 w 3901439"/>
              <a:gd name="connsiteY19" fmla="*/ 2399385 h 3901440"/>
              <a:gd name="connsiteX20" fmla="*/ 2399385 w 3901439"/>
              <a:gd name="connsiteY20" fmla="*/ 2579827 h 3901440"/>
              <a:gd name="connsiteX21" fmla="*/ 2379878 w 3901439"/>
              <a:gd name="connsiteY21" fmla="*/ 2623718 h 3901440"/>
              <a:gd name="connsiteX22" fmla="*/ 2399385 w 3901439"/>
              <a:gd name="connsiteY22" fmla="*/ 2667609 h 3901440"/>
              <a:gd name="connsiteX23" fmla="*/ 3213811 w 3901439"/>
              <a:gd name="connsiteY23" fmla="*/ 3477158 h 3901440"/>
              <a:gd name="connsiteX24" fmla="*/ 3023615 w 3901439"/>
              <a:gd name="connsiteY24" fmla="*/ 3667353 h 3901440"/>
              <a:gd name="connsiteX25" fmla="*/ 3008985 w 3901439"/>
              <a:gd name="connsiteY25" fmla="*/ 3735629 h 3901440"/>
              <a:gd name="connsiteX26" fmla="*/ 3067507 w 3901439"/>
              <a:gd name="connsiteY26" fmla="*/ 3774643 h 3901440"/>
              <a:gd name="connsiteX27" fmla="*/ 3711244 w 3901439"/>
              <a:gd name="connsiteY27" fmla="*/ 3774643 h 3901440"/>
              <a:gd name="connsiteX28" fmla="*/ 3774643 w 3901439"/>
              <a:gd name="connsiteY28" fmla="*/ 3711245 h 3901440"/>
              <a:gd name="connsiteX29" fmla="*/ 3774643 w 3901439"/>
              <a:gd name="connsiteY29" fmla="*/ 3062630 h 3901440"/>
              <a:gd name="connsiteX30" fmla="*/ 3735628 w 3901439"/>
              <a:gd name="connsiteY30" fmla="*/ 3004108 h 3901440"/>
              <a:gd name="connsiteX31" fmla="*/ 3667353 w 3901439"/>
              <a:gd name="connsiteY31" fmla="*/ 3018739 h 3901440"/>
              <a:gd name="connsiteX32" fmla="*/ 3477158 w 3901439"/>
              <a:gd name="connsiteY32" fmla="*/ 3208934 h 3901440"/>
              <a:gd name="connsiteX33" fmla="*/ 2667609 w 3901439"/>
              <a:gd name="connsiteY33" fmla="*/ 2399385 h 3901440"/>
              <a:gd name="connsiteX34" fmla="*/ 2623718 w 3901439"/>
              <a:gd name="connsiteY34" fmla="*/ 2379878 h 3901440"/>
              <a:gd name="connsiteX35" fmla="*/ 1280160 w 3901439"/>
              <a:gd name="connsiteY35" fmla="*/ 2261616 h 3901440"/>
              <a:gd name="connsiteX36" fmla="*/ 1414272 w 3901439"/>
              <a:gd name="connsiteY36" fmla="*/ 2316480 h 3901440"/>
              <a:gd name="connsiteX37" fmla="*/ 1594714 w 3901439"/>
              <a:gd name="connsiteY37" fmla="*/ 2496922 h 3901440"/>
              <a:gd name="connsiteX38" fmla="*/ 1648358 w 3901439"/>
              <a:gd name="connsiteY38" fmla="*/ 2628595 h 3901440"/>
              <a:gd name="connsiteX39" fmla="*/ 1594714 w 3901439"/>
              <a:gd name="connsiteY39" fmla="*/ 2760269 h 3901440"/>
              <a:gd name="connsiteX40" fmla="*/ 872947 w 3901439"/>
              <a:gd name="connsiteY40" fmla="*/ 3482035 h 3901440"/>
              <a:gd name="connsiteX41" fmla="*/ 970483 w 3901439"/>
              <a:gd name="connsiteY41" fmla="*/ 3579571 h 3901440"/>
              <a:gd name="connsiteX42" fmla="*/ 1009498 w 3901439"/>
              <a:gd name="connsiteY42" fmla="*/ 3784397 h 3901440"/>
              <a:gd name="connsiteX43" fmla="*/ 833933 w 3901439"/>
              <a:gd name="connsiteY43" fmla="*/ 3901440 h 3901440"/>
              <a:gd name="connsiteX44" fmla="*/ 190195 w 3901439"/>
              <a:gd name="connsiteY44" fmla="*/ 3901440 h 3901440"/>
              <a:gd name="connsiteX45" fmla="*/ 0 w 3901439"/>
              <a:gd name="connsiteY45" fmla="*/ 3716122 h 3901440"/>
              <a:gd name="connsiteX46" fmla="*/ 0 w 3901439"/>
              <a:gd name="connsiteY46" fmla="*/ 3072384 h 3901440"/>
              <a:gd name="connsiteX47" fmla="*/ 117043 w 3901439"/>
              <a:gd name="connsiteY47" fmla="*/ 2896819 h 3901440"/>
              <a:gd name="connsiteX48" fmla="*/ 321869 w 3901439"/>
              <a:gd name="connsiteY48" fmla="*/ 2935833 h 3901440"/>
              <a:gd name="connsiteX49" fmla="*/ 419405 w 3901439"/>
              <a:gd name="connsiteY49" fmla="*/ 3033369 h 3901440"/>
              <a:gd name="connsiteX50" fmla="*/ 1146048 w 3901439"/>
              <a:gd name="connsiteY50" fmla="*/ 2316480 h 3901440"/>
              <a:gd name="connsiteX51" fmla="*/ 1280160 w 3901439"/>
              <a:gd name="connsiteY51" fmla="*/ 2261616 h 3901440"/>
              <a:gd name="connsiteX52" fmla="*/ 2621279 w 3901439"/>
              <a:gd name="connsiteY52" fmla="*/ 2256739 h 3901440"/>
              <a:gd name="connsiteX53" fmla="*/ 2755391 w 3901439"/>
              <a:gd name="connsiteY53" fmla="*/ 2311603 h 3901440"/>
              <a:gd name="connsiteX54" fmla="*/ 3482035 w 3901439"/>
              <a:gd name="connsiteY54" fmla="*/ 3033369 h 3901440"/>
              <a:gd name="connsiteX55" fmla="*/ 3579571 w 3901439"/>
              <a:gd name="connsiteY55" fmla="*/ 2935833 h 3901440"/>
              <a:gd name="connsiteX56" fmla="*/ 3784396 w 3901439"/>
              <a:gd name="connsiteY56" fmla="*/ 2896819 h 3901440"/>
              <a:gd name="connsiteX57" fmla="*/ 3901439 w 3901439"/>
              <a:gd name="connsiteY57" fmla="*/ 3067507 h 3901440"/>
              <a:gd name="connsiteX58" fmla="*/ 3901439 w 3901439"/>
              <a:gd name="connsiteY58" fmla="*/ 3706368 h 3901440"/>
              <a:gd name="connsiteX59" fmla="*/ 3711244 w 3901439"/>
              <a:gd name="connsiteY59" fmla="*/ 3896563 h 3901440"/>
              <a:gd name="connsiteX60" fmla="*/ 3067507 w 3901439"/>
              <a:gd name="connsiteY60" fmla="*/ 3896563 h 3901440"/>
              <a:gd name="connsiteX61" fmla="*/ 2891942 w 3901439"/>
              <a:gd name="connsiteY61" fmla="*/ 3779520 h 3901440"/>
              <a:gd name="connsiteX62" fmla="*/ 2930956 w 3901439"/>
              <a:gd name="connsiteY62" fmla="*/ 3574694 h 3901440"/>
              <a:gd name="connsiteX63" fmla="*/ 3028492 w 3901439"/>
              <a:gd name="connsiteY63" fmla="*/ 3477158 h 3901440"/>
              <a:gd name="connsiteX64" fmla="*/ 2306726 w 3901439"/>
              <a:gd name="connsiteY64" fmla="*/ 2755392 h 3901440"/>
              <a:gd name="connsiteX65" fmla="*/ 2253081 w 3901439"/>
              <a:gd name="connsiteY65" fmla="*/ 2623718 h 3901440"/>
              <a:gd name="connsiteX66" fmla="*/ 2306726 w 3901439"/>
              <a:gd name="connsiteY66" fmla="*/ 2492044 h 3901440"/>
              <a:gd name="connsiteX67" fmla="*/ 2487167 w 3901439"/>
              <a:gd name="connsiteY67" fmla="*/ 2311603 h 3901440"/>
              <a:gd name="connsiteX68" fmla="*/ 2621279 w 3901439"/>
              <a:gd name="connsiteY68" fmla="*/ 2256739 h 3901440"/>
              <a:gd name="connsiteX69" fmla="*/ 3067507 w 3901439"/>
              <a:gd name="connsiteY69" fmla="*/ 126797 h 3901440"/>
              <a:gd name="connsiteX70" fmla="*/ 3008985 w 3901439"/>
              <a:gd name="connsiteY70" fmla="*/ 165811 h 3901440"/>
              <a:gd name="connsiteX71" fmla="*/ 3023616 w 3901439"/>
              <a:gd name="connsiteY71" fmla="*/ 234086 h 3901440"/>
              <a:gd name="connsiteX72" fmla="*/ 3208934 w 3901439"/>
              <a:gd name="connsiteY72" fmla="*/ 424282 h 3901440"/>
              <a:gd name="connsiteX73" fmla="*/ 2399385 w 3901439"/>
              <a:gd name="connsiteY73" fmla="*/ 1233830 h 3901440"/>
              <a:gd name="connsiteX74" fmla="*/ 2379878 w 3901439"/>
              <a:gd name="connsiteY74" fmla="*/ 1277722 h 3901440"/>
              <a:gd name="connsiteX75" fmla="*/ 2399385 w 3901439"/>
              <a:gd name="connsiteY75" fmla="*/ 1321613 h 3901440"/>
              <a:gd name="connsiteX76" fmla="*/ 2579827 w 3901439"/>
              <a:gd name="connsiteY76" fmla="*/ 1502054 h 3901440"/>
              <a:gd name="connsiteX77" fmla="*/ 2667609 w 3901439"/>
              <a:gd name="connsiteY77" fmla="*/ 1502054 h 3901440"/>
              <a:gd name="connsiteX78" fmla="*/ 3477158 w 3901439"/>
              <a:gd name="connsiteY78" fmla="*/ 687629 h 3901440"/>
              <a:gd name="connsiteX79" fmla="*/ 3667353 w 3901439"/>
              <a:gd name="connsiteY79" fmla="*/ 877824 h 3901440"/>
              <a:gd name="connsiteX80" fmla="*/ 3735628 w 3901439"/>
              <a:gd name="connsiteY80" fmla="*/ 892454 h 3901440"/>
              <a:gd name="connsiteX81" fmla="*/ 3774643 w 3901439"/>
              <a:gd name="connsiteY81" fmla="*/ 833933 h 3901440"/>
              <a:gd name="connsiteX82" fmla="*/ 3774643 w 3901439"/>
              <a:gd name="connsiteY82" fmla="*/ 190195 h 3901440"/>
              <a:gd name="connsiteX83" fmla="*/ 3711244 w 3901439"/>
              <a:gd name="connsiteY83" fmla="*/ 126797 h 3901440"/>
              <a:gd name="connsiteX84" fmla="*/ 190195 w 3901439"/>
              <a:gd name="connsiteY84" fmla="*/ 126797 h 3901440"/>
              <a:gd name="connsiteX85" fmla="*/ 126797 w 3901439"/>
              <a:gd name="connsiteY85" fmla="*/ 190195 h 3901440"/>
              <a:gd name="connsiteX86" fmla="*/ 126797 w 3901439"/>
              <a:gd name="connsiteY86" fmla="*/ 833933 h 3901440"/>
              <a:gd name="connsiteX87" fmla="*/ 165811 w 3901439"/>
              <a:gd name="connsiteY87" fmla="*/ 892454 h 3901440"/>
              <a:gd name="connsiteX88" fmla="*/ 234086 w 3901439"/>
              <a:gd name="connsiteY88" fmla="*/ 877824 h 3901440"/>
              <a:gd name="connsiteX89" fmla="*/ 419405 w 3901439"/>
              <a:gd name="connsiteY89" fmla="*/ 687629 h 3901440"/>
              <a:gd name="connsiteX90" fmla="*/ 1228954 w 3901439"/>
              <a:gd name="connsiteY90" fmla="*/ 1502054 h 3901440"/>
              <a:gd name="connsiteX91" fmla="*/ 1316736 w 3901439"/>
              <a:gd name="connsiteY91" fmla="*/ 1502054 h 3901440"/>
              <a:gd name="connsiteX92" fmla="*/ 1497178 w 3901439"/>
              <a:gd name="connsiteY92" fmla="*/ 1321613 h 3901440"/>
              <a:gd name="connsiteX93" fmla="*/ 1516685 w 3901439"/>
              <a:gd name="connsiteY93" fmla="*/ 1277722 h 3901440"/>
              <a:gd name="connsiteX94" fmla="*/ 1497178 w 3901439"/>
              <a:gd name="connsiteY94" fmla="*/ 1233830 h 3901440"/>
              <a:gd name="connsiteX95" fmla="*/ 687629 w 3901439"/>
              <a:gd name="connsiteY95" fmla="*/ 424282 h 3901440"/>
              <a:gd name="connsiteX96" fmla="*/ 877824 w 3901439"/>
              <a:gd name="connsiteY96" fmla="*/ 234086 h 3901440"/>
              <a:gd name="connsiteX97" fmla="*/ 892454 w 3901439"/>
              <a:gd name="connsiteY97" fmla="*/ 165811 h 3901440"/>
              <a:gd name="connsiteX98" fmla="*/ 833933 w 3901439"/>
              <a:gd name="connsiteY98" fmla="*/ 126797 h 3901440"/>
              <a:gd name="connsiteX99" fmla="*/ 3067507 w 3901439"/>
              <a:gd name="connsiteY99" fmla="*/ 0 h 3901440"/>
              <a:gd name="connsiteX100" fmla="*/ 3711244 w 3901439"/>
              <a:gd name="connsiteY100" fmla="*/ 0 h 3901440"/>
              <a:gd name="connsiteX101" fmla="*/ 3896563 w 3901439"/>
              <a:gd name="connsiteY101" fmla="*/ 190195 h 3901440"/>
              <a:gd name="connsiteX102" fmla="*/ 3896563 w 3901439"/>
              <a:gd name="connsiteY102" fmla="*/ 829056 h 3901440"/>
              <a:gd name="connsiteX103" fmla="*/ 3779520 w 3901439"/>
              <a:gd name="connsiteY103" fmla="*/ 1004621 h 3901440"/>
              <a:gd name="connsiteX104" fmla="*/ 3574694 w 3901439"/>
              <a:gd name="connsiteY104" fmla="*/ 965606 h 3901440"/>
              <a:gd name="connsiteX105" fmla="*/ 3477158 w 3901439"/>
              <a:gd name="connsiteY105" fmla="*/ 868070 h 3901440"/>
              <a:gd name="connsiteX106" fmla="*/ 2755392 w 3901439"/>
              <a:gd name="connsiteY106" fmla="*/ 1589837 h 3901440"/>
              <a:gd name="connsiteX107" fmla="*/ 2623718 w 3901439"/>
              <a:gd name="connsiteY107" fmla="*/ 1643482 h 3901440"/>
              <a:gd name="connsiteX108" fmla="*/ 2492044 w 3901439"/>
              <a:gd name="connsiteY108" fmla="*/ 1589837 h 3901440"/>
              <a:gd name="connsiteX109" fmla="*/ 2311603 w 3901439"/>
              <a:gd name="connsiteY109" fmla="*/ 1409395 h 3901440"/>
              <a:gd name="connsiteX110" fmla="*/ 2257958 w 3901439"/>
              <a:gd name="connsiteY110" fmla="*/ 1277722 h 3901440"/>
              <a:gd name="connsiteX111" fmla="*/ 2311603 w 3901439"/>
              <a:gd name="connsiteY111" fmla="*/ 1146048 h 3901440"/>
              <a:gd name="connsiteX112" fmla="*/ 3028492 w 3901439"/>
              <a:gd name="connsiteY112" fmla="*/ 419405 h 3901440"/>
              <a:gd name="connsiteX113" fmla="*/ 2930956 w 3901439"/>
              <a:gd name="connsiteY113" fmla="*/ 321869 h 3901440"/>
              <a:gd name="connsiteX114" fmla="*/ 2891942 w 3901439"/>
              <a:gd name="connsiteY114" fmla="*/ 117043 h 3901440"/>
              <a:gd name="connsiteX115" fmla="*/ 3067507 w 3901439"/>
              <a:gd name="connsiteY115" fmla="*/ 0 h 3901440"/>
              <a:gd name="connsiteX116" fmla="*/ 190195 w 3901439"/>
              <a:gd name="connsiteY116" fmla="*/ 0 h 3901440"/>
              <a:gd name="connsiteX117" fmla="*/ 829056 w 3901439"/>
              <a:gd name="connsiteY117" fmla="*/ 0 h 3901440"/>
              <a:gd name="connsiteX118" fmla="*/ 1004621 w 3901439"/>
              <a:gd name="connsiteY118" fmla="*/ 117043 h 3901440"/>
              <a:gd name="connsiteX119" fmla="*/ 965606 w 3901439"/>
              <a:gd name="connsiteY119" fmla="*/ 321869 h 3901440"/>
              <a:gd name="connsiteX120" fmla="*/ 868070 w 3901439"/>
              <a:gd name="connsiteY120" fmla="*/ 419405 h 3901440"/>
              <a:gd name="connsiteX121" fmla="*/ 1584960 w 3901439"/>
              <a:gd name="connsiteY121" fmla="*/ 1146048 h 3901440"/>
              <a:gd name="connsiteX122" fmla="*/ 1638605 w 3901439"/>
              <a:gd name="connsiteY122" fmla="*/ 1277722 h 3901440"/>
              <a:gd name="connsiteX123" fmla="*/ 1584960 w 3901439"/>
              <a:gd name="connsiteY123" fmla="*/ 1409395 h 3901440"/>
              <a:gd name="connsiteX124" fmla="*/ 1404518 w 3901439"/>
              <a:gd name="connsiteY124" fmla="*/ 1589837 h 3901440"/>
              <a:gd name="connsiteX125" fmla="*/ 1272845 w 3901439"/>
              <a:gd name="connsiteY125" fmla="*/ 1643482 h 3901440"/>
              <a:gd name="connsiteX126" fmla="*/ 1141171 w 3901439"/>
              <a:gd name="connsiteY126" fmla="*/ 1589837 h 3901440"/>
              <a:gd name="connsiteX127" fmla="*/ 419405 w 3901439"/>
              <a:gd name="connsiteY127" fmla="*/ 868070 h 3901440"/>
              <a:gd name="connsiteX128" fmla="*/ 321869 w 3901439"/>
              <a:gd name="connsiteY128" fmla="*/ 965606 h 3901440"/>
              <a:gd name="connsiteX129" fmla="*/ 117043 w 3901439"/>
              <a:gd name="connsiteY129" fmla="*/ 1004621 h 3901440"/>
              <a:gd name="connsiteX130" fmla="*/ 0 w 3901439"/>
              <a:gd name="connsiteY130" fmla="*/ 833933 h 3901440"/>
              <a:gd name="connsiteX131" fmla="*/ 0 w 3901439"/>
              <a:gd name="connsiteY131" fmla="*/ 190195 h 3901440"/>
              <a:gd name="connsiteX132" fmla="*/ 190195 w 3901439"/>
              <a:gd name="connsiteY132" fmla="*/ 0 h 3901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</a:cxnLst>
            <a:rect l="l" t="t" r="r" b="b"/>
            <a:pathLst>
              <a:path w="3901439" h="3901440">
                <a:moveTo>
                  <a:pt x="1277722" y="2385974"/>
                </a:moveTo>
                <a:cubicBezTo>
                  <a:pt x="1261872" y="2385974"/>
                  <a:pt x="1246022" y="2392070"/>
                  <a:pt x="1233830" y="2404262"/>
                </a:cubicBezTo>
                <a:lnTo>
                  <a:pt x="424282" y="3213811"/>
                </a:lnTo>
                <a:lnTo>
                  <a:pt x="234086" y="3023616"/>
                </a:lnTo>
                <a:cubicBezTo>
                  <a:pt x="219456" y="3008985"/>
                  <a:pt x="204826" y="3004109"/>
                  <a:pt x="190195" y="3004109"/>
                </a:cubicBezTo>
                <a:cubicBezTo>
                  <a:pt x="180442" y="3004109"/>
                  <a:pt x="170688" y="3008985"/>
                  <a:pt x="165811" y="3008985"/>
                </a:cubicBezTo>
                <a:cubicBezTo>
                  <a:pt x="156058" y="3013863"/>
                  <a:pt x="126797" y="3028493"/>
                  <a:pt x="126797" y="3067507"/>
                </a:cubicBezTo>
                <a:lnTo>
                  <a:pt x="126797" y="3716122"/>
                </a:lnTo>
                <a:cubicBezTo>
                  <a:pt x="126797" y="3750259"/>
                  <a:pt x="156058" y="3779520"/>
                  <a:pt x="190195" y="3779520"/>
                </a:cubicBezTo>
                <a:lnTo>
                  <a:pt x="833933" y="3779520"/>
                </a:lnTo>
                <a:cubicBezTo>
                  <a:pt x="872947" y="3779520"/>
                  <a:pt x="887578" y="3750259"/>
                  <a:pt x="892454" y="3740506"/>
                </a:cubicBezTo>
                <a:cubicBezTo>
                  <a:pt x="897331" y="3730752"/>
                  <a:pt x="907085" y="3701491"/>
                  <a:pt x="877824" y="3672231"/>
                </a:cubicBezTo>
                <a:lnTo>
                  <a:pt x="687629" y="3482035"/>
                </a:lnTo>
                <a:lnTo>
                  <a:pt x="1502054" y="2672487"/>
                </a:lnTo>
                <a:cubicBezTo>
                  <a:pt x="1516685" y="2662733"/>
                  <a:pt x="1521562" y="2643225"/>
                  <a:pt x="1521562" y="2628595"/>
                </a:cubicBezTo>
                <a:cubicBezTo>
                  <a:pt x="1521562" y="2613965"/>
                  <a:pt x="1511808" y="2594458"/>
                  <a:pt x="1502054" y="2584704"/>
                </a:cubicBezTo>
                <a:lnTo>
                  <a:pt x="1321613" y="2404262"/>
                </a:lnTo>
                <a:cubicBezTo>
                  <a:pt x="1309421" y="2392070"/>
                  <a:pt x="1293571" y="2385974"/>
                  <a:pt x="1277722" y="2385974"/>
                </a:cubicBezTo>
                <a:close/>
                <a:moveTo>
                  <a:pt x="2623718" y="2379878"/>
                </a:moveTo>
                <a:cubicBezTo>
                  <a:pt x="2609087" y="2379878"/>
                  <a:pt x="2589580" y="2389632"/>
                  <a:pt x="2579827" y="2399385"/>
                </a:cubicBezTo>
                <a:lnTo>
                  <a:pt x="2399385" y="2579827"/>
                </a:lnTo>
                <a:cubicBezTo>
                  <a:pt x="2384755" y="2589580"/>
                  <a:pt x="2379878" y="2609088"/>
                  <a:pt x="2379878" y="2623718"/>
                </a:cubicBezTo>
                <a:cubicBezTo>
                  <a:pt x="2379878" y="2638348"/>
                  <a:pt x="2389631" y="2657856"/>
                  <a:pt x="2399385" y="2667609"/>
                </a:cubicBezTo>
                <a:lnTo>
                  <a:pt x="3213811" y="3477158"/>
                </a:lnTo>
                <a:lnTo>
                  <a:pt x="3023615" y="3667353"/>
                </a:lnTo>
                <a:cubicBezTo>
                  <a:pt x="2994355" y="3696614"/>
                  <a:pt x="3004108" y="3725875"/>
                  <a:pt x="3008985" y="3735629"/>
                </a:cubicBezTo>
                <a:cubicBezTo>
                  <a:pt x="3013862" y="3745382"/>
                  <a:pt x="3028492" y="3774643"/>
                  <a:pt x="3067507" y="3774643"/>
                </a:cubicBezTo>
                <a:lnTo>
                  <a:pt x="3711244" y="3774643"/>
                </a:lnTo>
                <a:cubicBezTo>
                  <a:pt x="3745382" y="3774643"/>
                  <a:pt x="3774643" y="3745382"/>
                  <a:pt x="3774643" y="3711245"/>
                </a:cubicBezTo>
                <a:lnTo>
                  <a:pt x="3774643" y="3062630"/>
                </a:lnTo>
                <a:cubicBezTo>
                  <a:pt x="3774643" y="3023616"/>
                  <a:pt x="3745382" y="3008985"/>
                  <a:pt x="3735628" y="3004108"/>
                </a:cubicBezTo>
                <a:cubicBezTo>
                  <a:pt x="3725875" y="2999232"/>
                  <a:pt x="3696614" y="2989478"/>
                  <a:pt x="3667353" y="3018739"/>
                </a:cubicBezTo>
                <a:lnTo>
                  <a:pt x="3477158" y="3208934"/>
                </a:lnTo>
                <a:lnTo>
                  <a:pt x="2667609" y="2399385"/>
                </a:lnTo>
                <a:cubicBezTo>
                  <a:pt x="2657855" y="2384755"/>
                  <a:pt x="2638348" y="2379878"/>
                  <a:pt x="2623718" y="2379878"/>
                </a:cubicBezTo>
                <a:close/>
                <a:moveTo>
                  <a:pt x="1280160" y="2261616"/>
                </a:moveTo>
                <a:cubicBezTo>
                  <a:pt x="1328928" y="2261616"/>
                  <a:pt x="1377696" y="2279904"/>
                  <a:pt x="1414272" y="2316480"/>
                </a:cubicBezTo>
                <a:lnTo>
                  <a:pt x="1594714" y="2496922"/>
                </a:lnTo>
                <a:cubicBezTo>
                  <a:pt x="1628851" y="2531059"/>
                  <a:pt x="1648358" y="2579827"/>
                  <a:pt x="1648358" y="2628595"/>
                </a:cubicBezTo>
                <a:cubicBezTo>
                  <a:pt x="1648358" y="2677363"/>
                  <a:pt x="1628851" y="2726131"/>
                  <a:pt x="1594714" y="2760269"/>
                </a:cubicBezTo>
                <a:lnTo>
                  <a:pt x="872947" y="3482035"/>
                </a:lnTo>
                <a:lnTo>
                  <a:pt x="970483" y="3579571"/>
                </a:lnTo>
                <a:cubicBezTo>
                  <a:pt x="1024128" y="3633216"/>
                  <a:pt x="1038758" y="3711245"/>
                  <a:pt x="1009498" y="3784397"/>
                </a:cubicBezTo>
                <a:cubicBezTo>
                  <a:pt x="980237" y="3857549"/>
                  <a:pt x="911962" y="3901440"/>
                  <a:pt x="833933" y="3901440"/>
                </a:cubicBezTo>
                <a:lnTo>
                  <a:pt x="190195" y="3901440"/>
                </a:lnTo>
                <a:cubicBezTo>
                  <a:pt x="82906" y="3901440"/>
                  <a:pt x="0" y="3818535"/>
                  <a:pt x="0" y="3716122"/>
                </a:cubicBezTo>
                <a:lnTo>
                  <a:pt x="0" y="3072384"/>
                </a:lnTo>
                <a:cubicBezTo>
                  <a:pt x="0" y="2994355"/>
                  <a:pt x="43891" y="2926080"/>
                  <a:pt x="117043" y="2896819"/>
                </a:cubicBezTo>
                <a:cubicBezTo>
                  <a:pt x="190195" y="2867559"/>
                  <a:pt x="268224" y="2882189"/>
                  <a:pt x="321869" y="2935833"/>
                </a:cubicBezTo>
                <a:lnTo>
                  <a:pt x="419405" y="3033369"/>
                </a:lnTo>
                <a:lnTo>
                  <a:pt x="1146048" y="2316480"/>
                </a:lnTo>
                <a:cubicBezTo>
                  <a:pt x="1182624" y="2279904"/>
                  <a:pt x="1231392" y="2261616"/>
                  <a:pt x="1280160" y="2261616"/>
                </a:cubicBezTo>
                <a:close/>
                <a:moveTo>
                  <a:pt x="2621279" y="2256739"/>
                </a:moveTo>
                <a:cubicBezTo>
                  <a:pt x="2670047" y="2256739"/>
                  <a:pt x="2718815" y="2275027"/>
                  <a:pt x="2755391" y="2311603"/>
                </a:cubicBezTo>
                <a:lnTo>
                  <a:pt x="3482035" y="3033369"/>
                </a:lnTo>
                <a:lnTo>
                  <a:pt x="3579571" y="2935833"/>
                </a:lnTo>
                <a:cubicBezTo>
                  <a:pt x="3633215" y="2882188"/>
                  <a:pt x="3711244" y="2867558"/>
                  <a:pt x="3784396" y="2896819"/>
                </a:cubicBezTo>
                <a:cubicBezTo>
                  <a:pt x="3857548" y="2926080"/>
                  <a:pt x="3901439" y="2989478"/>
                  <a:pt x="3901439" y="3067507"/>
                </a:cubicBezTo>
                <a:lnTo>
                  <a:pt x="3901439" y="3706368"/>
                </a:lnTo>
                <a:cubicBezTo>
                  <a:pt x="3901439" y="3813657"/>
                  <a:pt x="3813657" y="3896563"/>
                  <a:pt x="3711244" y="3896563"/>
                </a:cubicBezTo>
                <a:lnTo>
                  <a:pt x="3067507" y="3896563"/>
                </a:lnTo>
                <a:cubicBezTo>
                  <a:pt x="2989478" y="3896563"/>
                  <a:pt x="2921203" y="3852672"/>
                  <a:pt x="2891942" y="3779520"/>
                </a:cubicBezTo>
                <a:cubicBezTo>
                  <a:pt x="2862681" y="3706368"/>
                  <a:pt x="2877311" y="3628339"/>
                  <a:pt x="2930956" y="3574694"/>
                </a:cubicBezTo>
                <a:lnTo>
                  <a:pt x="3028492" y="3477158"/>
                </a:lnTo>
                <a:lnTo>
                  <a:pt x="2306726" y="2755392"/>
                </a:lnTo>
                <a:cubicBezTo>
                  <a:pt x="2272588" y="2721254"/>
                  <a:pt x="2253081" y="2672486"/>
                  <a:pt x="2253081" y="2623718"/>
                </a:cubicBezTo>
                <a:cubicBezTo>
                  <a:pt x="2253081" y="2574950"/>
                  <a:pt x="2272588" y="2526182"/>
                  <a:pt x="2306726" y="2492044"/>
                </a:cubicBezTo>
                <a:lnTo>
                  <a:pt x="2487167" y="2311603"/>
                </a:lnTo>
                <a:cubicBezTo>
                  <a:pt x="2523743" y="2275027"/>
                  <a:pt x="2572511" y="2256739"/>
                  <a:pt x="2621279" y="2256739"/>
                </a:cubicBezTo>
                <a:close/>
                <a:moveTo>
                  <a:pt x="3067507" y="126797"/>
                </a:moveTo>
                <a:cubicBezTo>
                  <a:pt x="3028492" y="126797"/>
                  <a:pt x="3013862" y="156058"/>
                  <a:pt x="3008985" y="165811"/>
                </a:cubicBezTo>
                <a:cubicBezTo>
                  <a:pt x="3004108" y="175565"/>
                  <a:pt x="2994355" y="204826"/>
                  <a:pt x="3023616" y="234086"/>
                </a:cubicBezTo>
                <a:lnTo>
                  <a:pt x="3208934" y="424282"/>
                </a:lnTo>
                <a:lnTo>
                  <a:pt x="2399385" y="1233830"/>
                </a:lnTo>
                <a:cubicBezTo>
                  <a:pt x="2384755" y="1243584"/>
                  <a:pt x="2379878" y="1263091"/>
                  <a:pt x="2379878" y="1277722"/>
                </a:cubicBezTo>
                <a:cubicBezTo>
                  <a:pt x="2379878" y="1292352"/>
                  <a:pt x="2389632" y="1311859"/>
                  <a:pt x="2399385" y="1321613"/>
                </a:cubicBezTo>
                <a:lnTo>
                  <a:pt x="2579827" y="1502054"/>
                </a:lnTo>
                <a:cubicBezTo>
                  <a:pt x="2604211" y="1526438"/>
                  <a:pt x="2643225" y="1526438"/>
                  <a:pt x="2667609" y="1502054"/>
                </a:cubicBezTo>
                <a:lnTo>
                  <a:pt x="3477158" y="687629"/>
                </a:lnTo>
                <a:lnTo>
                  <a:pt x="3667353" y="877824"/>
                </a:lnTo>
                <a:cubicBezTo>
                  <a:pt x="3696614" y="907085"/>
                  <a:pt x="3725875" y="897331"/>
                  <a:pt x="3735628" y="892454"/>
                </a:cubicBezTo>
                <a:cubicBezTo>
                  <a:pt x="3745382" y="887578"/>
                  <a:pt x="3774643" y="872947"/>
                  <a:pt x="3774643" y="833933"/>
                </a:cubicBezTo>
                <a:lnTo>
                  <a:pt x="3774643" y="190195"/>
                </a:lnTo>
                <a:cubicBezTo>
                  <a:pt x="3774643" y="156058"/>
                  <a:pt x="3745382" y="126797"/>
                  <a:pt x="3711244" y="126797"/>
                </a:cubicBezTo>
                <a:close/>
                <a:moveTo>
                  <a:pt x="190195" y="126797"/>
                </a:moveTo>
                <a:cubicBezTo>
                  <a:pt x="156058" y="126797"/>
                  <a:pt x="126797" y="156058"/>
                  <a:pt x="126797" y="190195"/>
                </a:cubicBezTo>
                <a:lnTo>
                  <a:pt x="126797" y="833933"/>
                </a:lnTo>
                <a:cubicBezTo>
                  <a:pt x="126797" y="872947"/>
                  <a:pt x="156058" y="887578"/>
                  <a:pt x="165811" y="892454"/>
                </a:cubicBezTo>
                <a:cubicBezTo>
                  <a:pt x="175565" y="897331"/>
                  <a:pt x="204826" y="907085"/>
                  <a:pt x="234086" y="877824"/>
                </a:cubicBezTo>
                <a:lnTo>
                  <a:pt x="419405" y="687629"/>
                </a:lnTo>
                <a:lnTo>
                  <a:pt x="1228954" y="1502054"/>
                </a:lnTo>
                <a:cubicBezTo>
                  <a:pt x="1253338" y="1526438"/>
                  <a:pt x="1292352" y="1526438"/>
                  <a:pt x="1316736" y="1502054"/>
                </a:cubicBezTo>
                <a:lnTo>
                  <a:pt x="1497178" y="1321613"/>
                </a:lnTo>
                <a:cubicBezTo>
                  <a:pt x="1511808" y="1311859"/>
                  <a:pt x="1516685" y="1292352"/>
                  <a:pt x="1516685" y="1277722"/>
                </a:cubicBezTo>
                <a:cubicBezTo>
                  <a:pt x="1516685" y="1263091"/>
                  <a:pt x="1506931" y="1243584"/>
                  <a:pt x="1497178" y="1233830"/>
                </a:cubicBezTo>
                <a:lnTo>
                  <a:pt x="687629" y="424282"/>
                </a:lnTo>
                <a:lnTo>
                  <a:pt x="877824" y="234086"/>
                </a:lnTo>
                <a:cubicBezTo>
                  <a:pt x="907085" y="204826"/>
                  <a:pt x="897331" y="175565"/>
                  <a:pt x="892454" y="165811"/>
                </a:cubicBezTo>
                <a:cubicBezTo>
                  <a:pt x="887578" y="156058"/>
                  <a:pt x="872947" y="126797"/>
                  <a:pt x="833933" y="126797"/>
                </a:cubicBezTo>
                <a:close/>
                <a:moveTo>
                  <a:pt x="3067507" y="0"/>
                </a:moveTo>
                <a:lnTo>
                  <a:pt x="3711244" y="0"/>
                </a:lnTo>
                <a:cubicBezTo>
                  <a:pt x="3818534" y="0"/>
                  <a:pt x="3901440" y="82906"/>
                  <a:pt x="3896563" y="190195"/>
                </a:cubicBezTo>
                <a:lnTo>
                  <a:pt x="3896563" y="829056"/>
                </a:lnTo>
                <a:cubicBezTo>
                  <a:pt x="3896563" y="907085"/>
                  <a:pt x="3852672" y="975360"/>
                  <a:pt x="3779520" y="1004621"/>
                </a:cubicBezTo>
                <a:cubicBezTo>
                  <a:pt x="3706368" y="1033882"/>
                  <a:pt x="3628339" y="1019251"/>
                  <a:pt x="3574694" y="965606"/>
                </a:cubicBezTo>
                <a:lnTo>
                  <a:pt x="3477158" y="868070"/>
                </a:lnTo>
                <a:lnTo>
                  <a:pt x="2755392" y="1589837"/>
                </a:lnTo>
                <a:cubicBezTo>
                  <a:pt x="2721254" y="1623974"/>
                  <a:pt x="2672486" y="1643482"/>
                  <a:pt x="2623718" y="1643482"/>
                </a:cubicBezTo>
                <a:cubicBezTo>
                  <a:pt x="2574950" y="1643482"/>
                  <a:pt x="2526182" y="1623974"/>
                  <a:pt x="2492044" y="1589837"/>
                </a:cubicBezTo>
                <a:lnTo>
                  <a:pt x="2311603" y="1409395"/>
                </a:lnTo>
                <a:cubicBezTo>
                  <a:pt x="2277465" y="1375258"/>
                  <a:pt x="2257958" y="1326490"/>
                  <a:pt x="2257958" y="1277722"/>
                </a:cubicBezTo>
                <a:cubicBezTo>
                  <a:pt x="2257958" y="1228954"/>
                  <a:pt x="2277465" y="1180186"/>
                  <a:pt x="2311603" y="1146048"/>
                </a:cubicBezTo>
                <a:lnTo>
                  <a:pt x="3028492" y="419405"/>
                </a:lnTo>
                <a:lnTo>
                  <a:pt x="2930956" y="321869"/>
                </a:lnTo>
                <a:cubicBezTo>
                  <a:pt x="2877312" y="268224"/>
                  <a:pt x="2862681" y="190195"/>
                  <a:pt x="2891942" y="117043"/>
                </a:cubicBezTo>
                <a:cubicBezTo>
                  <a:pt x="2921203" y="43891"/>
                  <a:pt x="2989478" y="0"/>
                  <a:pt x="3067507" y="0"/>
                </a:cubicBezTo>
                <a:close/>
                <a:moveTo>
                  <a:pt x="190195" y="0"/>
                </a:moveTo>
                <a:lnTo>
                  <a:pt x="829056" y="0"/>
                </a:lnTo>
                <a:cubicBezTo>
                  <a:pt x="907085" y="0"/>
                  <a:pt x="975360" y="43891"/>
                  <a:pt x="1004621" y="117043"/>
                </a:cubicBezTo>
                <a:cubicBezTo>
                  <a:pt x="1033882" y="190195"/>
                  <a:pt x="1019251" y="268224"/>
                  <a:pt x="965606" y="321869"/>
                </a:cubicBezTo>
                <a:lnTo>
                  <a:pt x="868070" y="419405"/>
                </a:lnTo>
                <a:lnTo>
                  <a:pt x="1584960" y="1146048"/>
                </a:lnTo>
                <a:cubicBezTo>
                  <a:pt x="1619098" y="1180186"/>
                  <a:pt x="1638605" y="1228954"/>
                  <a:pt x="1638605" y="1277722"/>
                </a:cubicBezTo>
                <a:cubicBezTo>
                  <a:pt x="1638605" y="1326490"/>
                  <a:pt x="1619098" y="1375258"/>
                  <a:pt x="1584960" y="1409395"/>
                </a:cubicBezTo>
                <a:lnTo>
                  <a:pt x="1404518" y="1589837"/>
                </a:lnTo>
                <a:cubicBezTo>
                  <a:pt x="1370381" y="1623974"/>
                  <a:pt x="1321613" y="1643482"/>
                  <a:pt x="1272845" y="1643482"/>
                </a:cubicBezTo>
                <a:cubicBezTo>
                  <a:pt x="1224077" y="1643482"/>
                  <a:pt x="1175309" y="1623974"/>
                  <a:pt x="1141171" y="1589837"/>
                </a:cubicBezTo>
                <a:lnTo>
                  <a:pt x="419405" y="868070"/>
                </a:lnTo>
                <a:lnTo>
                  <a:pt x="321869" y="965606"/>
                </a:lnTo>
                <a:cubicBezTo>
                  <a:pt x="268224" y="1019251"/>
                  <a:pt x="190195" y="1033882"/>
                  <a:pt x="117043" y="1004621"/>
                </a:cubicBezTo>
                <a:cubicBezTo>
                  <a:pt x="43891" y="975360"/>
                  <a:pt x="0" y="911962"/>
                  <a:pt x="0" y="833933"/>
                </a:cubicBezTo>
                <a:lnTo>
                  <a:pt x="0" y="190195"/>
                </a:lnTo>
                <a:cubicBezTo>
                  <a:pt x="0" y="82906"/>
                  <a:pt x="87782" y="0"/>
                  <a:pt x="190195" y="0"/>
                </a:cubicBezTo>
                <a:close/>
              </a:path>
            </a:pathLst>
          </a:custGeom>
          <a:solidFill>
            <a:schemeClr val="bg1"/>
          </a:solidFill>
          <a:ln w="48768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4" name="Graphic 2654">
            <a:extLst>
              <a:ext uri="{FF2B5EF4-FFF2-40B4-BE49-F238E27FC236}">
                <a16:creationId xmlns:a16="http://schemas.microsoft.com/office/drawing/2014/main" id="{EE3C3B26-9499-E173-A6E0-0B53159D87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571197" y="3399426"/>
            <a:ext cx="276802" cy="271134"/>
          </a:xfrm>
          <a:custGeom>
            <a:avLst/>
            <a:gdLst>
              <a:gd name="connsiteX0" fmla="*/ 3179213 w 4724539"/>
              <a:gd name="connsiteY0" fmla="*/ 2317585 h 4627825"/>
              <a:gd name="connsiteX1" fmla="*/ 3886292 w 4724539"/>
              <a:gd name="connsiteY1" fmla="*/ 2317585 h 4627825"/>
              <a:gd name="connsiteX2" fmla="*/ 3962492 w 4724539"/>
              <a:gd name="connsiteY2" fmla="*/ 2241385 h 4627825"/>
              <a:gd name="connsiteX3" fmla="*/ 3962492 w 4724539"/>
              <a:gd name="connsiteY3" fmla="*/ 1881026 h 4627825"/>
              <a:gd name="connsiteX4" fmla="*/ 3886292 w 4724539"/>
              <a:gd name="connsiteY4" fmla="*/ 1804826 h 4627825"/>
              <a:gd name="connsiteX5" fmla="*/ 3179213 w 4724539"/>
              <a:gd name="connsiteY5" fmla="*/ 1804826 h 4627825"/>
              <a:gd name="connsiteX6" fmla="*/ 3103013 w 4724539"/>
              <a:gd name="connsiteY6" fmla="*/ 1881026 h 4627825"/>
              <a:gd name="connsiteX7" fmla="*/ 3103013 w 4724539"/>
              <a:gd name="connsiteY7" fmla="*/ 2241385 h 4627825"/>
              <a:gd name="connsiteX8" fmla="*/ 3179213 w 4724539"/>
              <a:gd name="connsiteY8" fmla="*/ 2317585 h 4627825"/>
              <a:gd name="connsiteX9" fmla="*/ 3255413 w 4724539"/>
              <a:gd name="connsiteY9" fmla="*/ 1957226 h 4627825"/>
              <a:gd name="connsiteX10" fmla="*/ 3810092 w 4724539"/>
              <a:gd name="connsiteY10" fmla="*/ 1957226 h 4627825"/>
              <a:gd name="connsiteX11" fmla="*/ 3810092 w 4724539"/>
              <a:gd name="connsiteY11" fmla="*/ 2165185 h 4627825"/>
              <a:gd name="connsiteX12" fmla="*/ 3255413 w 4724539"/>
              <a:gd name="connsiteY12" fmla="*/ 2165185 h 4627825"/>
              <a:gd name="connsiteX13" fmla="*/ 1977691 w 4724539"/>
              <a:gd name="connsiteY13" fmla="*/ 1750466 h 4627825"/>
              <a:gd name="connsiteX14" fmla="*/ 2645270 w 4724539"/>
              <a:gd name="connsiteY14" fmla="*/ 1750466 h 4627825"/>
              <a:gd name="connsiteX15" fmla="*/ 2721470 w 4724539"/>
              <a:gd name="connsiteY15" fmla="*/ 1674266 h 4627825"/>
              <a:gd name="connsiteX16" fmla="*/ 2721470 w 4724539"/>
              <a:gd name="connsiteY16" fmla="*/ 1006688 h 4627825"/>
              <a:gd name="connsiteX17" fmla="*/ 2645270 w 4724539"/>
              <a:gd name="connsiteY17" fmla="*/ 930488 h 4627825"/>
              <a:gd name="connsiteX18" fmla="*/ 1977691 w 4724539"/>
              <a:gd name="connsiteY18" fmla="*/ 930488 h 4627825"/>
              <a:gd name="connsiteX19" fmla="*/ 1901491 w 4724539"/>
              <a:gd name="connsiteY19" fmla="*/ 1006688 h 4627825"/>
              <a:gd name="connsiteX20" fmla="*/ 1901491 w 4724539"/>
              <a:gd name="connsiteY20" fmla="*/ 1674266 h 4627825"/>
              <a:gd name="connsiteX21" fmla="*/ 1977691 w 4724539"/>
              <a:gd name="connsiteY21" fmla="*/ 1750466 h 4627825"/>
              <a:gd name="connsiteX22" fmla="*/ 2053891 w 4724539"/>
              <a:gd name="connsiteY22" fmla="*/ 1082888 h 4627825"/>
              <a:gd name="connsiteX23" fmla="*/ 2569070 w 4724539"/>
              <a:gd name="connsiteY23" fmla="*/ 1082888 h 4627825"/>
              <a:gd name="connsiteX24" fmla="*/ 2569070 w 4724539"/>
              <a:gd name="connsiteY24" fmla="*/ 1598066 h 4627825"/>
              <a:gd name="connsiteX25" fmla="*/ 2053891 w 4724539"/>
              <a:gd name="connsiteY25" fmla="*/ 1598066 h 4627825"/>
              <a:gd name="connsiteX26" fmla="*/ 2721451 w 4724539"/>
              <a:gd name="connsiteY26" fmla="*/ 1969018 h 4627825"/>
              <a:gd name="connsiteX27" fmla="*/ 2645251 w 4724539"/>
              <a:gd name="connsiteY27" fmla="*/ 2045218 h 4627825"/>
              <a:gd name="connsiteX28" fmla="*/ 1977691 w 4724539"/>
              <a:gd name="connsiteY28" fmla="*/ 2045218 h 4627825"/>
              <a:gd name="connsiteX29" fmla="*/ 1901491 w 4724539"/>
              <a:gd name="connsiteY29" fmla="*/ 1969018 h 4627825"/>
              <a:gd name="connsiteX30" fmla="*/ 1977691 w 4724539"/>
              <a:gd name="connsiteY30" fmla="*/ 1892818 h 4627825"/>
              <a:gd name="connsiteX31" fmla="*/ 2645251 w 4724539"/>
              <a:gd name="connsiteY31" fmla="*/ 1892818 h 4627825"/>
              <a:gd name="connsiteX32" fmla="*/ 2721451 w 4724539"/>
              <a:gd name="connsiteY32" fmla="*/ 1969018 h 4627825"/>
              <a:gd name="connsiteX33" fmla="*/ 4357065 w 4724539"/>
              <a:gd name="connsiteY33" fmla="*/ 2429847 h 4627825"/>
              <a:gd name="connsiteX34" fmla="*/ 4195978 w 4724539"/>
              <a:gd name="connsiteY34" fmla="*/ 2429847 h 4627825"/>
              <a:gd name="connsiteX35" fmla="*/ 4195978 w 4724539"/>
              <a:gd name="connsiteY35" fmla="*/ 1460240 h 4627825"/>
              <a:gd name="connsiteX36" fmla="*/ 4119778 w 4724539"/>
              <a:gd name="connsiteY36" fmla="*/ 1384040 h 4627825"/>
              <a:gd name="connsiteX37" fmla="*/ 3782117 w 4724539"/>
              <a:gd name="connsiteY37" fmla="*/ 1384040 h 4627825"/>
              <a:gd name="connsiteX38" fmla="*/ 3782117 w 4724539"/>
              <a:gd name="connsiteY38" fmla="*/ 497262 h 4627825"/>
              <a:gd name="connsiteX39" fmla="*/ 3803005 w 4724539"/>
              <a:gd name="connsiteY39" fmla="*/ 497262 h 4627825"/>
              <a:gd name="connsiteX40" fmla="*/ 3879205 w 4724539"/>
              <a:gd name="connsiteY40" fmla="*/ 421062 h 4627825"/>
              <a:gd name="connsiteX41" fmla="*/ 3803005 w 4724539"/>
              <a:gd name="connsiteY41" fmla="*/ 344862 h 4627825"/>
              <a:gd name="connsiteX42" fmla="*/ 3262490 w 4724539"/>
              <a:gd name="connsiteY42" fmla="*/ 344862 h 4627825"/>
              <a:gd name="connsiteX43" fmla="*/ 3186290 w 4724539"/>
              <a:gd name="connsiteY43" fmla="*/ 421062 h 4627825"/>
              <a:gd name="connsiteX44" fmla="*/ 3262490 w 4724539"/>
              <a:gd name="connsiteY44" fmla="*/ 497262 h 4627825"/>
              <a:gd name="connsiteX45" fmla="*/ 3283379 w 4724539"/>
              <a:gd name="connsiteY45" fmla="*/ 497262 h 4627825"/>
              <a:gd name="connsiteX46" fmla="*/ 3283379 w 4724539"/>
              <a:gd name="connsiteY46" fmla="*/ 1384040 h 4627825"/>
              <a:gd name="connsiteX47" fmla="*/ 3021927 w 4724539"/>
              <a:gd name="connsiteY47" fmla="*/ 1384040 h 4627825"/>
              <a:gd name="connsiteX48" fmla="*/ 3021927 w 4724539"/>
              <a:gd name="connsiteY48" fmla="*/ 706231 h 4627825"/>
              <a:gd name="connsiteX49" fmla="*/ 2945727 w 4724539"/>
              <a:gd name="connsiteY49" fmla="*/ 630031 h 4627825"/>
              <a:gd name="connsiteX50" fmla="*/ 2760618 w 4724539"/>
              <a:gd name="connsiteY50" fmla="*/ 630031 h 4627825"/>
              <a:gd name="connsiteX51" fmla="*/ 2760618 w 4724539"/>
              <a:gd name="connsiteY51" fmla="*/ 421062 h 4627825"/>
              <a:gd name="connsiteX52" fmla="*/ 2684418 w 4724539"/>
              <a:gd name="connsiteY52" fmla="*/ 344862 h 4627825"/>
              <a:gd name="connsiteX53" fmla="*/ 1938515 w 4724539"/>
              <a:gd name="connsiteY53" fmla="*/ 344862 h 4627825"/>
              <a:gd name="connsiteX54" fmla="*/ 1862315 w 4724539"/>
              <a:gd name="connsiteY54" fmla="*/ 421062 h 4627825"/>
              <a:gd name="connsiteX55" fmla="*/ 1862315 w 4724539"/>
              <a:gd name="connsiteY55" fmla="*/ 630022 h 4627825"/>
              <a:gd name="connsiteX56" fmla="*/ 1677206 w 4724539"/>
              <a:gd name="connsiteY56" fmla="*/ 630022 h 4627825"/>
              <a:gd name="connsiteX57" fmla="*/ 1601006 w 4724539"/>
              <a:gd name="connsiteY57" fmla="*/ 706222 h 4627825"/>
              <a:gd name="connsiteX58" fmla="*/ 1601006 w 4724539"/>
              <a:gd name="connsiteY58" fmla="*/ 1222953 h 4627825"/>
              <a:gd name="connsiteX59" fmla="*/ 1028744 w 4724539"/>
              <a:gd name="connsiteY59" fmla="*/ 973217 h 4627825"/>
              <a:gd name="connsiteX60" fmla="*/ 956526 w 4724539"/>
              <a:gd name="connsiteY60" fmla="*/ 979303 h 4627825"/>
              <a:gd name="connsiteX61" fmla="*/ 922064 w 4724539"/>
              <a:gd name="connsiteY61" fmla="*/ 1043054 h 4627825"/>
              <a:gd name="connsiteX62" fmla="*/ 922064 w 4724539"/>
              <a:gd name="connsiteY62" fmla="*/ 1384040 h 4627825"/>
              <a:gd name="connsiteX63" fmla="*/ 503155 w 4724539"/>
              <a:gd name="connsiteY63" fmla="*/ 1384040 h 4627825"/>
              <a:gd name="connsiteX64" fmla="*/ 426955 w 4724539"/>
              <a:gd name="connsiteY64" fmla="*/ 1460240 h 4627825"/>
              <a:gd name="connsiteX65" fmla="*/ 426955 w 4724539"/>
              <a:gd name="connsiteY65" fmla="*/ 2429847 h 4627825"/>
              <a:gd name="connsiteX66" fmla="*/ 265877 w 4724539"/>
              <a:gd name="connsiteY66" fmla="*/ 2429847 h 4627825"/>
              <a:gd name="connsiteX67" fmla="*/ 189677 w 4724539"/>
              <a:gd name="connsiteY67" fmla="*/ 2506047 h 4627825"/>
              <a:gd name="connsiteX68" fmla="*/ 189677 w 4724539"/>
              <a:gd name="connsiteY68" fmla="*/ 2782881 h 4627825"/>
              <a:gd name="connsiteX69" fmla="*/ 238503 w 4724539"/>
              <a:gd name="connsiteY69" fmla="*/ 2853995 h 4627825"/>
              <a:gd name="connsiteX70" fmla="*/ 540455 w 4724539"/>
              <a:gd name="connsiteY70" fmla="*/ 2970219 h 4627825"/>
              <a:gd name="connsiteX71" fmla="*/ 731031 w 4724539"/>
              <a:gd name="connsiteY71" fmla="*/ 3429943 h 4627825"/>
              <a:gd name="connsiteX72" fmla="*/ 599614 w 4724539"/>
              <a:gd name="connsiteY72" fmla="*/ 3725809 h 4627825"/>
              <a:gd name="connsiteX73" fmla="*/ 615369 w 4724539"/>
              <a:gd name="connsiteY73" fmla="*/ 3810619 h 4627825"/>
              <a:gd name="connsiteX74" fmla="*/ 1006884 w 4724539"/>
              <a:gd name="connsiteY74" fmla="*/ 4202135 h 4627825"/>
              <a:gd name="connsiteX75" fmla="*/ 1091695 w 4724539"/>
              <a:gd name="connsiteY75" fmla="*/ 4217889 h 4627825"/>
              <a:gd name="connsiteX76" fmla="*/ 1387675 w 4724539"/>
              <a:gd name="connsiteY76" fmla="*/ 4086435 h 4627825"/>
              <a:gd name="connsiteX77" fmla="*/ 1847266 w 4724539"/>
              <a:gd name="connsiteY77" fmla="*/ 4276973 h 4627825"/>
              <a:gd name="connsiteX78" fmla="*/ 1963518 w 4724539"/>
              <a:gd name="connsiteY78" fmla="*/ 4579001 h 4627825"/>
              <a:gd name="connsiteX79" fmla="*/ 2034632 w 4724539"/>
              <a:gd name="connsiteY79" fmla="*/ 4627826 h 4627825"/>
              <a:gd name="connsiteX80" fmla="*/ 2588310 w 4724539"/>
              <a:gd name="connsiteY80" fmla="*/ 4627826 h 4627825"/>
              <a:gd name="connsiteX81" fmla="*/ 2659424 w 4724539"/>
              <a:gd name="connsiteY81" fmla="*/ 4579001 h 4627825"/>
              <a:gd name="connsiteX82" fmla="*/ 2775648 w 4724539"/>
              <a:gd name="connsiteY82" fmla="*/ 4277059 h 4627825"/>
              <a:gd name="connsiteX83" fmla="*/ 3235372 w 4724539"/>
              <a:gd name="connsiteY83" fmla="*/ 4086473 h 4627825"/>
              <a:gd name="connsiteX84" fmla="*/ 3531247 w 4724539"/>
              <a:gd name="connsiteY84" fmla="*/ 4217889 h 4627825"/>
              <a:gd name="connsiteX85" fmla="*/ 3616058 w 4724539"/>
              <a:gd name="connsiteY85" fmla="*/ 4202125 h 4627825"/>
              <a:gd name="connsiteX86" fmla="*/ 4007564 w 4724539"/>
              <a:gd name="connsiteY86" fmla="*/ 3810619 h 4627825"/>
              <a:gd name="connsiteX87" fmla="*/ 4023319 w 4724539"/>
              <a:gd name="connsiteY87" fmla="*/ 3725809 h 4627825"/>
              <a:gd name="connsiteX88" fmla="*/ 3891864 w 4724539"/>
              <a:gd name="connsiteY88" fmla="*/ 3429829 h 4627825"/>
              <a:gd name="connsiteX89" fmla="*/ 4082402 w 4724539"/>
              <a:gd name="connsiteY89" fmla="*/ 2970238 h 4627825"/>
              <a:gd name="connsiteX90" fmla="*/ 4384430 w 4724539"/>
              <a:gd name="connsiteY90" fmla="*/ 2853986 h 4627825"/>
              <a:gd name="connsiteX91" fmla="*/ 4433256 w 4724539"/>
              <a:gd name="connsiteY91" fmla="*/ 2782872 h 4627825"/>
              <a:gd name="connsiteX92" fmla="*/ 4433256 w 4724539"/>
              <a:gd name="connsiteY92" fmla="*/ 2506047 h 4627825"/>
              <a:gd name="connsiteX93" fmla="*/ 4357065 w 4724539"/>
              <a:gd name="connsiteY93" fmla="*/ 2429847 h 4627825"/>
              <a:gd name="connsiteX94" fmla="*/ 3435788 w 4724539"/>
              <a:gd name="connsiteY94" fmla="*/ 896788 h 4627825"/>
              <a:gd name="connsiteX95" fmla="*/ 3629717 w 4724539"/>
              <a:gd name="connsiteY95" fmla="*/ 896788 h 4627825"/>
              <a:gd name="connsiteX96" fmla="*/ 3629717 w 4724539"/>
              <a:gd name="connsiteY96" fmla="*/ 984533 h 4627825"/>
              <a:gd name="connsiteX97" fmla="*/ 3435788 w 4724539"/>
              <a:gd name="connsiteY97" fmla="*/ 984533 h 4627825"/>
              <a:gd name="connsiteX98" fmla="*/ 3629717 w 4724539"/>
              <a:gd name="connsiteY98" fmla="*/ 497262 h 4627825"/>
              <a:gd name="connsiteX99" fmla="*/ 3629717 w 4724539"/>
              <a:gd name="connsiteY99" fmla="*/ 744388 h 4627825"/>
              <a:gd name="connsiteX100" fmla="*/ 3435788 w 4724539"/>
              <a:gd name="connsiteY100" fmla="*/ 744388 h 4627825"/>
              <a:gd name="connsiteX101" fmla="*/ 3435788 w 4724539"/>
              <a:gd name="connsiteY101" fmla="*/ 497262 h 4627825"/>
              <a:gd name="connsiteX102" fmla="*/ 3435788 w 4724539"/>
              <a:gd name="connsiteY102" fmla="*/ 1136933 h 4627825"/>
              <a:gd name="connsiteX103" fmla="*/ 3629717 w 4724539"/>
              <a:gd name="connsiteY103" fmla="*/ 1136933 h 4627825"/>
              <a:gd name="connsiteX104" fmla="*/ 3629717 w 4724539"/>
              <a:gd name="connsiteY104" fmla="*/ 1384040 h 4627825"/>
              <a:gd name="connsiteX105" fmla="*/ 3435788 w 4724539"/>
              <a:gd name="connsiteY105" fmla="*/ 1384040 h 4627825"/>
              <a:gd name="connsiteX106" fmla="*/ 4043578 w 4724539"/>
              <a:gd name="connsiteY106" fmla="*/ 1536440 h 4627825"/>
              <a:gd name="connsiteX107" fmla="*/ 4043578 w 4724539"/>
              <a:gd name="connsiteY107" fmla="*/ 2429847 h 4627825"/>
              <a:gd name="connsiteX108" fmla="*/ 3021927 w 4724539"/>
              <a:gd name="connsiteY108" fmla="*/ 2429847 h 4627825"/>
              <a:gd name="connsiteX109" fmla="*/ 3021927 w 4724539"/>
              <a:gd name="connsiteY109" fmla="*/ 1536440 h 4627825"/>
              <a:gd name="connsiteX110" fmla="*/ 3067894 w 4724539"/>
              <a:gd name="connsiteY110" fmla="*/ 2582247 h 4627825"/>
              <a:gd name="connsiteX111" fmla="*/ 2311476 w 4724539"/>
              <a:gd name="connsiteY111" fmla="*/ 3266284 h 4627825"/>
              <a:gd name="connsiteX112" fmla="*/ 1555067 w 4724539"/>
              <a:gd name="connsiteY112" fmla="*/ 2582247 h 4627825"/>
              <a:gd name="connsiteX113" fmla="*/ 2014724 w 4724539"/>
              <a:gd name="connsiteY113" fmla="*/ 497262 h 4627825"/>
              <a:gd name="connsiteX114" fmla="*/ 2608227 w 4724539"/>
              <a:gd name="connsiteY114" fmla="*/ 497262 h 4627825"/>
              <a:gd name="connsiteX115" fmla="*/ 2608227 w 4724539"/>
              <a:gd name="connsiteY115" fmla="*/ 630022 h 4627825"/>
              <a:gd name="connsiteX116" fmla="*/ 2014724 w 4724539"/>
              <a:gd name="connsiteY116" fmla="*/ 630022 h 4627825"/>
              <a:gd name="connsiteX117" fmla="*/ 2869527 w 4724539"/>
              <a:gd name="connsiteY117" fmla="*/ 782431 h 4627825"/>
              <a:gd name="connsiteX118" fmla="*/ 2869527 w 4724539"/>
              <a:gd name="connsiteY118" fmla="*/ 2429847 h 4627825"/>
              <a:gd name="connsiteX119" fmla="*/ 1753425 w 4724539"/>
              <a:gd name="connsiteY119" fmla="*/ 2429847 h 4627825"/>
              <a:gd name="connsiteX120" fmla="*/ 1753425 w 4724539"/>
              <a:gd name="connsiteY120" fmla="*/ 782431 h 4627825"/>
              <a:gd name="connsiteX121" fmla="*/ 1601025 w 4724539"/>
              <a:gd name="connsiteY121" fmla="*/ 1389240 h 4627825"/>
              <a:gd name="connsiteX122" fmla="*/ 1601025 w 4724539"/>
              <a:gd name="connsiteY122" fmla="*/ 2429847 h 4627825"/>
              <a:gd name="connsiteX123" fmla="*/ 1074483 w 4724539"/>
              <a:gd name="connsiteY123" fmla="*/ 2429847 h 4627825"/>
              <a:gd name="connsiteX124" fmla="*/ 1074483 w 4724539"/>
              <a:gd name="connsiteY124" fmla="*/ 1159450 h 4627825"/>
              <a:gd name="connsiteX125" fmla="*/ 579364 w 4724539"/>
              <a:gd name="connsiteY125" fmla="*/ 1536440 h 4627825"/>
              <a:gd name="connsiteX126" fmla="*/ 922074 w 4724539"/>
              <a:gd name="connsiteY126" fmla="*/ 1536440 h 4627825"/>
              <a:gd name="connsiteX127" fmla="*/ 922074 w 4724539"/>
              <a:gd name="connsiteY127" fmla="*/ 2429847 h 4627825"/>
              <a:gd name="connsiteX128" fmla="*/ 579364 w 4724539"/>
              <a:gd name="connsiteY128" fmla="*/ 2429847 h 4627825"/>
              <a:gd name="connsiteX129" fmla="*/ 4280865 w 4724539"/>
              <a:gd name="connsiteY129" fmla="*/ 2730551 h 4627825"/>
              <a:gd name="connsiteX130" fmla="*/ 3990705 w 4724539"/>
              <a:gd name="connsiteY130" fmla="*/ 2842241 h 4627825"/>
              <a:gd name="connsiteX131" fmla="*/ 3943956 w 4724539"/>
              <a:gd name="connsiteY131" fmla="*/ 2895705 h 4627825"/>
              <a:gd name="connsiteX132" fmla="*/ 3741274 w 4724539"/>
              <a:gd name="connsiteY132" fmla="*/ 3384604 h 4627825"/>
              <a:gd name="connsiteX133" fmla="*/ 3736521 w 4724539"/>
              <a:gd name="connsiteY133" fmla="*/ 3455480 h 4627825"/>
              <a:gd name="connsiteX134" fmla="*/ 3862813 w 4724539"/>
              <a:gd name="connsiteY134" fmla="*/ 3739849 h 4627825"/>
              <a:gd name="connsiteX135" fmla="*/ 3545306 w 4724539"/>
              <a:gd name="connsiteY135" fmla="*/ 4057364 h 4627825"/>
              <a:gd name="connsiteX136" fmla="*/ 3261033 w 4724539"/>
              <a:gd name="connsiteY136" fmla="*/ 3931110 h 4627825"/>
              <a:gd name="connsiteX137" fmla="*/ 3190148 w 4724539"/>
              <a:gd name="connsiteY137" fmla="*/ 3935873 h 4627825"/>
              <a:gd name="connsiteX138" fmla="*/ 2701134 w 4724539"/>
              <a:gd name="connsiteY138" fmla="*/ 4138593 h 4627825"/>
              <a:gd name="connsiteX139" fmla="*/ 2647661 w 4724539"/>
              <a:gd name="connsiteY139" fmla="*/ 4185342 h 4627825"/>
              <a:gd name="connsiteX140" fmla="*/ 2535999 w 4724539"/>
              <a:gd name="connsiteY140" fmla="*/ 4475417 h 4627825"/>
              <a:gd name="connsiteX141" fmla="*/ 2086962 w 4724539"/>
              <a:gd name="connsiteY141" fmla="*/ 4475417 h 4627825"/>
              <a:gd name="connsiteX142" fmla="*/ 1975272 w 4724539"/>
              <a:gd name="connsiteY142" fmla="*/ 4185257 h 4627825"/>
              <a:gd name="connsiteX143" fmla="*/ 1921808 w 4724539"/>
              <a:gd name="connsiteY143" fmla="*/ 4138508 h 4627825"/>
              <a:gd name="connsiteX144" fmla="*/ 1432909 w 4724539"/>
              <a:gd name="connsiteY144" fmla="*/ 3935825 h 4627825"/>
              <a:gd name="connsiteX145" fmla="*/ 1362034 w 4724539"/>
              <a:gd name="connsiteY145" fmla="*/ 3931072 h 4627825"/>
              <a:gd name="connsiteX146" fmla="*/ 1077665 w 4724539"/>
              <a:gd name="connsiteY146" fmla="*/ 4057364 h 4627825"/>
              <a:gd name="connsiteX147" fmla="*/ 760139 w 4724539"/>
              <a:gd name="connsiteY147" fmla="*/ 3739849 h 4627825"/>
              <a:gd name="connsiteX148" fmla="*/ 886403 w 4724539"/>
              <a:gd name="connsiteY148" fmla="*/ 3455584 h 4627825"/>
              <a:gd name="connsiteX149" fmla="*/ 881640 w 4724539"/>
              <a:gd name="connsiteY149" fmla="*/ 3384699 h 4627825"/>
              <a:gd name="connsiteX150" fmla="*/ 678919 w 4724539"/>
              <a:gd name="connsiteY150" fmla="*/ 2895676 h 4627825"/>
              <a:gd name="connsiteX151" fmla="*/ 632171 w 4724539"/>
              <a:gd name="connsiteY151" fmla="*/ 2842212 h 4627825"/>
              <a:gd name="connsiteX152" fmla="*/ 342087 w 4724539"/>
              <a:gd name="connsiteY152" fmla="*/ 2730551 h 4627825"/>
              <a:gd name="connsiteX153" fmla="*/ 342087 w 4724539"/>
              <a:gd name="connsiteY153" fmla="*/ 2582237 h 4627825"/>
              <a:gd name="connsiteX154" fmla="*/ 1402058 w 4724539"/>
              <a:gd name="connsiteY154" fmla="*/ 2582237 h 4627825"/>
              <a:gd name="connsiteX155" fmla="*/ 2311486 w 4724539"/>
              <a:gd name="connsiteY155" fmla="*/ 3418675 h 4627825"/>
              <a:gd name="connsiteX156" fmla="*/ 3220923 w 4724539"/>
              <a:gd name="connsiteY156" fmla="*/ 2582237 h 4627825"/>
              <a:gd name="connsiteX157" fmla="*/ 4280884 w 4724539"/>
              <a:gd name="connsiteY157" fmla="*/ 2582237 h 4627825"/>
              <a:gd name="connsiteX158" fmla="*/ 4280884 w 4724539"/>
              <a:gd name="connsiteY158" fmla="*/ 2730551 h 4627825"/>
              <a:gd name="connsiteX159" fmla="*/ 4701422 w 4724539"/>
              <a:gd name="connsiteY159" fmla="*/ 344672 h 4627825"/>
              <a:gd name="connsiteX160" fmla="*/ 4462231 w 4724539"/>
              <a:gd name="connsiteY160" fmla="*/ 40872 h 4627825"/>
              <a:gd name="connsiteX161" fmla="*/ 4378030 w 4724539"/>
              <a:gd name="connsiteY161" fmla="*/ 0 h 4627825"/>
              <a:gd name="connsiteX162" fmla="*/ 4293829 w 4724539"/>
              <a:gd name="connsiteY162" fmla="*/ 40872 h 4627825"/>
              <a:gd name="connsiteX163" fmla="*/ 4054627 w 4724539"/>
              <a:gd name="connsiteY163" fmla="*/ 344691 h 4627825"/>
              <a:gd name="connsiteX164" fmla="*/ 4042416 w 4724539"/>
              <a:gd name="connsiteY164" fmla="*/ 457810 h 4627825"/>
              <a:gd name="connsiteX165" fmla="*/ 4138857 w 4724539"/>
              <a:gd name="connsiteY165" fmla="*/ 518141 h 4627825"/>
              <a:gd name="connsiteX166" fmla="*/ 4161974 w 4724539"/>
              <a:gd name="connsiteY166" fmla="*/ 518141 h 4627825"/>
              <a:gd name="connsiteX167" fmla="*/ 4161974 w 4724539"/>
              <a:gd name="connsiteY167" fmla="*/ 1018985 h 4627825"/>
              <a:gd name="connsiteX168" fmla="*/ 4238174 w 4724539"/>
              <a:gd name="connsiteY168" fmla="*/ 1095185 h 4627825"/>
              <a:gd name="connsiteX169" fmla="*/ 4517895 w 4724539"/>
              <a:gd name="connsiteY169" fmla="*/ 1095185 h 4627825"/>
              <a:gd name="connsiteX170" fmla="*/ 4594095 w 4724539"/>
              <a:gd name="connsiteY170" fmla="*/ 1018985 h 4627825"/>
              <a:gd name="connsiteX171" fmla="*/ 4594095 w 4724539"/>
              <a:gd name="connsiteY171" fmla="*/ 518151 h 4627825"/>
              <a:gd name="connsiteX172" fmla="*/ 4617221 w 4724539"/>
              <a:gd name="connsiteY172" fmla="*/ 518151 h 4627825"/>
              <a:gd name="connsiteX173" fmla="*/ 4713662 w 4724539"/>
              <a:gd name="connsiteY173" fmla="*/ 457800 h 4627825"/>
              <a:gd name="connsiteX174" fmla="*/ 4701422 w 4724539"/>
              <a:gd name="connsiteY174" fmla="*/ 344672 h 4627825"/>
              <a:gd name="connsiteX175" fmla="*/ 4517895 w 4724539"/>
              <a:gd name="connsiteY175" fmla="*/ 365750 h 4627825"/>
              <a:gd name="connsiteX176" fmla="*/ 4441695 w 4724539"/>
              <a:gd name="connsiteY176" fmla="*/ 441950 h 4627825"/>
              <a:gd name="connsiteX177" fmla="*/ 4441695 w 4724539"/>
              <a:gd name="connsiteY177" fmla="*/ 942794 h 4627825"/>
              <a:gd name="connsiteX178" fmla="*/ 4314374 w 4724539"/>
              <a:gd name="connsiteY178" fmla="*/ 942794 h 4627825"/>
              <a:gd name="connsiteX179" fmla="*/ 4314374 w 4724539"/>
              <a:gd name="connsiteY179" fmla="*/ 441941 h 4627825"/>
              <a:gd name="connsiteX180" fmla="*/ 4292048 w 4724539"/>
              <a:gd name="connsiteY180" fmla="*/ 388058 h 4627825"/>
              <a:gd name="connsiteX181" fmla="*/ 4238165 w 4724539"/>
              <a:gd name="connsiteY181" fmla="*/ 365741 h 4627825"/>
              <a:gd name="connsiteX182" fmla="*/ 4232021 w 4724539"/>
              <a:gd name="connsiteY182" fmla="*/ 365741 h 4627825"/>
              <a:gd name="connsiteX183" fmla="*/ 4378030 w 4724539"/>
              <a:gd name="connsiteY183" fmla="*/ 180289 h 4627825"/>
              <a:gd name="connsiteX184" fmla="*/ 4524048 w 4724539"/>
              <a:gd name="connsiteY184" fmla="*/ 365750 h 4627825"/>
              <a:gd name="connsiteX185" fmla="*/ 486372 w 4724539"/>
              <a:gd name="connsiteY185" fmla="*/ 1095194 h 4627825"/>
              <a:gd name="connsiteX186" fmla="*/ 562572 w 4724539"/>
              <a:gd name="connsiteY186" fmla="*/ 1018994 h 4627825"/>
              <a:gd name="connsiteX187" fmla="*/ 562572 w 4724539"/>
              <a:gd name="connsiteY187" fmla="*/ 518151 h 4627825"/>
              <a:gd name="connsiteX188" fmla="*/ 585698 w 4724539"/>
              <a:gd name="connsiteY188" fmla="*/ 518151 h 4627825"/>
              <a:gd name="connsiteX189" fmla="*/ 682148 w 4724539"/>
              <a:gd name="connsiteY189" fmla="*/ 457781 h 4627825"/>
              <a:gd name="connsiteX190" fmla="*/ 669899 w 4724539"/>
              <a:gd name="connsiteY190" fmla="*/ 344672 h 4627825"/>
              <a:gd name="connsiteX191" fmla="*/ 430707 w 4724539"/>
              <a:gd name="connsiteY191" fmla="*/ 40872 h 4627825"/>
              <a:gd name="connsiteX192" fmla="*/ 346506 w 4724539"/>
              <a:gd name="connsiteY192" fmla="*/ 0 h 4627825"/>
              <a:gd name="connsiteX193" fmla="*/ 262305 w 4724539"/>
              <a:gd name="connsiteY193" fmla="*/ 40872 h 4627825"/>
              <a:gd name="connsiteX194" fmla="*/ 23104 w 4724539"/>
              <a:gd name="connsiteY194" fmla="*/ 344700 h 4627825"/>
              <a:gd name="connsiteX195" fmla="*/ 10893 w 4724539"/>
              <a:gd name="connsiteY195" fmla="*/ 457819 h 4627825"/>
              <a:gd name="connsiteX196" fmla="*/ 107334 w 4724539"/>
              <a:gd name="connsiteY196" fmla="*/ 518151 h 4627825"/>
              <a:gd name="connsiteX197" fmla="*/ 130460 w 4724539"/>
              <a:gd name="connsiteY197" fmla="*/ 518151 h 4627825"/>
              <a:gd name="connsiteX198" fmla="*/ 130460 w 4724539"/>
              <a:gd name="connsiteY198" fmla="*/ 1018994 h 4627825"/>
              <a:gd name="connsiteX199" fmla="*/ 206660 w 4724539"/>
              <a:gd name="connsiteY199" fmla="*/ 1095194 h 4627825"/>
              <a:gd name="connsiteX200" fmla="*/ 200498 w 4724539"/>
              <a:gd name="connsiteY200" fmla="*/ 365741 h 4627825"/>
              <a:gd name="connsiteX201" fmla="*/ 346506 w 4724539"/>
              <a:gd name="connsiteY201" fmla="*/ 180289 h 4627825"/>
              <a:gd name="connsiteX202" fmla="*/ 492525 w 4724539"/>
              <a:gd name="connsiteY202" fmla="*/ 365750 h 4627825"/>
              <a:gd name="connsiteX203" fmla="*/ 486372 w 4724539"/>
              <a:gd name="connsiteY203" fmla="*/ 365750 h 4627825"/>
              <a:gd name="connsiteX204" fmla="*/ 410172 w 4724539"/>
              <a:gd name="connsiteY204" fmla="*/ 441950 h 4627825"/>
              <a:gd name="connsiteX205" fmla="*/ 410172 w 4724539"/>
              <a:gd name="connsiteY205" fmla="*/ 942794 h 4627825"/>
              <a:gd name="connsiteX206" fmla="*/ 282860 w 4724539"/>
              <a:gd name="connsiteY206" fmla="*/ 942794 h 4627825"/>
              <a:gd name="connsiteX207" fmla="*/ 282860 w 4724539"/>
              <a:gd name="connsiteY207" fmla="*/ 441941 h 4627825"/>
              <a:gd name="connsiteX208" fmla="*/ 260534 w 4724539"/>
              <a:gd name="connsiteY208" fmla="*/ 388058 h 4627825"/>
              <a:gd name="connsiteX209" fmla="*/ 206651 w 4724539"/>
              <a:gd name="connsiteY209" fmla="*/ 365741 h 4627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</a:cxnLst>
            <a:rect l="l" t="t" r="r" b="b"/>
            <a:pathLst>
              <a:path w="4724539" h="4627825">
                <a:moveTo>
                  <a:pt x="3179213" y="2317585"/>
                </a:moveTo>
                <a:lnTo>
                  <a:pt x="3886292" y="2317585"/>
                </a:lnTo>
                <a:cubicBezTo>
                  <a:pt x="3928373" y="2317585"/>
                  <a:pt x="3962492" y="2283466"/>
                  <a:pt x="3962492" y="2241385"/>
                </a:cubicBezTo>
                <a:lnTo>
                  <a:pt x="3962492" y="1881026"/>
                </a:lnTo>
                <a:cubicBezTo>
                  <a:pt x="3962492" y="1838944"/>
                  <a:pt x="3928373" y="1804826"/>
                  <a:pt x="3886292" y="1804826"/>
                </a:cubicBezTo>
                <a:lnTo>
                  <a:pt x="3179213" y="1804826"/>
                </a:lnTo>
                <a:cubicBezTo>
                  <a:pt x="3137132" y="1804826"/>
                  <a:pt x="3103013" y="1838944"/>
                  <a:pt x="3103013" y="1881026"/>
                </a:cubicBezTo>
                <a:lnTo>
                  <a:pt x="3103013" y="2241385"/>
                </a:lnTo>
                <a:cubicBezTo>
                  <a:pt x="3103013" y="2283466"/>
                  <a:pt x="3137132" y="2317585"/>
                  <a:pt x="3179213" y="2317585"/>
                </a:cubicBezTo>
                <a:close/>
                <a:moveTo>
                  <a:pt x="3255413" y="1957226"/>
                </a:moveTo>
                <a:lnTo>
                  <a:pt x="3810092" y="1957226"/>
                </a:lnTo>
                <a:lnTo>
                  <a:pt x="3810092" y="2165185"/>
                </a:lnTo>
                <a:lnTo>
                  <a:pt x="3255413" y="2165185"/>
                </a:lnTo>
                <a:close/>
                <a:moveTo>
                  <a:pt x="1977691" y="1750466"/>
                </a:moveTo>
                <a:lnTo>
                  <a:pt x="2645270" y="1750466"/>
                </a:lnTo>
                <a:cubicBezTo>
                  <a:pt x="2687352" y="1750466"/>
                  <a:pt x="2721470" y="1716348"/>
                  <a:pt x="2721470" y="1674266"/>
                </a:cubicBezTo>
                <a:lnTo>
                  <a:pt x="2721470" y="1006688"/>
                </a:lnTo>
                <a:cubicBezTo>
                  <a:pt x="2721470" y="964606"/>
                  <a:pt x="2687352" y="930488"/>
                  <a:pt x="2645270" y="930488"/>
                </a:cubicBezTo>
                <a:lnTo>
                  <a:pt x="1977691" y="930488"/>
                </a:lnTo>
                <a:cubicBezTo>
                  <a:pt x="1935610" y="930488"/>
                  <a:pt x="1901491" y="964606"/>
                  <a:pt x="1901491" y="1006688"/>
                </a:cubicBezTo>
                <a:lnTo>
                  <a:pt x="1901491" y="1674266"/>
                </a:lnTo>
                <a:cubicBezTo>
                  <a:pt x="1901491" y="1716348"/>
                  <a:pt x="1935610" y="1750466"/>
                  <a:pt x="1977691" y="1750466"/>
                </a:cubicBezTo>
                <a:close/>
                <a:moveTo>
                  <a:pt x="2053891" y="1082888"/>
                </a:moveTo>
                <a:lnTo>
                  <a:pt x="2569070" y="1082888"/>
                </a:lnTo>
                <a:lnTo>
                  <a:pt x="2569070" y="1598066"/>
                </a:lnTo>
                <a:lnTo>
                  <a:pt x="2053891" y="1598066"/>
                </a:lnTo>
                <a:close/>
                <a:moveTo>
                  <a:pt x="2721451" y="1969018"/>
                </a:moveTo>
                <a:cubicBezTo>
                  <a:pt x="2721451" y="2011099"/>
                  <a:pt x="2687333" y="2045218"/>
                  <a:pt x="2645251" y="2045218"/>
                </a:cubicBezTo>
                <a:lnTo>
                  <a:pt x="1977691" y="2045218"/>
                </a:lnTo>
                <a:cubicBezTo>
                  <a:pt x="1935610" y="2045218"/>
                  <a:pt x="1901491" y="2011099"/>
                  <a:pt x="1901491" y="1969018"/>
                </a:cubicBezTo>
                <a:cubicBezTo>
                  <a:pt x="1901491" y="1926936"/>
                  <a:pt x="1935610" y="1892818"/>
                  <a:pt x="1977691" y="1892818"/>
                </a:cubicBezTo>
                <a:lnTo>
                  <a:pt x="2645251" y="1892818"/>
                </a:lnTo>
                <a:cubicBezTo>
                  <a:pt x="2687333" y="1892818"/>
                  <a:pt x="2721451" y="1926936"/>
                  <a:pt x="2721451" y="1969018"/>
                </a:cubicBezTo>
                <a:close/>
                <a:moveTo>
                  <a:pt x="4357065" y="2429847"/>
                </a:moveTo>
                <a:lnTo>
                  <a:pt x="4195978" y="2429847"/>
                </a:lnTo>
                <a:lnTo>
                  <a:pt x="4195978" y="1460240"/>
                </a:lnTo>
                <a:cubicBezTo>
                  <a:pt x="4195978" y="1418158"/>
                  <a:pt x="4161860" y="1384040"/>
                  <a:pt x="4119778" y="1384040"/>
                </a:cubicBezTo>
                <a:lnTo>
                  <a:pt x="3782117" y="1384040"/>
                </a:lnTo>
                <a:lnTo>
                  <a:pt x="3782117" y="497262"/>
                </a:lnTo>
                <a:lnTo>
                  <a:pt x="3803005" y="497262"/>
                </a:lnTo>
                <a:cubicBezTo>
                  <a:pt x="3845087" y="497262"/>
                  <a:pt x="3879205" y="463144"/>
                  <a:pt x="3879205" y="421062"/>
                </a:cubicBezTo>
                <a:cubicBezTo>
                  <a:pt x="3879205" y="378981"/>
                  <a:pt x="3845087" y="344862"/>
                  <a:pt x="3803005" y="344862"/>
                </a:cubicBezTo>
                <a:lnTo>
                  <a:pt x="3262490" y="344862"/>
                </a:lnTo>
                <a:cubicBezTo>
                  <a:pt x="3220409" y="344862"/>
                  <a:pt x="3186290" y="378981"/>
                  <a:pt x="3186290" y="421062"/>
                </a:cubicBezTo>
                <a:cubicBezTo>
                  <a:pt x="3186290" y="463144"/>
                  <a:pt x="3220409" y="497262"/>
                  <a:pt x="3262490" y="497262"/>
                </a:cubicBezTo>
                <a:lnTo>
                  <a:pt x="3283379" y="497262"/>
                </a:lnTo>
                <a:lnTo>
                  <a:pt x="3283379" y="1384040"/>
                </a:lnTo>
                <a:lnTo>
                  <a:pt x="3021927" y="1384040"/>
                </a:lnTo>
                <a:lnTo>
                  <a:pt x="3021927" y="706231"/>
                </a:lnTo>
                <a:cubicBezTo>
                  <a:pt x="3021927" y="664150"/>
                  <a:pt x="2987808" y="630031"/>
                  <a:pt x="2945727" y="630031"/>
                </a:cubicBezTo>
                <a:lnTo>
                  <a:pt x="2760618" y="630031"/>
                </a:lnTo>
                <a:lnTo>
                  <a:pt x="2760618" y="421062"/>
                </a:lnTo>
                <a:cubicBezTo>
                  <a:pt x="2760618" y="378981"/>
                  <a:pt x="2726499" y="344862"/>
                  <a:pt x="2684418" y="344862"/>
                </a:cubicBezTo>
                <a:lnTo>
                  <a:pt x="1938515" y="344862"/>
                </a:lnTo>
                <a:cubicBezTo>
                  <a:pt x="1896434" y="344862"/>
                  <a:pt x="1862315" y="378981"/>
                  <a:pt x="1862315" y="421062"/>
                </a:cubicBezTo>
                <a:lnTo>
                  <a:pt x="1862315" y="630022"/>
                </a:lnTo>
                <a:lnTo>
                  <a:pt x="1677206" y="630022"/>
                </a:lnTo>
                <a:cubicBezTo>
                  <a:pt x="1635125" y="630022"/>
                  <a:pt x="1601006" y="664140"/>
                  <a:pt x="1601006" y="706222"/>
                </a:cubicBezTo>
                <a:lnTo>
                  <a:pt x="1601006" y="1222953"/>
                </a:lnTo>
                <a:lnTo>
                  <a:pt x="1028744" y="973217"/>
                </a:lnTo>
                <a:cubicBezTo>
                  <a:pt x="1005160" y="962930"/>
                  <a:pt x="978024" y="965225"/>
                  <a:pt x="956526" y="979303"/>
                </a:cubicBezTo>
                <a:cubicBezTo>
                  <a:pt x="935018" y="993391"/>
                  <a:pt x="922064" y="1017356"/>
                  <a:pt x="922064" y="1043054"/>
                </a:cubicBezTo>
                <a:lnTo>
                  <a:pt x="922064" y="1384040"/>
                </a:lnTo>
                <a:lnTo>
                  <a:pt x="503155" y="1384040"/>
                </a:lnTo>
                <a:cubicBezTo>
                  <a:pt x="461073" y="1384040"/>
                  <a:pt x="426955" y="1418158"/>
                  <a:pt x="426955" y="1460240"/>
                </a:cubicBezTo>
                <a:lnTo>
                  <a:pt x="426955" y="2429847"/>
                </a:lnTo>
                <a:lnTo>
                  <a:pt x="265877" y="2429847"/>
                </a:lnTo>
                <a:cubicBezTo>
                  <a:pt x="223796" y="2429847"/>
                  <a:pt x="189677" y="2463965"/>
                  <a:pt x="189677" y="2506047"/>
                </a:cubicBezTo>
                <a:lnTo>
                  <a:pt x="189677" y="2782881"/>
                </a:lnTo>
                <a:cubicBezTo>
                  <a:pt x="189677" y="2814409"/>
                  <a:pt x="209089" y="2842670"/>
                  <a:pt x="238503" y="2853995"/>
                </a:cubicBezTo>
                <a:lnTo>
                  <a:pt x="540455" y="2970219"/>
                </a:lnTo>
                <a:cubicBezTo>
                  <a:pt x="582650" y="3131553"/>
                  <a:pt x="646611" y="3285858"/>
                  <a:pt x="731031" y="3429943"/>
                </a:cubicBezTo>
                <a:lnTo>
                  <a:pt x="599614" y="3725809"/>
                </a:lnTo>
                <a:cubicBezTo>
                  <a:pt x="586822" y="3754612"/>
                  <a:pt x="593080" y="3788321"/>
                  <a:pt x="615369" y="3810619"/>
                </a:cubicBezTo>
                <a:lnTo>
                  <a:pt x="1006884" y="4202135"/>
                </a:lnTo>
                <a:cubicBezTo>
                  <a:pt x="1029182" y="4224424"/>
                  <a:pt x="1062891" y="4230672"/>
                  <a:pt x="1091695" y="4217889"/>
                </a:cubicBezTo>
                <a:lnTo>
                  <a:pt x="1387675" y="4086435"/>
                </a:lnTo>
                <a:cubicBezTo>
                  <a:pt x="1531807" y="4170855"/>
                  <a:pt x="1686074" y="4234815"/>
                  <a:pt x="1847266" y="4276973"/>
                </a:cubicBezTo>
                <a:lnTo>
                  <a:pt x="1963518" y="4579001"/>
                </a:lnTo>
                <a:cubicBezTo>
                  <a:pt x="1974834" y="4608414"/>
                  <a:pt x="2003104" y="4627826"/>
                  <a:pt x="2034632" y="4627826"/>
                </a:cubicBezTo>
                <a:lnTo>
                  <a:pt x="2588310" y="4627826"/>
                </a:lnTo>
                <a:cubicBezTo>
                  <a:pt x="2619838" y="4627826"/>
                  <a:pt x="2648099" y="4608414"/>
                  <a:pt x="2659424" y="4579001"/>
                </a:cubicBezTo>
                <a:lnTo>
                  <a:pt x="2775648" y="4277059"/>
                </a:lnTo>
                <a:cubicBezTo>
                  <a:pt x="2936964" y="4234882"/>
                  <a:pt x="3091259" y="4170912"/>
                  <a:pt x="3235372" y="4086473"/>
                </a:cubicBezTo>
                <a:lnTo>
                  <a:pt x="3531247" y="4217889"/>
                </a:lnTo>
                <a:cubicBezTo>
                  <a:pt x="3560051" y="4230681"/>
                  <a:pt x="3593751" y="4224424"/>
                  <a:pt x="3616058" y="4202125"/>
                </a:cubicBezTo>
                <a:lnTo>
                  <a:pt x="4007564" y="3810619"/>
                </a:lnTo>
                <a:cubicBezTo>
                  <a:pt x="4029853" y="3788321"/>
                  <a:pt x="4036110" y="3754612"/>
                  <a:pt x="4023319" y="3725809"/>
                </a:cubicBezTo>
                <a:lnTo>
                  <a:pt x="3891864" y="3429829"/>
                </a:lnTo>
                <a:cubicBezTo>
                  <a:pt x="3976284" y="3285706"/>
                  <a:pt x="4040235" y="3131449"/>
                  <a:pt x="4082402" y="2970238"/>
                </a:cubicBezTo>
                <a:lnTo>
                  <a:pt x="4384430" y="2853986"/>
                </a:lnTo>
                <a:cubicBezTo>
                  <a:pt x="4413844" y="2842670"/>
                  <a:pt x="4433256" y="2814400"/>
                  <a:pt x="4433256" y="2782872"/>
                </a:cubicBezTo>
                <a:lnTo>
                  <a:pt x="4433256" y="2506047"/>
                </a:lnTo>
                <a:cubicBezTo>
                  <a:pt x="4433265" y="2463965"/>
                  <a:pt x="4399147" y="2429847"/>
                  <a:pt x="4357065" y="2429847"/>
                </a:cubicBezTo>
                <a:close/>
                <a:moveTo>
                  <a:pt x="3435788" y="896788"/>
                </a:moveTo>
                <a:lnTo>
                  <a:pt x="3629717" y="896788"/>
                </a:lnTo>
                <a:lnTo>
                  <a:pt x="3629717" y="984533"/>
                </a:lnTo>
                <a:lnTo>
                  <a:pt x="3435788" y="984533"/>
                </a:lnTo>
                <a:close/>
                <a:moveTo>
                  <a:pt x="3629717" y="497262"/>
                </a:moveTo>
                <a:lnTo>
                  <a:pt x="3629717" y="744388"/>
                </a:lnTo>
                <a:lnTo>
                  <a:pt x="3435788" y="744388"/>
                </a:lnTo>
                <a:lnTo>
                  <a:pt x="3435788" y="497262"/>
                </a:lnTo>
                <a:close/>
                <a:moveTo>
                  <a:pt x="3435788" y="1136933"/>
                </a:moveTo>
                <a:lnTo>
                  <a:pt x="3629717" y="1136933"/>
                </a:lnTo>
                <a:lnTo>
                  <a:pt x="3629717" y="1384040"/>
                </a:lnTo>
                <a:lnTo>
                  <a:pt x="3435788" y="1384040"/>
                </a:lnTo>
                <a:close/>
                <a:moveTo>
                  <a:pt x="4043578" y="1536440"/>
                </a:moveTo>
                <a:lnTo>
                  <a:pt x="4043578" y="2429847"/>
                </a:lnTo>
                <a:lnTo>
                  <a:pt x="3021927" y="2429847"/>
                </a:lnTo>
                <a:lnTo>
                  <a:pt x="3021927" y="1536440"/>
                </a:lnTo>
                <a:close/>
                <a:moveTo>
                  <a:pt x="3067894" y="2582247"/>
                </a:moveTo>
                <a:cubicBezTo>
                  <a:pt x="3029547" y="2965799"/>
                  <a:pt x="2704963" y="3266284"/>
                  <a:pt x="2311476" y="3266284"/>
                </a:cubicBezTo>
                <a:cubicBezTo>
                  <a:pt x="1917998" y="3266284"/>
                  <a:pt x="1593415" y="2965799"/>
                  <a:pt x="1555067" y="2582247"/>
                </a:cubicBezTo>
                <a:close/>
                <a:moveTo>
                  <a:pt x="2014724" y="497262"/>
                </a:moveTo>
                <a:lnTo>
                  <a:pt x="2608227" y="497262"/>
                </a:lnTo>
                <a:lnTo>
                  <a:pt x="2608227" y="630022"/>
                </a:lnTo>
                <a:lnTo>
                  <a:pt x="2014724" y="630022"/>
                </a:lnTo>
                <a:close/>
                <a:moveTo>
                  <a:pt x="2869527" y="782431"/>
                </a:moveTo>
                <a:lnTo>
                  <a:pt x="2869527" y="2429847"/>
                </a:lnTo>
                <a:lnTo>
                  <a:pt x="1753425" y="2429847"/>
                </a:lnTo>
                <a:lnTo>
                  <a:pt x="1753425" y="782431"/>
                </a:lnTo>
                <a:close/>
                <a:moveTo>
                  <a:pt x="1601025" y="1389240"/>
                </a:moveTo>
                <a:lnTo>
                  <a:pt x="1601025" y="2429847"/>
                </a:lnTo>
                <a:lnTo>
                  <a:pt x="1074483" y="2429847"/>
                </a:lnTo>
                <a:lnTo>
                  <a:pt x="1074483" y="1159450"/>
                </a:lnTo>
                <a:close/>
                <a:moveTo>
                  <a:pt x="579364" y="1536440"/>
                </a:moveTo>
                <a:lnTo>
                  <a:pt x="922074" y="1536440"/>
                </a:lnTo>
                <a:lnTo>
                  <a:pt x="922074" y="2429847"/>
                </a:lnTo>
                <a:lnTo>
                  <a:pt x="579364" y="2429847"/>
                </a:lnTo>
                <a:close/>
                <a:moveTo>
                  <a:pt x="4280865" y="2730551"/>
                </a:moveTo>
                <a:lnTo>
                  <a:pt x="3990705" y="2842241"/>
                </a:lnTo>
                <a:cubicBezTo>
                  <a:pt x="3967255" y="2851261"/>
                  <a:pt x="3949766" y="2871273"/>
                  <a:pt x="3943956" y="2895705"/>
                </a:cubicBezTo>
                <a:cubicBezTo>
                  <a:pt x="3902846" y="3068460"/>
                  <a:pt x="3834647" y="3232947"/>
                  <a:pt x="3741274" y="3384604"/>
                </a:cubicBezTo>
                <a:cubicBezTo>
                  <a:pt x="3728101" y="3405997"/>
                  <a:pt x="3726329" y="3432515"/>
                  <a:pt x="3736521" y="3455480"/>
                </a:cubicBezTo>
                <a:lnTo>
                  <a:pt x="3862813" y="3739849"/>
                </a:lnTo>
                <a:lnTo>
                  <a:pt x="3545306" y="4057364"/>
                </a:lnTo>
                <a:lnTo>
                  <a:pt x="3261033" y="3931110"/>
                </a:lnTo>
                <a:cubicBezTo>
                  <a:pt x="3238087" y="3920919"/>
                  <a:pt x="3211560" y="3922690"/>
                  <a:pt x="3190148" y="3935873"/>
                </a:cubicBezTo>
                <a:cubicBezTo>
                  <a:pt x="3038519" y="4029266"/>
                  <a:pt x="2873994" y="4097465"/>
                  <a:pt x="2701134" y="4138593"/>
                </a:cubicBezTo>
                <a:cubicBezTo>
                  <a:pt x="2676693" y="4144404"/>
                  <a:pt x="2656681" y="4161892"/>
                  <a:pt x="2647661" y="4185342"/>
                </a:cubicBezTo>
                <a:lnTo>
                  <a:pt x="2535999" y="4475417"/>
                </a:lnTo>
                <a:lnTo>
                  <a:pt x="2086962" y="4475417"/>
                </a:lnTo>
                <a:lnTo>
                  <a:pt x="1975272" y="4185257"/>
                </a:lnTo>
                <a:cubicBezTo>
                  <a:pt x="1966252" y="4161806"/>
                  <a:pt x="1946240" y="4144318"/>
                  <a:pt x="1921808" y="4138508"/>
                </a:cubicBezTo>
                <a:cubicBezTo>
                  <a:pt x="1749072" y="4097398"/>
                  <a:pt x="1584585" y="4029199"/>
                  <a:pt x="1432909" y="3935825"/>
                </a:cubicBezTo>
                <a:cubicBezTo>
                  <a:pt x="1411497" y="3922643"/>
                  <a:pt x="1384979" y="3920871"/>
                  <a:pt x="1362034" y="3931072"/>
                </a:cubicBezTo>
                <a:lnTo>
                  <a:pt x="1077665" y="4057364"/>
                </a:lnTo>
                <a:lnTo>
                  <a:pt x="760139" y="3739849"/>
                </a:lnTo>
                <a:lnTo>
                  <a:pt x="886403" y="3455584"/>
                </a:lnTo>
                <a:cubicBezTo>
                  <a:pt x="896594" y="3432620"/>
                  <a:pt x="894823" y="3406102"/>
                  <a:pt x="881640" y="3384699"/>
                </a:cubicBezTo>
                <a:cubicBezTo>
                  <a:pt x="788276" y="3233109"/>
                  <a:pt x="720067" y="3068584"/>
                  <a:pt x="678919" y="2895676"/>
                </a:cubicBezTo>
                <a:cubicBezTo>
                  <a:pt x="673109" y="2871245"/>
                  <a:pt x="655612" y="2851233"/>
                  <a:pt x="632171" y="2842212"/>
                </a:cubicBezTo>
                <a:lnTo>
                  <a:pt x="342087" y="2730551"/>
                </a:lnTo>
                <a:lnTo>
                  <a:pt x="342087" y="2582237"/>
                </a:lnTo>
                <a:lnTo>
                  <a:pt x="1402058" y="2582237"/>
                </a:lnTo>
                <a:cubicBezTo>
                  <a:pt x="1440910" y="3049953"/>
                  <a:pt x="1833921" y="3418675"/>
                  <a:pt x="2311486" y="3418675"/>
                </a:cubicBezTo>
                <a:cubicBezTo>
                  <a:pt x="2789060" y="3418675"/>
                  <a:pt x="3182070" y="3049943"/>
                  <a:pt x="3220923" y="2582237"/>
                </a:cubicBezTo>
                <a:lnTo>
                  <a:pt x="4280884" y="2582237"/>
                </a:lnTo>
                <a:lnTo>
                  <a:pt x="4280884" y="2730551"/>
                </a:lnTo>
                <a:close/>
                <a:moveTo>
                  <a:pt x="4701422" y="344672"/>
                </a:moveTo>
                <a:lnTo>
                  <a:pt x="4462231" y="40872"/>
                </a:lnTo>
                <a:cubicBezTo>
                  <a:pt x="4441790" y="14897"/>
                  <a:pt x="4411091" y="0"/>
                  <a:pt x="4378030" y="0"/>
                </a:cubicBezTo>
                <a:cubicBezTo>
                  <a:pt x="4344968" y="0"/>
                  <a:pt x="4314279" y="14897"/>
                  <a:pt x="4293829" y="40872"/>
                </a:cubicBezTo>
                <a:lnTo>
                  <a:pt x="4054627" y="344691"/>
                </a:lnTo>
                <a:cubicBezTo>
                  <a:pt x="4029014" y="377238"/>
                  <a:pt x="4024328" y="420586"/>
                  <a:pt x="4042416" y="457810"/>
                </a:cubicBezTo>
                <a:cubicBezTo>
                  <a:pt x="4060485" y="495024"/>
                  <a:pt x="4097433" y="518141"/>
                  <a:pt x="4138857" y="518141"/>
                </a:cubicBezTo>
                <a:lnTo>
                  <a:pt x="4161974" y="518141"/>
                </a:lnTo>
                <a:lnTo>
                  <a:pt x="4161974" y="1018985"/>
                </a:lnTo>
                <a:cubicBezTo>
                  <a:pt x="4161974" y="1061066"/>
                  <a:pt x="4196093" y="1095185"/>
                  <a:pt x="4238174" y="1095185"/>
                </a:cubicBezTo>
                <a:lnTo>
                  <a:pt x="4517895" y="1095185"/>
                </a:lnTo>
                <a:cubicBezTo>
                  <a:pt x="4559976" y="1095185"/>
                  <a:pt x="4594095" y="1061066"/>
                  <a:pt x="4594095" y="1018985"/>
                </a:cubicBezTo>
                <a:lnTo>
                  <a:pt x="4594095" y="518151"/>
                </a:lnTo>
                <a:lnTo>
                  <a:pt x="4617221" y="518151"/>
                </a:lnTo>
                <a:cubicBezTo>
                  <a:pt x="4658636" y="518151"/>
                  <a:pt x="4695593" y="495024"/>
                  <a:pt x="4713662" y="457800"/>
                </a:cubicBezTo>
                <a:cubicBezTo>
                  <a:pt x="4731731" y="420576"/>
                  <a:pt x="4727045" y="377228"/>
                  <a:pt x="4701422" y="344672"/>
                </a:cubicBezTo>
                <a:close/>
                <a:moveTo>
                  <a:pt x="4517895" y="365750"/>
                </a:moveTo>
                <a:cubicBezTo>
                  <a:pt x="4475813" y="365750"/>
                  <a:pt x="4441695" y="399869"/>
                  <a:pt x="4441695" y="441950"/>
                </a:cubicBezTo>
                <a:lnTo>
                  <a:pt x="4441695" y="942794"/>
                </a:lnTo>
                <a:lnTo>
                  <a:pt x="4314374" y="942794"/>
                </a:lnTo>
                <a:lnTo>
                  <a:pt x="4314374" y="441941"/>
                </a:lnTo>
                <a:cubicBezTo>
                  <a:pt x="4314374" y="421729"/>
                  <a:pt x="4306344" y="402346"/>
                  <a:pt x="4292048" y="388058"/>
                </a:cubicBezTo>
                <a:cubicBezTo>
                  <a:pt x="4277760" y="373771"/>
                  <a:pt x="4258377" y="365741"/>
                  <a:pt x="4238165" y="365741"/>
                </a:cubicBezTo>
                <a:lnTo>
                  <a:pt x="4232021" y="365741"/>
                </a:lnTo>
                <a:lnTo>
                  <a:pt x="4378030" y="180289"/>
                </a:lnTo>
                <a:lnTo>
                  <a:pt x="4524048" y="365750"/>
                </a:lnTo>
                <a:close/>
                <a:moveTo>
                  <a:pt x="486372" y="1095194"/>
                </a:moveTo>
                <a:cubicBezTo>
                  <a:pt x="528453" y="1095194"/>
                  <a:pt x="562572" y="1061076"/>
                  <a:pt x="562572" y="1018994"/>
                </a:cubicBezTo>
                <a:lnTo>
                  <a:pt x="562572" y="518151"/>
                </a:lnTo>
                <a:lnTo>
                  <a:pt x="585698" y="518151"/>
                </a:lnTo>
                <a:cubicBezTo>
                  <a:pt x="627123" y="518151"/>
                  <a:pt x="664080" y="495014"/>
                  <a:pt x="682148" y="457781"/>
                </a:cubicBezTo>
                <a:cubicBezTo>
                  <a:pt x="700217" y="420557"/>
                  <a:pt x="695522" y="377209"/>
                  <a:pt x="669899" y="344672"/>
                </a:cubicBezTo>
                <a:lnTo>
                  <a:pt x="430707" y="40872"/>
                </a:lnTo>
                <a:cubicBezTo>
                  <a:pt x="410267" y="14897"/>
                  <a:pt x="379568" y="0"/>
                  <a:pt x="346506" y="0"/>
                </a:cubicBezTo>
                <a:cubicBezTo>
                  <a:pt x="313445" y="0"/>
                  <a:pt x="282756" y="14897"/>
                  <a:pt x="262305" y="40872"/>
                </a:cubicBezTo>
                <a:lnTo>
                  <a:pt x="23104" y="344700"/>
                </a:lnTo>
                <a:cubicBezTo>
                  <a:pt x="-2509" y="377247"/>
                  <a:pt x="-7195" y="420595"/>
                  <a:pt x="10893" y="457819"/>
                </a:cubicBezTo>
                <a:cubicBezTo>
                  <a:pt x="28962" y="495033"/>
                  <a:pt x="65909" y="518151"/>
                  <a:pt x="107334" y="518151"/>
                </a:cubicBezTo>
                <a:lnTo>
                  <a:pt x="130460" y="518151"/>
                </a:lnTo>
                <a:lnTo>
                  <a:pt x="130460" y="1018994"/>
                </a:lnTo>
                <a:cubicBezTo>
                  <a:pt x="130460" y="1061076"/>
                  <a:pt x="164579" y="1095194"/>
                  <a:pt x="206660" y="1095194"/>
                </a:cubicBezTo>
                <a:close/>
                <a:moveTo>
                  <a:pt x="200498" y="365741"/>
                </a:moveTo>
                <a:lnTo>
                  <a:pt x="346506" y="180289"/>
                </a:lnTo>
                <a:lnTo>
                  <a:pt x="492525" y="365750"/>
                </a:lnTo>
                <a:lnTo>
                  <a:pt x="486372" y="365750"/>
                </a:lnTo>
                <a:cubicBezTo>
                  <a:pt x="444290" y="365750"/>
                  <a:pt x="410172" y="399869"/>
                  <a:pt x="410172" y="441950"/>
                </a:cubicBezTo>
                <a:lnTo>
                  <a:pt x="410172" y="942794"/>
                </a:lnTo>
                <a:lnTo>
                  <a:pt x="282860" y="942794"/>
                </a:lnTo>
                <a:lnTo>
                  <a:pt x="282860" y="441941"/>
                </a:lnTo>
                <a:cubicBezTo>
                  <a:pt x="282860" y="421729"/>
                  <a:pt x="274831" y="402346"/>
                  <a:pt x="260534" y="388058"/>
                </a:cubicBezTo>
                <a:cubicBezTo>
                  <a:pt x="246246" y="373771"/>
                  <a:pt x="226863" y="365741"/>
                  <a:pt x="206651" y="365741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5" name="Free-form: Shape 2681">
            <a:extLst>
              <a:ext uri="{FF2B5EF4-FFF2-40B4-BE49-F238E27FC236}">
                <a16:creationId xmlns:a16="http://schemas.microsoft.com/office/drawing/2014/main" id="{54C7B9A9-3509-9566-92F6-C7F4088873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566351" y="4124715"/>
            <a:ext cx="286492" cy="287042"/>
          </a:xfrm>
          <a:custGeom>
            <a:avLst/>
            <a:gdLst>
              <a:gd name="connsiteX0" fmla="*/ 1521886 w 4863944"/>
              <a:gd name="connsiteY0" fmla="*/ 3469554 h 4873275"/>
              <a:gd name="connsiteX1" fmla="*/ 1548717 w 4863944"/>
              <a:gd name="connsiteY1" fmla="*/ 3478570 h 4873275"/>
              <a:gd name="connsiteX2" fmla="*/ 1574851 w 4863944"/>
              <a:gd name="connsiteY2" fmla="*/ 3575954 h 4873275"/>
              <a:gd name="connsiteX3" fmla="*/ 1492211 w 4863944"/>
              <a:gd name="connsiteY3" fmla="*/ 3719206 h 4873275"/>
              <a:gd name="connsiteX4" fmla="*/ 1368694 w 4863944"/>
              <a:gd name="connsiteY4" fmla="*/ 3647956 h 4873275"/>
              <a:gd name="connsiteX5" fmla="*/ 1451333 w 4863944"/>
              <a:gd name="connsiteY5" fmla="*/ 3504703 h 4873275"/>
              <a:gd name="connsiteX6" fmla="*/ 1494621 w 4863944"/>
              <a:gd name="connsiteY6" fmla="*/ 3471463 h 4873275"/>
              <a:gd name="connsiteX7" fmla="*/ 1521886 w 4863944"/>
              <a:gd name="connsiteY7" fmla="*/ 3469554 h 4873275"/>
              <a:gd name="connsiteX8" fmla="*/ 2345572 w 4863944"/>
              <a:gd name="connsiteY8" fmla="*/ 3014121 h 4873275"/>
              <a:gd name="connsiteX9" fmla="*/ 2168527 w 4863944"/>
              <a:gd name="connsiteY9" fmla="*/ 3192085 h 4873275"/>
              <a:gd name="connsiteX10" fmla="*/ 2168527 w 4863944"/>
              <a:gd name="connsiteY10" fmla="*/ 4550488 h 4873275"/>
              <a:gd name="connsiteX11" fmla="*/ 2436780 w 4863944"/>
              <a:gd name="connsiteY11" fmla="*/ 4705300 h 4873275"/>
              <a:gd name="connsiteX12" fmla="*/ 3612250 w 4863944"/>
              <a:gd name="connsiteY12" fmla="*/ 4026103 h 4873275"/>
              <a:gd name="connsiteX13" fmla="*/ 3612250 w 4863944"/>
              <a:gd name="connsiteY13" fmla="*/ 3716469 h 4873275"/>
              <a:gd name="connsiteX14" fmla="*/ 2436780 w 4863944"/>
              <a:gd name="connsiteY14" fmla="*/ 3037273 h 4873275"/>
              <a:gd name="connsiteX15" fmla="*/ 2345572 w 4863944"/>
              <a:gd name="connsiteY15" fmla="*/ 3014121 h 4873275"/>
              <a:gd name="connsiteX16" fmla="*/ 965845 w 4863944"/>
              <a:gd name="connsiteY16" fmla="*/ 2927229 h 4873275"/>
              <a:gd name="connsiteX17" fmla="*/ 1007753 w 4863944"/>
              <a:gd name="connsiteY17" fmla="*/ 3060620 h 4873275"/>
              <a:gd name="connsiteX18" fmla="*/ 864605 w 4863944"/>
              <a:gd name="connsiteY18" fmla="*/ 3143326 h 4873275"/>
              <a:gd name="connsiteX19" fmla="*/ 793269 w 4863944"/>
              <a:gd name="connsiteY19" fmla="*/ 3019856 h 4873275"/>
              <a:gd name="connsiteX20" fmla="*/ 936417 w 4863944"/>
              <a:gd name="connsiteY20" fmla="*/ 2937150 h 4873275"/>
              <a:gd name="connsiteX21" fmla="*/ 965845 w 4863944"/>
              <a:gd name="connsiteY21" fmla="*/ 2927229 h 4873275"/>
              <a:gd name="connsiteX22" fmla="*/ 1363047 w 4863944"/>
              <a:gd name="connsiteY22" fmla="*/ 2189735 h 4873275"/>
              <a:gd name="connsiteX23" fmla="*/ 1363047 w 4863944"/>
              <a:gd name="connsiteY23" fmla="*/ 2328805 h 4873275"/>
              <a:gd name="connsiteX24" fmla="*/ 1904476 w 4863944"/>
              <a:gd name="connsiteY24" fmla="*/ 2328805 h 4873275"/>
              <a:gd name="connsiteX25" fmla="*/ 1904476 w 4863944"/>
              <a:gd name="connsiteY25" fmla="*/ 2189735 h 4873275"/>
              <a:gd name="connsiteX26" fmla="*/ 3730196 w 4863944"/>
              <a:gd name="connsiteY26" fmla="*/ 2187968 h 4873275"/>
              <a:gd name="connsiteX27" fmla="*/ 3895485 w 4863944"/>
              <a:gd name="connsiteY27" fmla="*/ 2187968 h 4873275"/>
              <a:gd name="connsiteX28" fmla="*/ 3895485 w 4863944"/>
              <a:gd name="connsiteY28" fmla="*/ 2330564 h 4873275"/>
              <a:gd name="connsiteX29" fmla="*/ 3730196 w 4863944"/>
              <a:gd name="connsiteY29" fmla="*/ 2330564 h 4873275"/>
              <a:gd name="connsiteX30" fmla="*/ 3730196 w 4863944"/>
              <a:gd name="connsiteY30" fmla="*/ 2187968 h 4873275"/>
              <a:gd name="connsiteX31" fmla="*/ 608778 w 4863944"/>
              <a:gd name="connsiteY31" fmla="*/ 2187968 h 4873275"/>
              <a:gd name="connsiteX32" fmla="*/ 774066 w 4863944"/>
              <a:gd name="connsiteY32" fmla="*/ 2187968 h 4873275"/>
              <a:gd name="connsiteX33" fmla="*/ 845364 w 4863944"/>
              <a:gd name="connsiteY33" fmla="*/ 2259266 h 4873275"/>
              <a:gd name="connsiteX34" fmla="*/ 774066 w 4863944"/>
              <a:gd name="connsiteY34" fmla="*/ 2330564 h 4873275"/>
              <a:gd name="connsiteX35" fmla="*/ 608778 w 4863944"/>
              <a:gd name="connsiteY35" fmla="*/ 2330564 h 4873275"/>
              <a:gd name="connsiteX36" fmla="*/ 608778 w 4863944"/>
              <a:gd name="connsiteY36" fmla="*/ 2187968 h 4873275"/>
              <a:gd name="connsiteX37" fmla="*/ 2252145 w 4863944"/>
              <a:gd name="connsiteY37" fmla="*/ 2048208 h 4873275"/>
              <a:gd name="connsiteX38" fmla="*/ 2040190 w 4863944"/>
              <a:gd name="connsiteY38" fmla="*/ 2259275 h 4873275"/>
              <a:gd name="connsiteX39" fmla="*/ 2252127 w 4863944"/>
              <a:gd name="connsiteY39" fmla="*/ 2471430 h 4873275"/>
              <a:gd name="connsiteX40" fmla="*/ 2464063 w 4863944"/>
              <a:gd name="connsiteY40" fmla="*/ 2259275 h 4873275"/>
              <a:gd name="connsiteX41" fmla="*/ 2252145 w 4863944"/>
              <a:gd name="connsiteY41" fmla="*/ 2048208 h 4873275"/>
              <a:gd name="connsiteX42" fmla="*/ 3666475 w 4863944"/>
              <a:gd name="connsiteY42" fmla="*/ 1366176 h 4873275"/>
              <a:gd name="connsiteX43" fmla="*/ 3737051 w 4863944"/>
              <a:gd name="connsiteY43" fmla="*/ 1401272 h 4873275"/>
              <a:gd name="connsiteX44" fmla="*/ 3710984 w 4863944"/>
              <a:gd name="connsiteY44" fmla="*/ 1498675 h 4873275"/>
              <a:gd name="connsiteX45" fmla="*/ 3567836 w 4863944"/>
              <a:gd name="connsiteY45" fmla="*/ 1581381 h 4873275"/>
              <a:gd name="connsiteX46" fmla="*/ 3496500 w 4863944"/>
              <a:gd name="connsiteY46" fmla="*/ 1457911 h 4873275"/>
              <a:gd name="connsiteX47" fmla="*/ 3639648 w 4863944"/>
              <a:gd name="connsiteY47" fmla="*/ 1375205 h 4873275"/>
              <a:gd name="connsiteX48" fmla="*/ 3666475 w 4863944"/>
              <a:gd name="connsiteY48" fmla="*/ 1366176 h 4873275"/>
              <a:gd name="connsiteX49" fmla="*/ 836048 w 4863944"/>
              <a:gd name="connsiteY49" fmla="*/ 1365782 h 4873275"/>
              <a:gd name="connsiteX50" fmla="*/ 864606 w 4863944"/>
              <a:gd name="connsiteY50" fmla="*/ 1375205 h 4873275"/>
              <a:gd name="connsiteX51" fmla="*/ 1007754 w 4863944"/>
              <a:gd name="connsiteY51" fmla="*/ 1457911 h 4873275"/>
              <a:gd name="connsiteX52" fmla="*/ 936417 w 4863944"/>
              <a:gd name="connsiteY52" fmla="*/ 1581381 h 4873275"/>
              <a:gd name="connsiteX53" fmla="*/ 793269 w 4863944"/>
              <a:gd name="connsiteY53" fmla="*/ 1498675 h 4873275"/>
              <a:gd name="connsiteX54" fmla="*/ 836048 w 4863944"/>
              <a:gd name="connsiteY54" fmla="*/ 1365782 h 4873275"/>
              <a:gd name="connsiteX55" fmla="*/ 2252128 w 4863944"/>
              <a:gd name="connsiteY55" fmla="*/ 1107860 h 4873275"/>
              <a:gd name="connsiteX56" fmla="*/ 2182597 w 4863944"/>
              <a:gd name="connsiteY56" fmla="*/ 1176873 h 4873275"/>
              <a:gd name="connsiteX57" fmla="*/ 2182597 w 4863944"/>
              <a:gd name="connsiteY57" fmla="*/ 1911397 h 4873275"/>
              <a:gd name="connsiteX58" fmla="*/ 2321666 w 4863944"/>
              <a:gd name="connsiteY58" fmla="*/ 1911397 h 4873275"/>
              <a:gd name="connsiteX59" fmla="*/ 2321666 w 4863944"/>
              <a:gd name="connsiteY59" fmla="*/ 1176873 h 4873275"/>
              <a:gd name="connsiteX60" fmla="*/ 2252128 w 4863944"/>
              <a:gd name="connsiteY60" fmla="*/ 1107860 h 4873275"/>
              <a:gd name="connsiteX61" fmla="*/ 2252127 w 4863944"/>
              <a:gd name="connsiteY61" fmla="*/ 964746 h 4873275"/>
              <a:gd name="connsiteX62" fmla="*/ 2464263 w 4863944"/>
              <a:gd name="connsiteY62" fmla="*/ 1176873 h 4873275"/>
              <a:gd name="connsiteX63" fmla="*/ 2464263 w 4863944"/>
              <a:gd name="connsiteY63" fmla="*/ 1975194 h 4873275"/>
              <a:gd name="connsiteX64" fmla="*/ 2252127 w 4863944"/>
              <a:gd name="connsiteY64" fmla="*/ 2614017 h 4873275"/>
              <a:gd name="connsiteX65" fmla="*/ 1968132 w 4863944"/>
              <a:gd name="connsiteY65" fmla="*/ 2471392 h 4873275"/>
              <a:gd name="connsiteX66" fmla="*/ 1363047 w 4863944"/>
              <a:gd name="connsiteY66" fmla="*/ 2471392 h 4873275"/>
              <a:gd name="connsiteX67" fmla="*/ 1150911 w 4863944"/>
              <a:gd name="connsiteY67" fmla="*/ 2259265 h 4873275"/>
              <a:gd name="connsiteX68" fmla="*/ 1363047 w 4863944"/>
              <a:gd name="connsiteY68" fmla="*/ 2047129 h 4873275"/>
              <a:gd name="connsiteX69" fmla="*/ 1968132 w 4863944"/>
              <a:gd name="connsiteY69" fmla="*/ 2047129 h 4873275"/>
              <a:gd name="connsiteX70" fmla="*/ 2040000 w 4863944"/>
              <a:gd name="connsiteY70" fmla="*/ 1975185 h 4873275"/>
              <a:gd name="connsiteX71" fmla="*/ 2040000 w 4863944"/>
              <a:gd name="connsiteY71" fmla="*/ 1176873 h 4873275"/>
              <a:gd name="connsiteX72" fmla="*/ 2252127 w 4863944"/>
              <a:gd name="connsiteY72" fmla="*/ 964746 h 4873275"/>
              <a:gd name="connsiteX73" fmla="*/ 1447546 w 4863944"/>
              <a:gd name="connsiteY73" fmla="*/ 766489 h 4873275"/>
              <a:gd name="connsiteX74" fmla="*/ 1492211 w 4863944"/>
              <a:gd name="connsiteY74" fmla="*/ 799325 h 4873275"/>
              <a:gd name="connsiteX75" fmla="*/ 1574850 w 4863944"/>
              <a:gd name="connsiteY75" fmla="*/ 942587 h 4873275"/>
              <a:gd name="connsiteX76" fmla="*/ 1451333 w 4863944"/>
              <a:gd name="connsiteY76" fmla="*/ 1013837 h 4873275"/>
              <a:gd name="connsiteX77" fmla="*/ 1368694 w 4863944"/>
              <a:gd name="connsiteY77" fmla="*/ 870575 h 4873275"/>
              <a:gd name="connsiteX78" fmla="*/ 1447546 w 4863944"/>
              <a:gd name="connsiteY78" fmla="*/ 766489 h 4873275"/>
              <a:gd name="connsiteX79" fmla="*/ 3082592 w 4863944"/>
              <a:gd name="connsiteY79" fmla="*/ 764172 h 4873275"/>
              <a:gd name="connsiteX80" fmla="*/ 3109436 w 4863944"/>
              <a:gd name="connsiteY80" fmla="*/ 773191 h 4873275"/>
              <a:gd name="connsiteX81" fmla="*/ 3135560 w 4863944"/>
              <a:gd name="connsiteY81" fmla="*/ 870575 h 4873275"/>
              <a:gd name="connsiteX82" fmla="*/ 3052920 w 4863944"/>
              <a:gd name="connsiteY82" fmla="*/ 1013837 h 4873275"/>
              <a:gd name="connsiteX83" fmla="*/ 2929413 w 4863944"/>
              <a:gd name="connsiteY83" fmla="*/ 942586 h 4873275"/>
              <a:gd name="connsiteX84" fmla="*/ 3012052 w 4863944"/>
              <a:gd name="connsiteY84" fmla="*/ 799324 h 4873275"/>
              <a:gd name="connsiteX85" fmla="*/ 3082592 w 4863944"/>
              <a:gd name="connsiteY85" fmla="*/ 764172 h 4873275"/>
              <a:gd name="connsiteX86" fmla="*/ 2252126 w 4863944"/>
              <a:gd name="connsiteY86" fmla="*/ 546167 h 4873275"/>
              <a:gd name="connsiteX87" fmla="*/ 2323424 w 4863944"/>
              <a:gd name="connsiteY87" fmla="*/ 614606 h 4873275"/>
              <a:gd name="connsiteX88" fmla="*/ 2323424 w 4863944"/>
              <a:gd name="connsiteY88" fmla="*/ 780027 h 4873275"/>
              <a:gd name="connsiteX89" fmla="*/ 2252126 w 4863944"/>
              <a:gd name="connsiteY89" fmla="*/ 851325 h 4873275"/>
              <a:gd name="connsiteX90" fmla="*/ 2180828 w 4863944"/>
              <a:gd name="connsiteY90" fmla="*/ 780027 h 4873275"/>
              <a:gd name="connsiteX91" fmla="*/ 2180828 w 4863944"/>
              <a:gd name="connsiteY91" fmla="*/ 614606 h 4873275"/>
              <a:gd name="connsiteX92" fmla="*/ 2252126 w 4863944"/>
              <a:gd name="connsiteY92" fmla="*/ 546167 h 4873275"/>
              <a:gd name="connsiteX93" fmla="*/ 2252127 w 4863944"/>
              <a:gd name="connsiteY93" fmla="*/ 433185 h 4873275"/>
              <a:gd name="connsiteX94" fmla="*/ 427557 w 4863944"/>
              <a:gd name="connsiteY94" fmla="*/ 2259247 h 4873275"/>
              <a:gd name="connsiteX95" fmla="*/ 2025921 w 4863944"/>
              <a:gd name="connsiteY95" fmla="*/ 4071373 h 4873275"/>
              <a:gd name="connsiteX96" fmla="*/ 2025921 w 4863944"/>
              <a:gd name="connsiteY96" fmla="*/ 3192075 h 4873275"/>
              <a:gd name="connsiteX97" fmla="*/ 2508116 w 4863944"/>
              <a:gd name="connsiteY97" fmla="*/ 2913793 h 4873275"/>
              <a:gd name="connsiteX98" fmla="*/ 3048376 w 4863944"/>
              <a:gd name="connsiteY98" fmla="*/ 3225966 h 4873275"/>
              <a:gd name="connsiteX99" fmla="*/ 3530571 w 4863944"/>
              <a:gd name="connsiteY99" fmla="*/ 2913803 h 4873275"/>
              <a:gd name="connsiteX100" fmla="*/ 3867602 w 4863944"/>
              <a:gd name="connsiteY100" fmla="*/ 3108542 h 4873275"/>
              <a:gd name="connsiteX101" fmla="*/ 2252127 w 4863944"/>
              <a:gd name="connsiteY101" fmla="*/ 433185 h 4873275"/>
              <a:gd name="connsiteX102" fmla="*/ 2274257 w 4863944"/>
              <a:gd name="connsiteY102" fmla="*/ 88 h 4873275"/>
              <a:gd name="connsiteX103" fmla="*/ 4239304 w 4863944"/>
              <a:gd name="connsiteY103" fmla="*/ 3323321 h 4873275"/>
              <a:gd name="connsiteX104" fmla="*/ 4706032 w 4863944"/>
              <a:gd name="connsiteY104" fmla="*/ 3592999 h 4873275"/>
              <a:gd name="connsiteX105" fmla="*/ 4706041 w 4863944"/>
              <a:gd name="connsiteY105" fmla="*/ 4149582 h 4873275"/>
              <a:gd name="connsiteX106" fmla="*/ 4503326 w 4863944"/>
              <a:gd name="connsiteY106" fmla="*/ 4266711 h 4873275"/>
              <a:gd name="connsiteX107" fmla="*/ 4431990 w 4863944"/>
              <a:gd name="connsiteY107" fmla="*/ 4143251 h 4873275"/>
              <a:gd name="connsiteX108" fmla="*/ 4634705 w 4863944"/>
              <a:gd name="connsiteY108" fmla="*/ 4026113 h 4873275"/>
              <a:gd name="connsiteX109" fmla="*/ 4634705 w 4863944"/>
              <a:gd name="connsiteY109" fmla="*/ 3716479 h 4873275"/>
              <a:gd name="connsiteX110" fmla="*/ 3459244 w 4863944"/>
              <a:gd name="connsiteY110" fmla="*/ 3037292 h 4873275"/>
              <a:gd name="connsiteX111" fmla="*/ 3190982 w 4863944"/>
              <a:gd name="connsiteY111" fmla="*/ 3192104 h 4873275"/>
              <a:gd name="connsiteX112" fmla="*/ 3190982 w 4863944"/>
              <a:gd name="connsiteY112" fmla="*/ 3308377 h 4873275"/>
              <a:gd name="connsiteX113" fmla="*/ 3683586 w 4863944"/>
              <a:gd name="connsiteY113" fmla="*/ 3593009 h 4873275"/>
              <a:gd name="connsiteX114" fmla="*/ 3683586 w 4863944"/>
              <a:gd name="connsiteY114" fmla="*/ 4149573 h 4873275"/>
              <a:gd name="connsiteX115" fmla="*/ 3190982 w 4863944"/>
              <a:gd name="connsiteY115" fmla="*/ 4434205 h 4873275"/>
              <a:gd name="connsiteX116" fmla="*/ 3190982 w 4863944"/>
              <a:gd name="connsiteY116" fmla="*/ 4550488 h 4873275"/>
              <a:gd name="connsiteX117" fmla="*/ 3459244 w 4863944"/>
              <a:gd name="connsiteY117" fmla="*/ 4705300 h 4873275"/>
              <a:gd name="connsiteX118" fmla="*/ 4112345 w 4863944"/>
              <a:gd name="connsiteY118" fmla="*/ 4327933 h 4873275"/>
              <a:gd name="connsiteX119" fmla="*/ 4183682 w 4863944"/>
              <a:gd name="connsiteY119" fmla="*/ 4451402 h 4873275"/>
              <a:gd name="connsiteX120" fmla="*/ 3530580 w 4863944"/>
              <a:gd name="connsiteY120" fmla="*/ 4828779 h 4873275"/>
              <a:gd name="connsiteX121" fmla="*/ 3048385 w 4863944"/>
              <a:gd name="connsiteY121" fmla="*/ 4516607 h 4873275"/>
              <a:gd name="connsiteX122" fmla="*/ 2508125 w 4863944"/>
              <a:gd name="connsiteY122" fmla="*/ 4828769 h 4873275"/>
              <a:gd name="connsiteX123" fmla="*/ 2025931 w 4863944"/>
              <a:gd name="connsiteY123" fmla="*/ 4550488 h 4873275"/>
              <a:gd name="connsiteX124" fmla="*/ 2025931 w 4863944"/>
              <a:gd name="connsiteY124" fmla="*/ 4502281 h 4873275"/>
              <a:gd name="connsiteX125" fmla="*/ 659086 w 4863944"/>
              <a:gd name="connsiteY125" fmla="*/ 665322 h 4873275"/>
              <a:gd name="connsiteX126" fmla="*/ 759911 w 4863944"/>
              <a:gd name="connsiteY126" fmla="*/ 665284 h 4873275"/>
              <a:gd name="connsiteX127" fmla="*/ 759949 w 4863944"/>
              <a:gd name="connsiteY127" fmla="*/ 766110 h 4873275"/>
              <a:gd name="connsiteX128" fmla="*/ 2025912 w 4863944"/>
              <a:gd name="connsiteY128" fmla="*/ 4358933 h 4873275"/>
              <a:gd name="connsiteX129" fmla="*/ 2025912 w 4863944"/>
              <a:gd name="connsiteY129" fmla="*/ 4214949 h 4873275"/>
              <a:gd name="connsiteX130" fmla="*/ 284941 w 4863944"/>
              <a:gd name="connsiteY130" fmla="*/ 2259285 h 4873275"/>
              <a:gd name="connsiteX131" fmla="*/ 2252098 w 4863944"/>
              <a:gd name="connsiteY131" fmla="*/ 290617 h 4873275"/>
              <a:gd name="connsiteX132" fmla="*/ 3991205 w 4863944"/>
              <a:gd name="connsiteY132" fmla="*/ 3179983 h 4873275"/>
              <a:gd name="connsiteX133" fmla="*/ 4115758 w 4863944"/>
              <a:gd name="connsiteY133" fmla="*/ 3251947 h 4873275"/>
              <a:gd name="connsiteX134" fmla="*/ 1043650 w 4863944"/>
              <a:gd name="connsiteY134" fmla="*/ 527451 h 4873275"/>
              <a:gd name="connsiteX135" fmla="*/ 944327 w 4863944"/>
              <a:gd name="connsiteY135" fmla="*/ 510063 h 4873275"/>
              <a:gd name="connsiteX136" fmla="*/ 961714 w 4863944"/>
              <a:gd name="connsiteY136" fmla="*/ 410740 h 4873275"/>
              <a:gd name="connsiteX137" fmla="*/ 2274257 w 4863944"/>
              <a:gd name="connsiteY137" fmla="*/ 88 h 4873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</a:cxnLst>
            <a:rect l="l" t="t" r="r" b="b"/>
            <a:pathLst>
              <a:path w="4863944" h="4873275">
                <a:moveTo>
                  <a:pt x="1521886" y="3469554"/>
                </a:moveTo>
                <a:cubicBezTo>
                  <a:pt x="1531077" y="3470692"/>
                  <a:pt x="1540194" y="3473651"/>
                  <a:pt x="1548717" y="3478570"/>
                </a:cubicBezTo>
                <a:cubicBezTo>
                  <a:pt x="1582826" y="3498239"/>
                  <a:pt x="1594529" y="3541845"/>
                  <a:pt x="1574851" y="3575954"/>
                </a:cubicBezTo>
                <a:lnTo>
                  <a:pt x="1492211" y="3719206"/>
                </a:lnTo>
                <a:cubicBezTo>
                  <a:pt x="1445554" y="3800116"/>
                  <a:pt x="1324128" y="3725205"/>
                  <a:pt x="1368694" y="3647956"/>
                </a:cubicBezTo>
                <a:lnTo>
                  <a:pt x="1451333" y="3504703"/>
                </a:lnTo>
                <a:cubicBezTo>
                  <a:pt x="1461172" y="3487644"/>
                  <a:pt x="1476996" y="3476191"/>
                  <a:pt x="1494621" y="3471463"/>
                </a:cubicBezTo>
                <a:cubicBezTo>
                  <a:pt x="1503433" y="3469099"/>
                  <a:pt x="1512696" y="3468416"/>
                  <a:pt x="1521886" y="3469554"/>
                </a:cubicBezTo>
                <a:close/>
                <a:moveTo>
                  <a:pt x="2345572" y="3014121"/>
                </a:moveTo>
                <a:cubicBezTo>
                  <a:pt x="2253695" y="3016736"/>
                  <a:pt x="2168527" y="3091504"/>
                  <a:pt x="2168527" y="3192085"/>
                </a:cubicBezTo>
                <a:lnTo>
                  <a:pt x="2168527" y="4550488"/>
                </a:lnTo>
                <a:cubicBezTo>
                  <a:pt x="2168527" y="4684490"/>
                  <a:pt x="2319936" y="4772824"/>
                  <a:pt x="2436780" y="4705300"/>
                </a:cubicBezTo>
                <a:lnTo>
                  <a:pt x="3612250" y="4026103"/>
                </a:lnTo>
                <a:cubicBezTo>
                  <a:pt x="3729588" y="3958294"/>
                  <a:pt x="3728590" y="3784345"/>
                  <a:pt x="3612250" y="3716469"/>
                </a:cubicBezTo>
                <a:lnTo>
                  <a:pt x="2436780" y="3037273"/>
                </a:lnTo>
                <a:cubicBezTo>
                  <a:pt x="2407569" y="3020394"/>
                  <a:pt x="2376198" y="3013249"/>
                  <a:pt x="2345572" y="3014121"/>
                </a:cubicBezTo>
                <a:close/>
                <a:moveTo>
                  <a:pt x="965845" y="2927229"/>
                </a:moveTo>
                <a:cubicBezTo>
                  <a:pt x="1031888" y="2920603"/>
                  <a:pt x="1075354" y="3021566"/>
                  <a:pt x="1007753" y="3060620"/>
                </a:cubicBezTo>
                <a:lnTo>
                  <a:pt x="864605" y="3143326"/>
                </a:lnTo>
                <a:cubicBezTo>
                  <a:pt x="783886" y="3189964"/>
                  <a:pt x="715982" y="3064508"/>
                  <a:pt x="793269" y="3019856"/>
                </a:cubicBezTo>
                <a:lnTo>
                  <a:pt x="936417" y="2937150"/>
                </a:lnTo>
                <a:cubicBezTo>
                  <a:pt x="946515" y="2931318"/>
                  <a:pt x="956411" y="2928176"/>
                  <a:pt x="965845" y="2927229"/>
                </a:cubicBezTo>
                <a:close/>
                <a:moveTo>
                  <a:pt x="1363047" y="2189735"/>
                </a:moveTo>
                <a:cubicBezTo>
                  <a:pt x="1271063" y="2192977"/>
                  <a:pt x="1270987" y="2325535"/>
                  <a:pt x="1363047" y="2328805"/>
                </a:cubicBezTo>
                <a:lnTo>
                  <a:pt x="1904476" y="2328805"/>
                </a:lnTo>
                <a:cubicBezTo>
                  <a:pt x="1895350" y="2284077"/>
                  <a:pt x="1895350" y="2234454"/>
                  <a:pt x="1904476" y="2189735"/>
                </a:cubicBezTo>
                <a:close/>
                <a:moveTo>
                  <a:pt x="3730196" y="2187968"/>
                </a:moveTo>
                <a:lnTo>
                  <a:pt x="3895485" y="2187968"/>
                </a:lnTo>
                <a:cubicBezTo>
                  <a:pt x="3988771" y="2187968"/>
                  <a:pt x="3984702" y="2330564"/>
                  <a:pt x="3895485" y="2330564"/>
                </a:cubicBezTo>
                <a:lnTo>
                  <a:pt x="3730196" y="2330564"/>
                </a:lnTo>
                <a:cubicBezTo>
                  <a:pt x="3636910" y="2330564"/>
                  <a:pt x="3640969" y="2187968"/>
                  <a:pt x="3730196" y="2187968"/>
                </a:cubicBezTo>
                <a:close/>
                <a:moveTo>
                  <a:pt x="608778" y="2187968"/>
                </a:moveTo>
                <a:lnTo>
                  <a:pt x="774066" y="2187968"/>
                </a:lnTo>
                <a:cubicBezTo>
                  <a:pt x="813442" y="2187968"/>
                  <a:pt x="845364" y="2219891"/>
                  <a:pt x="845364" y="2259266"/>
                </a:cubicBezTo>
                <a:cubicBezTo>
                  <a:pt x="845364" y="2298642"/>
                  <a:pt x="813442" y="2330564"/>
                  <a:pt x="774066" y="2330564"/>
                </a:cubicBezTo>
                <a:lnTo>
                  <a:pt x="608778" y="2330564"/>
                </a:lnTo>
                <a:cubicBezTo>
                  <a:pt x="515491" y="2330564"/>
                  <a:pt x="519560" y="2187968"/>
                  <a:pt x="608778" y="2187968"/>
                </a:cubicBezTo>
                <a:close/>
                <a:moveTo>
                  <a:pt x="2252145" y="2048208"/>
                </a:moveTo>
                <a:cubicBezTo>
                  <a:pt x="2149082" y="2048197"/>
                  <a:pt x="2046013" y="2118542"/>
                  <a:pt x="2040190" y="2259275"/>
                </a:cubicBezTo>
                <a:cubicBezTo>
                  <a:pt x="2040190" y="2376252"/>
                  <a:pt x="2135264" y="2471430"/>
                  <a:pt x="2252127" y="2471430"/>
                </a:cubicBezTo>
                <a:cubicBezTo>
                  <a:pt x="2368989" y="2471430"/>
                  <a:pt x="2464063" y="2376252"/>
                  <a:pt x="2464063" y="2259275"/>
                </a:cubicBezTo>
                <a:cubicBezTo>
                  <a:pt x="2458264" y="2118585"/>
                  <a:pt x="2355208" y="2048218"/>
                  <a:pt x="2252145" y="2048208"/>
                </a:cubicBezTo>
                <a:close/>
                <a:moveTo>
                  <a:pt x="3666475" y="1366176"/>
                </a:moveTo>
                <a:cubicBezTo>
                  <a:pt x="3694046" y="1362744"/>
                  <a:pt x="3722278" y="1375690"/>
                  <a:pt x="3737051" y="1401272"/>
                </a:cubicBezTo>
                <a:cubicBezTo>
                  <a:pt x="3756748" y="1435362"/>
                  <a:pt x="3745074" y="1478977"/>
                  <a:pt x="3710984" y="1498675"/>
                </a:cubicBezTo>
                <a:lnTo>
                  <a:pt x="3567836" y="1581381"/>
                </a:lnTo>
                <a:cubicBezTo>
                  <a:pt x="3487117" y="1628019"/>
                  <a:pt x="3419213" y="1502563"/>
                  <a:pt x="3496500" y="1457911"/>
                </a:cubicBezTo>
                <a:lnTo>
                  <a:pt x="3639648" y="1375205"/>
                </a:lnTo>
                <a:cubicBezTo>
                  <a:pt x="3648168" y="1370283"/>
                  <a:pt x="3657285" y="1367320"/>
                  <a:pt x="3666475" y="1366176"/>
                </a:cubicBezTo>
                <a:close/>
                <a:moveTo>
                  <a:pt x="836048" y="1365782"/>
                </a:moveTo>
                <a:cubicBezTo>
                  <a:pt x="845331" y="1366642"/>
                  <a:pt x="854950" y="1369626"/>
                  <a:pt x="864606" y="1375205"/>
                </a:cubicBezTo>
                <a:lnTo>
                  <a:pt x="1007754" y="1457911"/>
                </a:lnTo>
                <a:cubicBezTo>
                  <a:pt x="1088577" y="1504607"/>
                  <a:pt x="1013609" y="1625975"/>
                  <a:pt x="936417" y="1581381"/>
                </a:cubicBezTo>
                <a:lnTo>
                  <a:pt x="793269" y="1498675"/>
                </a:lnTo>
                <a:cubicBezTo>
                  <a:pt x="722590" y="1457842"/>
                  <a:pt x="771072" y="1359764"/>
                  <a:pt x="836048" y="1365782"/>
                </a:cubicBezTo>
                <a:close/>
                <a:moveTo>
                  <a:pt x="2252128" y="1107860"/>
                </a:moveTo>
                <a:cubicBezTo>
                  <a:pt x="2218175" y="1107868"/>
                  <a:pt x="2184223" y="1130881"/>
                  <a:pt x="2182597" y="1176873"/>
                </a:cubicBezTo>
                <a:lnTo>
                  <a:pt x="2182597" y="1911397"/>
                </a:lnTo>
                <a:cubicBezTo>
                  <a:pt x="2228389" y="1902242"/>
                  <a:pt x="2275864" y="1902242"/>
                  <a:pt x="2321666" y="1911397"/>
                </a:cubicBezTo>
                <a:lnTo>
                  <a:pt x="2321666" y="1176873"/>
                </a:lnTo>
                <a:cubicBezTo>
                  <a:pt x="2320036" y="1130848"/>
                  <a:pt x="2286082" y="1107851"/>
                  <a:pt x="2252128" y="1107860"/>
                </a:cubicBezTo>
                <a:close/>
                <a:moveTo>
                  <a:pt x="2252127" y="964746"/>
                </a:moveTo>
                <a:cubicBezTo>
                  <a:pt x="2369103" y="964746"/>
                  <a:pt x="2464263" y="1059905"/>
                  <a:pt x="2464263" y="1176873"/>
                </a:cubicBezTo>
                <a:lnTo>
                  <a:pt x="2464263" y="1975194"/>
                </a:lnTo>
                <a:cubicBezTo>
                  <a:pt x="2734084" y="2177472"/>
                  <a:pt x="2593950" y="2611907"/>
                  <a:pt x="2252127" y="2614017"/>
                </a:cubicBezTo>
                <a:cubicBezTo>
                  <a:pt x="2136063" y="2614017"/>
                  <a:pt x="2032842" y="2557920"/>
                  <a:pt x="1968132" y="2471392"/>
                </a:cubicBezTo>
                <a:lnTo>
                  <a:pt x="1363047" y="2471392"/>
                </a:lnTo>
                <a:cubicBezTo>
                  <a:pt x="1246070" y="2471392"/>
                  <a:pt x="1150911" y="2376233"/>
                  <a:pt x="1150911" y="2259265"/>
                </a:cubicBezTo>
                <a:cubicBezTo>
                  <a:pt x="1150911" y="2142289"/>
                  <a:pt x="1246070" y="2047129"/>
                  <a:pt x="1363047" y="2047129"/>
                </a:cubicBezTo>
                <a:lnTo>
                  <a:pt x="1968132" y="2047129"/>
                </a:lnTo>
                <a:cubicBezTo>
                  <a:pt x="1988532" y="2019856"/>
                  <a:pt x="2012755" y="1995605"/>
                  <a:pt x="2040000" y="1975185"/>
                </a:cubicBezTo>
                <a:lnTo>
                  <a:pt x="2040000" y="1176873"/>
                </a:lnTo>
                <a:cubicBezTo>
                  <a:pt x="2040000" y="1059905"/>
                  <a:pt x="2135160" y="964746"/>
                  <a:pt x="2252127" y="964746"/>
                </a:cubicBezTo>
                <a:close/>
                <a:moveTo>
                  <a:pt x="1447546" y="766489"/>
                </a:moveTo>
                <a:cubicBezTo>
                  <a:pt x="1464858" y="769745"/>
                  <a:pt x="1481065" y="780003"/>
                  <a:pt x="1492211" y="799325"/>
                </a:cubicBezTo>
                <a:lnTo>
                  <a:pt x="1574850" y="942587"/>
                </a:lnTo>
                <a:cubicBezTo>
                  <a:pt x="1621451" y="1023363"/>
                  <a:pt x="1495938" y="1091172"/>
                  <a:pt x="1451333" y="1013837"/>
                </a:cubicBezTo>
                <a:lnTo>
                  <a:pt x="1368694" y="870575"/>
                </a:lnTo>
                <a:cubicBezTo>
                  <a:pt x="1333729" y="809972"/>
                  <a:pt x="1395611" y="756721"/>
                  <a:pt x="1447546" y="766489"/>
                </a:cubicBezTo>
                <a:close/>
                <a:moveTo>
                  <a:pt x="3082592" y="764172"/>
                </a:moveTo>
                <a:cubicBezTo>
                  <a:pt x="3091785" y="765310"/>
                  <a:pt x="3100907" y="768269"/>
                  <a:pt x="3109436" y="773191"/>
                </a:cubicBezTo>
                <a:cubicBezTo>
                  <a:pt x="3143545" y="792870"/>
                  <a:pt x="3155238" y="836466"/>
                  <a:pt x="3135560" y="870575"/>
                </a:cubicBezTo>
                <a:lnTo>
                  <a:pt x="3052920" y="1013837"/>
                </a:lnTo>
                <a:cubicBezTo>
                  <a:pt x="3006263" y="1094746"/>
                  <a:pt x="2884837" y="1019836"/>
                  <a:pt x="2929413" y="942586"/>
                </a:cubicBezTo>
                <a:lnTo>
                  <a:pt x="3012052" y="799324"/>
                </a:lnTo>
                <a:cubicBezTo>
                  <a:pt x="3026804" y="773743"/>
                  <a:pt x="3055015" y="760759"/>
                  <a:pt x="3082592" y="764172"/>
                </a:cubicBezTo>
                <a:close/>
                <a:moveTo>
                  <a:pt x="2252126" y="546167"/>
                </a:moveTo>
                <a:cubicBezTo>
                  <a:pt x="2287775" y="546675"/>
                  <a:pt x="2323424" y="569997"/>
                  <a:pt x="2323424" y="614606"/>
                </a:cubicBezTo>
                <a:lnTo>
                  <a:pt x="2323424" y="780027"/>
                </a:lnTo>
                <a:cubicBezTo>
                  <a:pt x="2323424" y="819403"/>
                  <a:pt x="2291502" y="851325"/>
                  <a:pt x="2252126" y="851325"/>
                </a:cubicBezTo>
                <a:cubicBezTo>
                  <a:pt x="2212751" y="851325"/>
                  <a:pt x="2180828" y="819403"/>
                  <a:pt x="2180828" y="780027"/>
                </a:cubicBezTo>
                <a:lnTo>
                  <a:pt x="2180828" y="614606"/>
                </a:lnTo>
                <a:cubicBezTo>
                  <a:pt x="2180828" y="567963"/>
                  <a:pt x="2216477" y="545658"/>
                  <a:pt x="2252126" y="546167"/>
                </a:cubicBezTo>
                <a:close/>
                <a:moveTo>
                  <a:pt x="2252127" y="433185"/>
                </a:moveTo>
                <a:cubicBezTo>
                  <a:pt x="1246051" y="433185"/>
                  <a:pt x="427547" y="1252364"/>
                  <a:pt x="427557" y="2259247"/>
                </a:cubicBezTo>
                <a:cubicBezTo>
                  <a:pt x="411301" y="3156493"/>
                  <a:pt x="1135891" y="3976394"/>
                  <a:pt x="2025921" y="4071373"/>
                </a:cubicBezTo>
                <a:lnTo>
                  <a:pt x="2025921" y="3192075"/>
                </a:lnTo>
                <a:cubicBezTo>
                  <a:pt x="2025921" y="2949024"/>
                  <a:pt x="2296655" y="2791607"/>
                  <a:pt x="2508116" y="2913793"/>
                </a:cubicBezTo>
                <a:lnTo>
                  <a:pt x="3048376" y="3225966"/>
                </a:lnTo>
                <a:cubicBezTo>
                  <a:pt x="3038090" y="2976450"/>
                  <a:pt x="3300686" y="2780951"/>
                  <a:pt x="3530571" y="2913803"/>
                </a:cubicBezTo>
                <a:lnTo>
                  <a:pt x="3867602" y="3108542"/>
                </a:lnTo>
                <a:cubicBezTo>
                  <a:pt x="4508935" y="1913850"/>
                  <a:pt x="3609503" y="421454"/>
                  <a:pt x="2252127" y="433185"/>
                </a:cubicBezTo>
                <a:close/>
                <a:moveTo>
                  <a:pt x="2274257" y="88"/>
                </a:moveTo>
                <a:cubicBezTo>
                  <a:pt x="3811023" y="14039"/>
                  <a:pt x="5082963" y="1670227"/>
                  <a:pt x="4239304" y="3323321"/>
                </a:cubicBezTo>
                <a:lnTo>
                  <a:pt x="4706032" y="3592999"/>
                </a:lnTo>
                <a:cubicBezTo>
                  <a:pt x="4916571" y="3714654"/>
                  <a:pt x="4916590" y="4027919"/>
                  <a:pt x="4706041" y="4149582"/>
                </a:cubicBezTo>
                <a:lnTo>
                  <a:pt x="4503326" y="4266711"/>
                </a:lnTo>
                <a:cubicBezTo>
                  <a:pt x="4422616" y="4313369"/>
                  <a:pt x="4354703" y="4187903"/>
                  <a:pt x="4431990" y="4143251"/>
                </a:cubicBezTo>
                <a:lnTo>
                  <a:pt x="4634705" y="4026113"/>
                </a:lnTo>
                <a:cubicBezTo>
                  <a:pt x="4751453" y="3958655"/>
                  <a:pt x="4751387" y="3783908"/>
                  <a:pt x="4634705" y="3716479"/>
                </a:cubicBezTo>
                <a:lnTo>
                  <a:pt x="3459244" y="3037292"/>
                </a:lnTo>
                <a:cubicBezTo>
                  <a:pt x="3342401" y="2969777"/>
                  <a:pt x="3190982" y="3057997"/>
                  <a:pt x="3190982" y="3192104"/>
                </a:cubicBezTo>
                <a:lnTo>
                  <a:pt x="3190982" y="3308377"/>
                </a:lnTo>
                <a:lnTo>
                  <a:pt x="3683586" y="3593009"/>
                </a:lnTo>
                <a:cubicBezTo>
                  <a:pt x="3889467" y="3718047"/>
                  <a:pt x="3897006" y="4026265"/>
                  <a:pt x="3683586" y="4149573"/>
                </a:cubicBezTo>
                <a:lnTo>
                  <a:pt x="3190982" y="4434205"/>
                </a:lnTo>
                <a:lnTo>
                  <a:pt x="3190982" y="4550488"/>
                </a:lnTo>
                <a:cubicBezTo>
                  <a:pt x="3190982" y="4684500"/>
                  <a:pt x="3342391" y="4772815"/>
                  <a:pt x="3459244" y="4705300"/>
                </a:cubicBezTo>
                <a:lnTo>
                  <a:pt x="4112345" y="4327933"/>
                </a:lnTo>
                <a:cubicBezTo>
                  <a:pt x="4193122" y="4281266"/>
                  <a:pt x="4260941" y="4406769"/>
                  <a:pt x="4183682" y="4451402"/>
                </a:cubicBezTo>
                <a:lnTo>
                  <a:pt x="3530580" y="4828779"/>
                </a:lnTo>
                <a:cubicBezTo>
                  <a:pt x="3293765" y="4965596"/>
                  <a:pt x="3044336" y="4765770"/>
                  <a:pt x="3048385" y="4516607"/>
                </a:cubicBezTo>
                <a:lnTo>
                  <a:pt x="2508125" y="4828769"/>
                </a:lnTo>
                <a:cubicBezTo>
                  <a:pt x="2296037" y="4951317"/>
                  <a:pt x="2025931" y="4792484"/>
                  <a:pt x="2025931" y="4550488"/>
                </a:cubicBezTo>
                <a:lnTo>
                  <a:pt x="2025931" y="4502281"/>
                </a:lnTo>
                <a:cubicBezTo>
                  <a:pt x="145330" y="4313426"/>
                  <a:pt x="-680532" y="2002735"/>
                  <a:pt x="659086" y="665322"/>
                </a:cubicBezTo>
                <a:cubicBezTo>
                  <a:pt x="686911" y="637469"/>
                  <a:pt x="732057" y="637450"/>
                  <a:pt x="759911" y="665284"/>
                </a:cubicBezTo>
                <a:cubicBezTo>
                  <a:pt x="787765" y="693110"/>
                  <a:pt x="787784" y="738256"/>
                  <a:pt x="759949" y="766110"/>
                </a:cubicBezTo>
                <a:cubicBezTo>
                  <a:pt x="-489823" y="2013164"/>
                  <a:pt x="271556" y="4170782"/>
                  <a:pt x="2025912" y="4358933"/>
                </a:cubicBezTo>
                <a:lnTo>
                  <a:pt x="2025912" y="4214949"/>
                </a:lnTo>
                <a:cubicBezTo>
                  <a:pt x="1058613" y="4120835"/>
                  <a:pt x="267297" y="3233048"/>
                  <a:pt x="284941" y="2259285"/>
                </a:cubicBezTo>
                <a:cubicBezTo>
                  <a:pt x="284941" y="1173746"/>
                  <a:pt x="1167414" y="290607"/>
                  <a:pt x="2252098" y="290617"/>
                </a:cubicBezTo>
                <a:cubicBezTo>
                  <a:pt x="3718237" y="277878"/>
                  <a:pt x="4687361" y="1891709"/>
                  <a:pt x="3991205" y="3179983"/>
                </a:cubicBezTo>
                <a:lnTo>
                  <a:pt x="4115758" y="3251947"/>
                </a:lnTo>
                <a:cubicBezTo>
                  <a:pt x="5122518" y="1273478"/>
                  <a:pt x="2887746" y="-712863"/>
                  <a:pt x="1043650" y="527451"/>
                </a:cubicBezTo>
                <a:cubicBezTo>
                  <a:pt x="1011442" y="550076"/>
                  <a:pt x="966961" y="542300"/>
                  <a:pt x="944327" y="510063"/>
                </a:cubicBezTo>
                <a:cubicBezTo>
                  <a:pt x="921701" y="477837"/>
                  <a:pt x="929487" y="433365"/>
                  <a:pt x="961714" y="410740"/>
                </a:cubicBezTo>
                <a:cubicBezTo>
                  <a:pt x="1392905" y="121026"/>
                  <a:pt x="1843962" y="-3819"/>
                  <a:pt x="2274257" y="88"/>
                </a:cubicBezTo>
                <a:close/>
              </a:path>
            </a:pathLst>
          </a:custGeom>
          <a:solidFill>
            <a:schemeClr val="bg1"/>
          </a:solidFill>
          <a:ln w="9506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E8E57ED4-10BD-E488-268F-09BC4E2EB2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59136"/>
          <a:stretch/>
        </p:blipFill>
        <p:spPr>
          <a:xfrm>
            <a:off x="442176" y="619126"/>
            <a:ext cx="3151488" cy="3397428"/>
          </a:xfrm>
          <a:custGeom>
            <a:avLst/>
            <a:gdLst>
              <a:gd name="connsiteX0" fmla="*/ 0 w 3151488"/>
              <a:gd name="connsiteY0" fmla="*/ 0 h 3397428"/>
              <a:gd name="connsiteX1" fmla="*/ 3151488 w 3151488"/>
              <a:gd name="connsiteY1" fmla="*/ 0 h 3397428"/>
              <a:gd name="connsiteX2" fmla="*/ 3151488 w 3151488"/>
              <a:gd name="connsiteY2" fmla="*/ 3397428 h 3397428"/>
              <a:gd name="connsiteX3" fmla="*/ 1606373 w 3151488"/>
              <a:gd name="connsiteY3" fmla="*/ 3397428 h 3397428"/>
              <a:gd name="connsiteX4" fmla="*/ 1807362 w 3151488"/>
              <a:gd name="connsiteY4" fmla="*/ 3278662 h 3397428"/>
              <a:gd name="connsiteX5" fmla="*/ 1868144 w 3151488"/>
              <a:gd name="connsiteY5" fmla="*/ 3354355 h 3397428"/>
              <a:gd name="connsiteX6" fmla="*/ 2015160 w 3151488"/>
              <a:gd name="connsiteY6" fmla="*/ 3236300 h 3397428"/>
              <a:gd name="connsiteX7" fmla="*/ 1971359 w 3151488"/>
              <a:gd name="connsiteY7" fmla="*/ 3181754 h 3397428"/>
              <a:gd name="connsiteX8" fmla="*/ 1972044 w 3151488"/>
              <a:gd name="connsiteY8" fmla="*/ 3181349 h 3397428"/>
              <a:gd name="connsiteX9" fmla="*/ 1969506 w 3151488"/>
              <a:gd name="connsiteY9" fmla="*/ 3179445 h 3397428"/>
              <a:gd name="connsiteX10" fmla="*/ 1952575 w 3151488"/>
              <a:gd name="connsiteY10" fmla="*/ 3158361 h 3397428"/>
              <a:gd name="connsiteX11" fmla="*/ 1947175 w 3151488"/>
              <a:gd name="connsiteY11" fmla="*/ 3162698 h 3397428"/>
              <a:gd name="connsiteX12" fmla="*/ 1943469 w 3151488"/>
              <a:gd name="connsiteY12" fmla="*/ 3159918 h 3397428"/>
              <a:gd name="connsiteX13" fmla="*/ 1941975 w 3151488"/>
              <a:gd name="connsiteY13" fmla="*/ 3160572 h 3397428"/>
              <a:gd name="connsiteX14" fmla="*/ 1943163 w 3151488"/>
              <a:gd name="connsiteY14" fmla="*/ 3162489 h 3397428"/>
              <a:gd name="connsiteX15" fmla="*/ 1809151 w 3151488"/>
              <a:gd name="connsiteY15" fmla="*/ 3245544 h 3397428"/>
              <a:gd name="connsiteX16" fmla="*/ 1807054 w 3151488"/>
              <a:gd name="connsiteY16" fmla="*/ 3247538 h 3397428"/>
              <a:gd name="connsiteX17" fmla="*/ 1575962 w 3151488"/>
              <a:gd name="connsiteY17" fmla="*/ 3321049 h 3397428"/>
              <a:gd name="connsiteX18" fmla="*/ 1383800 w 3151488"/>
              <a:gd name="connsiteY18" fmla="*/ 3272722 h 3397428"/>
              <a:gd name="connsiteX19" fmla="*/ 1358054 w 3151488"/>
              <a:gd name="connsiteY19" fmla="*/ 3255233 h 3397428"/>
              <a:gd name="connsiteX20" fmla="*/ 1356525 w 3151488"/>
              <a:gd name="connsiteY20" fmla="*/ 3257699 h 3397428"/>
              <a:gd name="connsiteX21" fmla="*/ 1246419 w 3151488"/>
              <a:gd name="connsiteY21" fmla="*/ 3189459 h 3397428"/>
              <a:gd name="connsiteX22" fmla="*/ 1220722 w 3151488"/>
              <a:gd name="connsiteY22" fmla="*/ 3179419 h 3397428"/>
              <a:gd name="connsiteX23" fmla="*/ 1222933 w 3151488"/>
              <a:gd name="connsiteY23" fmla="*/ 3178058 h 3397428"/>
              <a:gd name="connsiteX24" fmla="*/ 239888 w 3151488"/>
              <a:gd name="connsiteY24" fmla="*/ 2607953 h 3397428"/>
              <a:gd name="connsiteX25" fmla="*/ 240040 w 3151488"/>
              <a:gd name="connsiteY25" fmla="*/ 2606633 h 3397428"/>
              <a:gd name="connsiteX26" fmla="*/ 209768 w 3151488"/>
              <a:gd name="connsiteY26" fmla="*/ 2586222 h 3397428"/>
              <a:gd name="connsiteX27" fmla="*/ 183770 w 3151488"/>
              <a:gd name="connsiteY27" fmla="*/ 2547662 h 3397428"/>
              <a:gd name="connsiteX28" fmla="*/ 174849 w 3151488"/>
              <a:gd name="connsiteY28" fmla="*/ 2503479 h 3397428"/>
              <a:gd name="connsiteX29" fmla="*/ 147213 w 3151488"/>
              <a:gd name="connsiteY29" fmla="*/ 2486024 h 3397428"/>
              <a:gd name="connsiteX30" fmla="*/ 137688 w 3151488"/>
              <a:gd name="connsiteY30" fmla="*/ 2609849 h 3397428"/>
              <a:gd name="connsiteX31" fmla="*/ 1150513 w 3151488"/>
              <a:gd name="connsiteY31" fmla="*/ 3222624 h 3397428"/>
              <a:gd name="connsiteX32" fmla="*/ 1180767 w 3151488"/>
              <a:gd name="connsiteY32" fmla="*/ 3204006 h 3397428"/>
              <a:gd name="connsiteX33" fmla="*/ 1526163 w 3151488"/>
              <a:gd name="connsiteY33" fmla="*/ 3397428 h 3397428"/>
              <a:gd name="connsiteX34" fmla="*/ 0 w 3151488"/>
              <a:gd name="connsiteY34" fmla="*/ 3397428 h 3397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3151488" h="3397428">
                <a:moveTo>
                  <a:pt x="0" y="0"/>
                </a:moveTo>
                <a:lnTo>
                  <a:pt x="3151488" y="0"/>
                </a:lnTo>
                <a:lnTo>
                  <a:pt x="3151488" y="3397428"/>
                </a:lnTo>
                <a:lnTo>
                  <a:pt x="1606373" y="3397428"/>
                </a:lnTo>
                <a:lnTo>
                  <a:pt x="1807362" y="3278662"/>
                </a:lnTo>
                <a:lnTo>
                  <a:pt x="1868144" y="3354355"/>
                </a:lnTo>
                <a:lnTo>
                  <a:pt x="2015160" y="3236300"/>
                </a:lnTo>
                <a:lnTo>
                  <a:pt x="1971359" y="3181754"/>
                </a:lnTo>
                <a:lnTo>
                  <a:pt x="1972044" y="3181349"/>
                </a:lnTo>
                <a:lnTo>
                  <a:pt x="1969506" y="3179445"/>
                </a:lnTo>
                <a:lnTo>
                  <a:pt x="1952575" y="3158361"/>
                </a:lnTo>
                <a:lnTo>
                  <a:pt x="1947175" y="3162698"/>
                </a:lnTo>
                <a:lnTo>
                  <a:pt x="1943469" y="3159918"/>
                </a:lnTo>
                <a:lnTo>
                  <a:pt x="1941975" y="3160572"/>
                </a:lnTo>
                <a:lnTo>
                  <a:pt x="1943163" y="3162489"/>
                </a:lnTo>
                <a:lnTo>
                  <a:pt x="1809151" y="3245544"/>
                </a:lnTo>
                <a:lnTo>
                  <a:pt x="1807054" y="3247538"/>
                </a:lnTo>
                <a:cubicBezTo>
                  <a:pt x="1746019" y="3293212"/>
                  <a:pt x="1664939" y="3321049"/>
                  <a:pt x="1575962" y="3321049"/>
                </a:cubicBezTo>
                <a:cubicBezTo>
                  <a:pt x="1504781" y="3321049"/>
                  <a:pt x="1438654" y="3303233"/>
                  <a:pt x="1383800" y="3272722"/>
                </a:cubicBezTo>
                <a:lnTo>
                  <a:pt x="1358054" y="3255233"/>
                </a:lnTo>
                <a:lnTo>
                  <a:pt x="1356525" y="3257699"/>
                </a:lnTo>
                <a:lnTo>
                  <a:pt x="1246419" y="3189459"/>
                </a:lnTo>
                <a:lnTo>
                  <a:pt x="1220722" y="3179419"/>
                </a:lnTo>
                <a:lnTo>
                  <a:pt x="1222933" y="3178058"/>
                </a:lnTo>
                <a:lnTo>
                  <a:pt x="239888" y="2607953"/>
                </a:lnTo>
                <a:lnTo>
                  <a:pt x="240040" y="2606633"/>
                </a:lnTo>
                <a:lnTo>
                  <a:pt x="209768" y="2586222"/>
                </a:lnTo>
                <a:cubicBezTo>
                  <a:pt x="198792" y="2575246"/>
                  <a:pt x="189909" y="2562175"/>
                  <a:pt x="183770" y="2547662"/>
                </a:cubicBezTo>
                <a:lnTo>
                  <a:pt x="174849" y="2503479"/>
                </a:lnTo>
                <a:lnTo>
                  <a:pt x="147213" y="2486024"/>
                </a:lnTo>
                <a:lnTo>
                  <a:pt x="137688" y="2609849"/>
                </a:lnTo>
                <a:lnTo>
                  <a:pt x="1150513" y="3222624"/>
                </a:lnTo>
                <a:lnTo>
                  <a:pt x="1180767" y="3204006"/>
                </a:lnTo>
                <a:lnTo>
                  <a:pt x="1526163" y="3397428"/>
                </a:lnTo>
                <a:lnTo>
                  <a:pt x="0" y="3397428"/>
                </a:lnTo>
                <a:close/>
              </a:path>
            </a:pathLst>
          </a:custGeom>
        </p:spPr>
      </p:pic>
      <p:sp>
        <p:nvSpPr>
          <p:cNvPr id="34" name="Google Shape;525;p35">
            <a:extLst>
              <a:ext uri="{FF2B5EF4-FFF2-40B4-BE49-F238E27FC236}">
                <a16:creationId xmlns:a16="http://schemas.microsoft.com/office/drawing/2014/main" id="{5033250C-1DA5-BD59-792D-1613194848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0800000">
            <a:off x="407925" y="0"/>
            <a:ext cx="73200" cy="1097280"/>
          </a:xfrm>
          <a:prstGeom prst="rect">
            <a:avLst/>
          </a:prstGeom>
          <a:gradFill>
            <a:gsLst>
              <a:gs pos="0">
                <a:srgbClr val="D59DFF"/>
              </a:gs>
              <a:gs pos="100000">
                <a:srgbClr val="28AFEA"/>
              </a:gs>
            </a:gsLst>
            <a:lin ang="5400012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0" i="0">
              <a:latin typeface="Helvetica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83D2E6-7B76-FC27-CD25-600EC9F395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5808" y="447675"/>
            <a:ext cx="2515991" cy="1208088"/>
          </a:xfrm>
        </p:spPr>
        <p:txBody>
          <a:bodyPr/>
          <a:lstStyle/>
          <a:p>
            <a:pPr lvl="0"/>
            <a:r>
              <a:rPr lang="en-IN" dirty="0">
                <a:sym typeface="Inter SemiBold"/>
              </a:rPr>
              <a:t>The </a:t>
            </a:r>
            <a:r>
              <a:rPr lang="en-IN" dirty="0">
                <a:solidFill>
                  <a:schemeClr val="accent1"/>
                </a:solidFill>
                <a:sym typeface="Inter SemiBold"/>
              </a:rPr>
              <a:t>Copilot effect</a:t>
            </a:r>
          </a:p>
        </p:txBody>
      </p:sp>
      <p:sp>
        <p:nvSpPr>
          <p:cNvPr id="28" name="Google Shape;2650;p295">
            <a:extLst>
              <a:ext uri="{FF2B5EF4-FFF2-40B4-BE49-F238E27FC236}">
                <a16:creationId xmlns:a16="http://schemas.microsoft.com/office/drawing/2014/main" id="{408814FD-FEE3-C827-3230-74C1A0381A90}"/>
              </a:ext>
            </a:extLst>
          </p:cNvPr>
          <p:cNvSpPr txBox="1">
            <a:spLocks/>
          </p:cNvSpPr>
          <p:nvPr/>
        </p:nvSpPr>
        <p:spPr>
          <a:xfrm>
            <a:off x="4394230" y="1837198"/>
            <a:ext cx="359527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en-US" sz="1800" dirty="0">
                <a:solidFill>
                  <a:schemeClr val="accent2"/>
                </a:solidFill>
                <a:latin typeface="Helvetica" panose="020B0604020202020204" pitchFamily="34" charset="0"/>
                <a:ea typeface="Inter"/>
                <a:sym typeface="Inter"/>
              </a:rPr>
              <a:t>It’s all about staying in the flow…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67CA259-169C-DBB0-064C-0FE32DF80DE1}"/>
              </a:ext>
            </a:extLst>
          </p:cNvPr>
          <p:cNvSpPr>
            <a:spLocks/>
          </p:cNvSpPr>
          <p:nvPr/>
        </p:nvSpPr>
        <p:spPr>
          <a:xfrm>
            <a:off x="5131399" y="2630603"/>
            <a:ext cx="3401471" cy="346788"/>
          </a:xfrm>
          <a:prstGeom prst="rect">
            <a:avLst/>
          </a:prstGeom>
          <a:noFill/>
          <a:ln>
            <a:noFill/>
          </a:ln>
          <a:effectLst>
            <a:outerShdw blurRad="889000" dist="50800" dir="5400000" sx="89000" sy="89000" algn="ctr" rotWithShape="0">
              <a:srgbClr val="000000">
                <a:alpha val="4863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>
              <a:buFont typeface="Arial"/>
              <a:buNone/>
            </a:pPr>
            <a:r>
              <a:rPr lang="en-IN" sz="1200" dirty="0">
                <a:solidFill>
                  <a:schemeClr val="bg1"/>
                </a:solidFill>
                <a:latin typeface="Helvetica" panose="020B0604020202020204" pitchFamily="34" charset="0"/>
                <a:ea typeface="Inter"/>
                <a:sym typeface="Roboto Mono"/>
              </a:rPr>
              <a:t>Maximize </a:t>
            </a:r>
            <a:r>
              <a:rPr lang="en-IN" sz="1200" strike="sngStrike" dirty="0">
                <a:solidFill>
                  <a:schemeClr val="bg1"/>
                </a:solidFill>
                <a:latin typeface="Helvetica" panose="020B0604020202020204" pitchFamily="34" charset="0"/>
                <a:ea typeface="Inter"/>
                <a:sym typeface="Roboto Mono"/>
              </a:rPr>
              <a:t>developer</a:t>
            </a:r>
            <a:r>
              <a:rPr lang="en-IN" sz="1200" dirty="0">
                <a:solidFill>
                  <a:schemeClr val="bg1"/>
                </a:solidFill>
                <a:latin typeface="Helvetica" panose="020B0604020202020204" pitchFamily="34" charset="0"/>
                <a:ea typeface="Inter"/>
                <a:sym typeface="Roboto Mono"/>
              </a:rPr>
              <a:t> everyone’s happines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DB098C4-A74B-890A-0066-7400016D2C5A}"/>
              </a:ext>
            </a:extLst>
          </p:cNvPr>
          <p:cNvSpPr>
            <a:spLocks/>
          </p:cNvSpPr>
          <p:nvPr/>
        </p:nvSpPr>
        <p:spPr>
          <a:xfrm>
            <a:off x="5131399" y="3361599"/>
            <a:ext cx="3401471" cy="346788"/>
          </a:xfrm>
          <a:prstGeom prst="rect">
            <a:avLst/>
          </a:prstGeom>
          <a:noFill/>
          <a:ln>
            <a:noFill/>
          </a:ln>
          <a:effectLst>
            <a:outerShdw blurRad="889000" dist="50800" dir="5400000" sx="89000" sy="89000" algn="ctr" rotWithShape="0">
              <a:srgbClr val="000000">
                <a:alpha val="4863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>
              <a:buFont typeface="Arial"/>
              <a:buNone/>
            </a:pPr>
            <a:r>
              <a:rPr lang="en-IN" sz="1200" dirty="0">
                <a:solidFill>
                  <a:schemeClr val="bg1"/>
                </a:solidFill>
                <a:latin typeface="Helvetica" panose="020B0604020202020204" pitchFamily="34" charset="0"/>
                <a:ea typeface="Inter"/>
                <a:sym typeface="Roboto Mono"/>
              </a:rPr>
              <a:t>Increase </a:t>
            </a:r>
            <a:r>
              <a:rPr lang="en-IN" sz="1200" strike="sngStrike" dirty="0">
                <a:solidFill>
                  <a:schemeClr val="bg1"/>
                </a:solidFill>
                <a:latin typeface="Helvetica" panose="020B0604020202020204" pitchFamily="34" charset="0"/>
                <a:ea typeface="Inter"/>
                <a:sym typeface="Roboto Mono"/>
              </a:rPr>
              <a:t>developer</a:t>
            </a:r>
            <a:r>
              <a:rPr lang="en-IN" sz="1200" dirty="0">
                <a:solidFill>
                  <a:schemeClr val="bg1"/>
                </a:solidFill>
                <a:latin typeface="Helvetica" panose="020B0604020202020204" pitchFamily="34" charset="0"/>
                <a:ea typeface="Inter"/>
                <a:sym typeface="Roboto Mono"/>
              </a:rPr>
              <a:t> everyone’s productivity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8D20417-FB8A-D832-4E8D-F2EBBB04179E}"/>
              </a:ext>
            </a:extLst>
          </p:cNvPr>
          <p:cNvSpPr>
            <a:spLocks/>
          </p:cNvSpPr>
          <p:nvPr/>
        </p:nvSpPr>
        <p:spPr>
          <a:xfrm>
            <a:off x="5131399" y="4094842"/>
            <a:ext cx="3401471" cy="346788"/>
          </a:xfrm>
          <a:prstGeom prst="rect">
            <a:avLst/>
          </a:prstGeom>
          <a:noFill/>
          <a:ln>
            <a:noFill/>
          </a:ln>
          <a:effectLst>
            <a:outerShdw blurRad="889000" dist="50800" dir="5400000" sx="89000" sy="89000" algn="ctr" rotWithShape="0">
              <a:srgbClr val="000000">
                <a:alpha val="4863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>
              <a:buFont typeface="Arial"/>
              <a:buNone/>
            </a:pPr>
            <a:r>
              <a:rPr lang="en-IN" sz="1200" dirty="0">
                <a:solidFill>
                  <a:schemeClr val="bg1"/>
                </a:solidFill>
                <a:latin typeface="Helvetica" panose="020B0604020202020204" pitchFamily="34" charset="0"/>
                <a:ea typeface="Inter"/>
                <a:sym typeface="Roboto Mono"/>
              </a:rPr>
              <a:t>Accelerate software </a:t>
            </a:r>
            <a:r>
              <a:rPr lang="en-IN" sz="1200" strike="sngStrike" dirty="0">
                <a:solidFill>
                  <a:schemeClr val="bg1"/>
                </a:solidFill>
                <a:latin typeface="Helvetica" panose="020B0604020202020204" pitchFamily="34" charset="0"/>
                <a:ea typeface="Inter"/>
                <a:sym typeface="Roboto Mono"/>
              </a:rPr>
              <a:t>development</a:t>
            </a:r>
            <a:r>
              <a:rPr lang="en-IN" sz="1200" dirty="0">
                <a:solidFill>
                  <a:schemeClr val="bg1"/>
                </a:solidFill>
                <a:latin typeface="Helvetica" panose="020B0604020202020204" pitchFamily="34" charset="0"/>
                <a:ea typeface="Inter"/>
                <a:sym typeface="Roboto Mono"/>
              </a:rPr>
              <a:t> delivery</a:t>
            </a:r>
          </a:p>
        </p:txBody>
      </p:sp>
    </p:spTree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EAF9627-59F4-B81F-185B-E7EF9E5FEE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602"/>
            <a:ext cx="9144000" cy="5130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4271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C539A3-27FF-EA13-5F24-FEF9C836D9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 rtl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</a:pPr>
            <a:r>
              <a:rPr lang="en-IN" sz="3600" dirty="0">
                <a:solidFill>
                  <a:srgbClr val="FFFFFF"/>
                </a:solidFill>
                <a:latin typeface="Inter SemiBold"/>
                <a:ea typeface="Inter SemiBold"/>
                <a:cs typeface="Inter SemiBold"/>
                <a:sym typeface="Inter SemiBold"/>
              </a:rPr>
              <a:t>Demo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4A4066-8CA9-83F9-A4FC-7B80622E365A}"/>
              </a:ext>
            </a:extLst>
          </p:cNvPr>
          <p:cNvSpPr txBox="1"/>
          <p:nvPr/>
        </p:nvSpPr>
        <p:spPr>
          <a:xfrm>
            <a:off x="1310185" y="2288275"/>
            <a:ext cx="5145206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685800">
              <a:spcBef>
                <a:spcPts val="400"/>
              </a:spcBef>
            </a:pPr>
            <a:r>
              <a:rPr lang="en-NZ" dirty="0">
                <a:solidFill>
                  <a:schemeClr val="bg1"/>
                </a:solidFill>
                <a:latin typeface="Helvetica" panose="020B0604020202020204" pitchFamily="34" charset="0"/>
              </a:rPr>
              <a:t>Disclaimers:</a:t>
            </a:r>
          </a:p>
          <a:p>
            <a:pPr marL="228600" indent="-228600" algn="l" defTabSz="685800">
              <a:spcBef>
                <a:spcPts val="400"/>
              </a:spcBef>
              <a:buAutoNum type="arabicPeriod"/>
            </a:pPr>
            <a:r>
              <a:rPr lang="en-NZ" dirty="0">
                <a:solidFill>
                  <a:schemeClr val="bg1"/>
                </a:solidFill>
                <a:latin typeface="Helvetica" panose="020B0604020202020204" pitchFamily="34" charset="0"/>
              </a:rPr>
              <a:t>I’m using C# and PowerShell. But pretty much all languages work. Yeah, even Cobol.</a:t>
            </a:r>
          </a:p>
          <a:p>
            <a:pPr marL="228600" indent="-228600" algn="l" defTabSz="685800">
              <a:spcBef>
                <a:spcPts val="400"/>
              </a:spcBef>
              <a:buAutoNum type="arabicPeriod"/>
            </a:pPr>
            <a:r>
              <a:rPr lang="en-NZ" dirty="0">
                <a:solidFill>
                  <a:schemeClr val="bg1"/>
                </a:solidFill>
                <a:latin typeface="Helvetica" panose="020B0604020202020204" pitchFamily="34" charset="0"/>
              </a:rPr>
              <a:t>The patterns I’m using are typical in </a:t>
            </a:r>
            <a:r>
              <a:rPr lang="en-NZ">
                <a:solidFill>
                  <a:schemeClr val="bg1"/>
                </a:solidFill>
                <a:latin typeface="Helvetica" panose="020B0604020202020204" pitchFamily="34" charset="0"/>
              </a:rPr>
              <a:t>real large-scale, production </a:t>
            </a:r>
            <a:r>
              <a:rPr lang="en-NZ" dirty="0">
                <a:solidFill>
                  <a:schemeClr val="bg1"/>
                </a:solidFill>
                <a:latin typeface="Helvetica" panose="020B0604020202020204" pitchFamily="34" charset="0"/>
              </a:rPr>
              <a:t>apps.</a:t>
            </a:r>
          </a:p>
          <a:p>
            <a:pPr marL="228600" indent="-228600" algn="l" defTabSz="685800">
              <a:spcBef>
                <a:spcPts val="400"/>
              </a:spcBef>
              <a:buAutoNum type="arabicPeriod"/>
            </a:pPr>
            <a:r>
              <a:rPr lang="en-NZ" dirty="0">
                <a:solidFill>
                  <a:schemeClr val="bg1"/>
                </a:solidFill>
                <a:latin typeface="Helvetica" panose="020B0604020202020204" pitchFamily="34" charset="0"/>
              </a:rPr>
              <a:t>I’m using VS Code, but you can use IntelliJ, </a:t>
            </a:r>
            <a:r>
              <a:rPr lang="en-NZ" dirty="0" err="1">
                <a:solidFill>
                  <a:schemeClr val="bg1"/>
                </a:solidFill>
                <a:latin typeface="Helvetica" panose="020B0604020202020204" pitchFamily="34" charset="0"/>
              </a:rPr>
              <a:t>NeoVim</a:t>
            </a:r>
            <a:r>
              <a:rPr lang="en-NZ" dirty="0">
                <a:solidFill>
                  <a:schemeClr val="bg1"/>
                </a:solidFill>
                <a:latin typeface="Helvetica" panose="020B0604020202020204" pitchFamily="34" charset="0"/>
              </a:rPr>
              <a:t>, VS if you prefer.</a:t>
            </a:r>
          </a:p>
          <a:p>
            <a:pPr marL="228600" indent="-228600" defTabSz="685800">
              <a:spcBef>
                <a:spcPts val="400"/>
              </a:spcBef>
              <a:buFont typeface="Arial"/>
              <a:buAutoNum type="arabicPeriod"/>
            </a:pPr>
            <a:r>
              <a:rPr lang="en-NZ" dirty="0">
                <a:solidFill>
                  <a:schemeClr val="bg1"/>
                </a:solidFill>
                <a:latin typeface="Helvetica" panose="020B0604020202020204" pitchFamily="34" charset="0"/>
              </a:rPr>
              <a:t>I prayed to the demo gods. But this is non-deterministic technology... so… yeah.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F52193C-01DF-C808-A524-8A133574DF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09601" y="333551"/>
            <a:ext cx="2103119" cy="0"/>
          </a:xfrm>
          <a:prstGeom prst="line">
            <a:avLst/>
          </a:prstGeom>
          <a:noFill/>
          <a:ln w="12700" cap="flat" cmpd="sng" algn="ctr">
            <a:solidFill>
              <a:srgbClr val="627597"/>
            </a:solidFill>
            <a:prstDash val="solid"/>
            <a:miter lim="800000"/>
          </a:ln>
          <a:effectLst/>
        </p:spPr>
      </p:cxnSp>
      <p:pic>
        <p:nvPicPr>
          <p:cNvPr id="10" name="Google Shape;427;p33">
            <a:extLst>
              <a:ext uri="{FF2B5EF4-FFF2-40B4-BE49-F238E27FC236}">
                <a16:creationId xmlns:a16="http://schemas.microsoft.com/office/drawing/2014/main" id="{A98FC3FB-5FD4-6E09-772E-2A2F961746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3">
            <a:alphaModFix amt="23000"/>
          </a:blip>
          <a:srcRect r="33453" b="13524"/>
          <a:stretch/>
        </p:blipFill>
        <p:spPr>
          <a:xfrm>
            <a:off x="4878193" y="3"/>
            <a:ext cx="4265812" cy="5143497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Google Shape;525;p35">
            <a:extLst>
              <a:ext uri="{FF2B5EF4-FFF2-40B4-BE49-F238E27FC236}">
                <a16:creationId xmlns:a16="http://schemas.microsoft.com/office/drawing/2014/main" id="{6734B87F-3E44-3453-940D-01CAB4C24A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0800000">
            <a:off x="407925" y="524"/>
            <a:ext cx="73200" cy="1466325"/>
          </a:xfrm>
          <a:prstGeom prst="rect">
            <a:avLst/>
          </a:prstGeom>
          <a:gradFill>
            <a:gsLst>
              <a:gs pos="0">
                <a:srgbClr val="D59DFF"/>
              </a:gs>
              <a:gs pos="100000">
                <a:srgbClr val="28AFEA"/>
              </a:gs>
            </a:gsLst>
            <a:lin ang="5400012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0" i="0">
              <a:latin typeface="Helvetica" pitchFamily="2" charset="0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603EEEE7-7EA9-E95E-42E0-715A5AE76F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" y="4380580"/>
            <a:ext cx="541303" cy="762921"/>
          </a:xfrm>
          <a:custGeom>
            <a:avLst/>
            <a:gdLst>
              <a:gd name="connsiteX0" fmla="*/ 0 w 541303"/>
              <a:gd name="connsiteY0" fmla="*/ 0 h 762921"/>
              <a:gd name="connsiteX1" fmla="*/ 16117 w 541303"/>
              <a:gd name="connsiteY1" fmla="*/ 1622 h 762921"/>
              <a:gd name="connsiteX2" fmla="*/ 541303 w 541303"/>
              <a:gd name="connsiteY2" fmla="*/ 645044 h 762921"/>
              <a:gd name="connsiteX3" fmla="*/ 529402 w 541303"/>
              <a:gd name="connsiteY3" fmla="*/ 762921 h 762921"/>
              <a:gd name="connsiteX4" fmla="*/ 0 w 541303"/>
              <a:gd name="connsiteY4" fmla="*/ 762921 h 762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1303" h="762921">
                <a:moveTo>
                  <a:pt x="0" y="0"/>
                </a:moveTo>
                <a:lnTo>
                  <a:pt x="16117" y="1622"/>
                </a:lnTo>
                <a:cubicBezTo>
                  <a:pt x="315840" y="62863"/>
                  <a:pt x="541303" y="327663"/>
                  <a:pt x="541303" y="645044"/>
                </a:cubicBezTo>
                <a:lnTo>
                  <a:pt x="529402" y="762921"/>
                </a:lnTo>
                <a:lnTo>
                  <a:pt x="0" y="762921"/>
                </a:lnTo>
                <a:close/>
              </a:path>
            </a:pathLst>
          </a:custGeom>
          <a:gradFill>
            <a:gsLst>
              <a:gs pos="0">
                <a:srgbClr val="8661C5"/>
              </a:gs>
              <a:gs pos="100000">
                <a:srgbClr val="161828">
                  <a:alpha val="74901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spcFirstLastPara="1" wrap="square" lIns="42900" tIns="21450" rIns="42900" bIns="214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 b="0" i="0">
              <a:solidFill>
                <a:schemeClr val="lt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5862874E-795C-3021-45E8-794408587E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1142320" y="2485128"/>
            <a:ext cx="5369645" cy="577752"/>
          </a:xfrm>
          <a:custGeom>
            <a:avLst/>
            <a:gdLst>
              <a:gd name="connsiteX0" fmla="*/ 0 w 5369645"/>
              <a:gd name="connsiteY0" fmla="*/ 0 h 577752"/>
              <a:gd name="connsiteX1" fmla="*/ 4629830 w 5369645"/>
              <a:gd name="connsiteY1" fmla="*/ 0 h 577752"/>
              <a:gd name="connsiteX2" fmla="*/ 4729089 w 5369645"/>
              <a:gd name="connsiteY2" fmla="*/ 0 h 577752"/>
              <a:gd name="connsiteX3" fmla="*/ 5369645 w 5369645"/>
              <a:gd name="connsiteY3" fmla="*/ 0 h 577752"/>
              <a:gd name="connsiteX4" fmla="*/ 5369645 w 5369645"/>
              <a:gd name="connsiteY4" fmla="*/ 577752 h 577752"/>
              <a:gd name="connsiteX5" fmla="*/ 4729089 w 5369645"/>
              <a:gd name="connsiteY5" fmla="*/ 577752 h 577752"/>
              <a:gd name="connsiteX6" fmla="*/ 4629830 w 5369645"/>
              <a:gd name="connsiteY6" fmla="*/ 577752 h 577752"/>
              <a:gd name="connsiteX7" fmla="*/ 0 w 5369645"/>
              <a:gd name="connsiteY7" fmla="*/ 577752 h 577752"/>
              <a:gd name="connsiteX8" fmla="*/ 44766 w 5369645"/>
              <a:gd name="connsiteY8" fmla="*/ 540875 h 577752"/>
              <a:gd name="connsiteX9" fmla="*/ 149312 w 5369645"/>
              <a:gd name="connsiteY9" fmla="*/ 288876 h 577752"/>
              <a:gd name="connsiteX10" fmla="*/ 44766 w 5369645"/>
              <a:gd name="connsiteY10" fmla="*/ 36878 h 57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369645" h="577752">
                <a:moveTo>
                  <a:pt x="0" y="0"/>
                </a:moveTo>
                <a:lnTo>
                  <a:pt x="4629830" y="0"/>
                </a:lnTo>
                <a:lnTo>
                  <a:pt x="4729089" y="0"/>
                </a:lnTo>
                <a:lnTo>
                  <a:pt x="5369645" y="0"/>
                </a:lnTo>
                <a:lnTo>
                  <a:pt x="5369645" y="577752"/>
                </a:lnTo>
                <a:lnTo>
                  <a:pt x="4729089" y="577752"/>
                </a:lnTo>
                <a:lnTo>
                  <a:pt x="4629830" y="577752"/>
                </a:lnTo>
                <a:lnTo>
                  <a:pt x="0" y="577752"/>
                </a:lnTo>
                <a:lnTo>
                  <a:pt x="44766" y="540875"/>
                </a:lnTo>
                <a:cubicBezTo>
                  <a:pt x="109360" y="476383"/>
                  <a:pt x="149312" y="387288"/>
                  <a:pt x="149312" y="288876"/>
                </a:cubicBezTo>
                <a:cubicBezTo>
                  <a:pt x="149312" y="190465"/>
                  <a:pt x="109360" y="101370"/>
                  <a:pt x="44766" y="36878"/>
                </a:cubicBezTo>
                <a:close/>
              </a:path>
            </a:pathLst>
          </a:custGeom>
          <a:gradFill>
            <a:gsLst>
              <a:gs pos="0">
                <a:srgbClr val="6A37C7">
                  <a:alpha val="47000"/>
                </a:srgbClr>
              </a:gs>
              <a:gs pos="100000">
                <a:srgbClr val="9477E2">
                  <a:alpha val="0"/>
                </a:srgbClr>
              </a:gs>
            </a:gsLst>
            <a:lin ang="2700006" scaled="0"/>
          </a:gradFill>
          <a:ln>
            <a:noFill/>
          </a:ln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algn="ctr" defTabSz="609585">
              <a:buClrTx/>
            </a:pPr>
            <a:endParaRPr sz="1100" kern="1200">
              <a:solidFill>
                <a:schemeClr val="bg1"/>
              </a:solidFill>
              <a:latin typeface="Helvetica" panose="020B0604020202020204" pitchFamily="34" charset="0"/>
              <a:ea typeface="Calibri"/>
              <a:sym typeface="Calibri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D54C6942-CB52-EE92-2638-5C951417B5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1142320" y="3267848"/>
            <a:ext cx="5369645" cy="577752"/>
          </a:xfrm>
          <a:custGeom>
            <a:avLst/>
            <a:gdLst>
              <a:gd name="connsiteX0" fmla="*/ 0 w 5369645"/>
              <a:gd name="connsiteY0" fmla="*/ 0 h 577752"/>
              <a:gd name="connsiteX1" fmla="*/ 4629830 w 5369645"/>
              <a:gd name="connsiteY1" fmla="*/ 0 h 577752"/>
              <a:gd name="connsiteX2" fmla="*/ 4729089 w 5369645"/>
              <a:gd name="connsiteY2" fmla="*/ 0 h 577752"/>
              <a:gd name="connsiteX3" fmla="*/ 5369645 w 5369645"/>
              <a:gd name="connsiteY3" fmla="*/ 0 h 577752"/>
              <a:gd name="connsiteX4" fmla="*/ 5369645 w 5369645"/>
              <a:gd name="connsiteY4" fmla="*/ 577752 h 577752"/>
              <a:gd name="connsiteX5" fmla="*/ 4729089 w 5369645"/>
              <a:gd name="connsiteY5" fmla="*/ 577752 h 577752"/>
              <a:gd name="connsiteX6" fmla="*/ 4629830 w 5369645"/>
              <a:gd name="connsiteY6" fmla="*/ 577752 h 577752"/>
              <a:gd name="connsiteX7" fmla="*/ 0 w 5369645"/>
              <a:gd name="connsiteY7" fmla="*/ 577752 h 577752"/>
              <a:gd name="connsiteX8" fmla="*/ 44766 w 5369645"/>
              <a:gd name="connsiteY8" fmla="*/ 540875 h 577752"/>
              <a:gd name="connsiteX9" fmla="*/ 149312 w 5369645"/>
              <a:gd name="connsiteY9" fmla="*/ 288876 h 577752"/>
              <a:gd name="connsiteX10" fmla="*/ 44766 w 5369645"/>
              <a:gd name="connsiteY10" fmla="*/ 36878 h 57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369645" h="577752">
                <a:moveTo>
                  <a:pt x="0" y="0"/>
                </a:moveTo>
                <a:lnTo>
                  <a:pt x="4629830" y="0"/>
                </a:lnTo>
                <a:lnTo>
                  <a:pt x="4729089" y="0"/>
                </a:lnTo>
                <a:lnTo>
                  <a:pt x="5369645" y="0"/>
                </a:lnTo>
                <a:lnTo>
                  <a:pt x="5369645" y="577752"/>
                </a:lnTo>
                <a:lnTo>
                  <a:pt x="4729089" y="577752"/>
                </a:lnTo>
                <a:lnTo>
                  <a:pt x="4629830" y="577752"/>
                </a:lnTo>
                <a:lnTo>
                  <a:pt x="0" y="577752"/>
                </a:lnTo>
                <a:lnTo>
                  <a:pt x="44766" y="540875"/>
                </a:lnTo>
                <a:cubicBezTo>
                  <a:pt x="109360" y="476383"/>
                  <a:pt x="149312" y="387288"/>
                  <a:pt x="149312" y="288876"/>
                </a:cubicBezTo>
                <a:cubicBezTo>
                  <a:pt x="149312" y="190465"/>
                  <a:pt x="109360" y="101370"/>
                  <a:pt x="44766" y="36878"/>
                </a:cubicBezTo>
                <a:close/>
              </a:path>
            </a:pathLst>
          </a:custGeom>
          <a:gradFill>
            <a:gsLst>
              <a:gs pos="0">
                <a:schemeClr val="accent1">
                  <a:alpha val="47000"/>
                </a:schemeClr>
              </a:gs>
              <a:gs pos="100000">
                <a:srgbClr val="9477E2">
                  <a:alpha val="0"/>
                </a:srgbClr>
              </a:gs>
            </a:gsLst>
            <a:lin ang="2700006" scaled="0"/>
          </a:gradFill>
          <a:ln>
            <a:noFill/>
          </a:ln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algn="ctr" defTabSz="609585">
              <a:buClrTx/>
            </a:pPr>
            <a:endParaRPr sz="1100" kern="1200">
              <a:solidFill>
                <a:schemeClr val="bg1"/>
              </a:solidFill>
              <a:latin typeface="Helvetica" panose="020B0604020202020204" pitchFamily="34" charset="0"/>
              <a:ea typeface="Calibri"/>
              <a:sym typeface="Calibri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E1AF646-9908-51C3-45C8-42D2DAF810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1142320" y="1702408"/>
            <a:ext cx="5369645" cy="577752"/>
          </a:xfrm>
          <a:custGeom>
            <a:avLst/>
            <a:gdLst>
              <a:gd name="connsiteX0" fmla="*/ 0 w 5369645"/>
              <a:gd name="connsiteY0" fmla="*/ 0 h 577752"/>
              <a:gd name="connsiteX1" fmla="*/ 4629830 w 5369645"/>
              <a:gd name="connsiteY1" fmla="*/ 0 h 577752"/>
              <a:gd name="connsiteX2" fmla="*/ 4729089 w 5369645"/>
              <a:gd name="connsiteY2" fmla="*/ 0 h 577752"/>
              <a:gd name="connsiteX3" fmla="*/ 5369645 w 5369645"/>
              <a:gd name="connsiteY3" fmla="*/ 0 h 577752"/>
              <a:gd name="connsiteX4" fmla="*/ 5369645 w 5369645"/>
              <a:gd name="connsiteY4" fmla="*/ 577752 h 577752"/>
              <a:gd name="connsiteX5" fmla="*/ 4729089 w 5369645"/>
              <a:gd name="connsiteY5" fmla="*/ 577752 h 577752"/>
              <a:gd name="connsiteX6" fmla="*/ 4629830 w 5369645"/>
              <a:gd name="connsiteY6" fmla="*/ 577752 h 577752"/>
              <a:gd name="connsiteX7" fmla="*/ 0 w 5369645"/>
              <a:gd name="connsiteY7" fmla="*/ 577752 h 577752"/>
              <a:gd name="connsiteX8" fmla="*/ 44766 w 5369645"/>
              <a:gd name="connsiteY8" fmla="*/ 540875 h 577752"/>
              <a:gd name="connsiteX9" fmla="*/ 149312 w 5369645"/>
              <a:gd name="connsiteY9" fmla="*/ 288876 h 577752"/>
              <a:gd name="connsiteX10" fmla="*/ 44766 w 5369645"/>
              <a:gd name="connsiteY10" fmla="*/ 36877 h 57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369645" h="577752">
                <a:moveTo>
                  <a:pt x="0" y="0"/>
                </a:moveTo>
                <a:lnTo>
                  <a:pt x="4629830" y="0"/>
                </a:lnTo>
                <a:lnTo>
                  <a:pt x="4729089" y="0"/>
                </a:lnTo>
                <a:lnTo>
                  <a:pt x="5369645" y="0"/>
                </a:lnTo>
                <a:lnTo>
                  <a:pt x="5369645" y="577752"/>
                </a:lnTo>
                <a:lnTo>
                  <a:pt x="4729089" y="577752"/>
                </a:lnTo>
                <a:lnTo>
                  <a:pt x="4629830" y="577752"/>
                </a:lnTo>
                <a:lnTo>
                  <a:pt x="0" y="577752"/>
                </a:lnTo>
                <a:lnTo>
                  <a:pt x="44766" y="540875"/>
                </a:lnTo>
                <a:cubicBezTo>
                  <a:pt x="109360" y="476383"/>
                  <a:pt x="149312" y="387288"/>
                  <a:pt x="149312" y="288876"/>
                </a:cubicBezTo>
                <a:cubicBezTo>
                  <a:pt x="149312" y="190465"/>
                  <a:pt x="109360" y="101370"/>
                  <a:pt x="44766" y="36877"/>
                </a:cubicBezTo>
                <a:close/>
              </a:path>
            </a:pathLst>
          </a:custGeom>
          <a:gradFill>
            <a:gsLst>
              <a:gs pos="0">
                <a:srgbClr val="1F9CF0">
                  <a:alpha val="47000"/>
                </a:srgbClr>
              </a:gs>
              <a:gs pos="100000">
                <a:srgbClr val="9477E2">
                  <a:alpha val="0"/>
                </a:srgbClr>
              </a:gs>
            </a:gsLst>
            <a:lin ang="2700006" scaled="0"/>
          </a:gradFill>
          <a:ln>
            <a:noFill/>
          </a:ln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Calibri"/>
              <a:cs typeface="Helvetica" panose="020B0604020202020204" pitchFamily="34" charset="0"/>
              <a:sym typeface="Calibri"/>
            </a:endParaRPr>
          </a:p>
        </p:txBody>
      </p:sp>
      <p:sp>
        <p:nvSpPr>
          <p:cNvPr id="16" name="Google Shape;166;p20_1">
            <a:extLst>
              <a:ext uri="{FF2B5EF4-FFF2-40B4-BE49-F238E27FC236}">
                <a16:creationId xmlns:a16="http://schemas.microsoft.com/office/drawing/2014/main" id="{E04FF2F2-40EF-34BB-C020-8448A646F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609600" y="1666710"/>
            <a:ext cx="650176" cy="649148"/>
          </a:xfrm>
          <a:prstGeom prst="ellipse">
            <a:avLst/>
          </a:prstGeom>
          <a:solidFill>
            <a:srgbClr val="1F9CF0">
              <a:alpha val="30980"/>
            </a:srgbClr>
          </a:solidFill>
          <a:ln>
            <a:noFill/>
          </a:ln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algn="ctr" defTabSz="609585">
              <a:buClrTx/>
            </a:pPr>
            <a:endParaRPr sz="800" kern="1200">
              <a:solidFill>
                <a:schemeClr val="bg1"/>
              </a:solidFill>
              <a:latin typeface="Helvetica" panose="020B0604020202020204" pitchFamily="34" charset="0"/>
              <a:ea typeface="Calibri"/>
              <a:sym typeface="Calibri"/>
            </a:endParaRPr>
          </a:p>
        </p:txBody>
      </p:sp>
      <p:sp>
        <p:nvSpPr>
          <p:cNvPr id="17" name="Google Shape;171;p20_1">
            <a:extLst>
              <a:ext uri="{FF2B5EF4-FFF2-40B4-BE49-F238E27FC236}">
                <a16:creationId xmlns:a16="http://schemas.microsoft.com/office/drawing/2014/main" id="{BB7FD697-5A12-A41B-D1A9-7F1AA61400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09601" y="2449431"/>
            <a:ext cx="650176" cy="649148"/>
          </a:xfrm>
          <a:prstGeom prst="ellipse">
            <a:avLst/>
          </a:prstGeom>
          <a:solidFill>
            <a:srgbClr val="9477E2">
              <a:alpha val="31000"/>
            </a:srgbClr>
          </a:solidFill>
          <a:ln>
            <a:noFill/>
          </a:ln>
          <a:effectLst>
            <a:outerShdw blurRad="889000" dist="50800" dir="5400000" sx="89000" sy="89000" algn="ctr" rotWithShape="0">
              <a:srgbClr val="000000">
                <a:alpha val="48630"/>
              </a:srgbClr>
            </a:outerShdw>
          </a:effectLst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Calibri"/>
              <a:cs typeface="Helvetica" panose="020B0604020202020204" pitchFamily="34" charset="0"/>
              <a:sym typeface="Calibri"/>
            </a:endParaRPr>
          </a:p>
        </p:txBody>
      </p:sp>
      <p:sp>
        <p:nvSpPr>
          <p:cNvPr id="18" name="Google Shape;175;p20_1">
            <a:extLst>
              <a:ext uri="{FF2B5EF4-FFF2-40B4-BE49-F238E27FC236}">
                <a16:creationId xmlns:a16="http://schemas.microsoft.com/office/drawing/2014/main" id="{DE670C51-406A-BB9D-F45E-B3D8B07282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609601" y="3232150"/>
            <a:ext cx="650176" cy="649148"/>
          </a:xfrm>
          <a:prstGeom prst="ellipse">
            <a:avLst/>
          </a:prstGeom>
          <a:solidFill>
            <a:schemeClr val="accent1">
              <a:alpha val="31000"/>
            </a:schemeClr>
          </a:solidFill>
          <a:ln>
            <a:noFill/>
          </a:ln>
          <a:effectLst>
            <a:outerShdw blurRad="889000" dist="50800" dir="5400000" sx="89000" sy="89000" algn="ctr" rotWithShape="0">
              <a:srgbClr val="000000">
                <a:alpha val="48630"/>
              </a:srgbClr>
            </a:outerShdw>
          </a:effectLst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Calibri"/>
              <a:cs typeface="Helvetica" panose="020B0604020202020204" pitchFamily="34" charset="0"/>
              <a:sym typeface="Calibri"/>
            </a:endParaRPr>
          </a:p>
        </p:txBody>
      </p:sp>
      <p:sp>
        <p:nvSpPr>
          <p:cNvPr id="19" name="Google Shape;166;p20">
            <a:extLst>
              <a:ext uri="{FF2B5EF4-FFF2-40B4-BE49-F238E27FC236}">
                <a16:creationId xmlns:a16="http://schemas.microsoft.com/office/drawing/2014/main" id="{AF7FDD61-022B-A6CC-1EA3-317E7BC0EF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644338" y="1701393"/>
            <a:ext cx="580700" cy="579782"/>
          </a:xfrm>
          <a:prstGeom prst="ellipse">
            <a:avLst/>
          </a:prstGeom>
          <a:solidFill>
            <a:srgbClr val="1F9CF0">
              <a:alpha val="56860"/>
            </a:srgbClr>
          </a:solidFill>
          <a:ln>
            <a:noFill/>
          </a:ln>
          <a:effectLst>
            <a:outerShdw blurRad="889000" dist="50800" dir="5400000" sx="89000" sy="89000" algn="ctr" rotWithShape="0">
              <a:srgbClr val="000000">
                <a:alpha val="48630"/>
              </a:srgbClr>
            </a:outerShdw>
          </a:effectLst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Calibri"/>
              <a:cs typeface="Helvetica" panose="020B0604020202020204" pitchFamily="34" charset="0"/>
              <a:sym typeface="Calibri"/>
            </a:endParaRPr>
          </a:p>
        </p:txBody>
      </p:sp>
      <p:sp>
        <p:nvSpPr>
          <p:cNvPr id="20" name="Google Shape;171;p20">
            <a:extLst>
              <a:ext uri="{FF2B5EF4-FFF2-40B4-BE49-F238E27FC236}">
                <a16:creationId xmlns:a16="http://schemas.microsoft.com/office/drawing/2014/main" id="{4EC622DC-F9F2-6C91-B5D5-ABB112938A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44339" y="2484114"/>
            <a:ext cx="580700" cy="579782"/>
          </a:xfrm>
          <a:prstGeom prst="ellipse">
            <a:avLst/>
          </a:prstGeom>
          <a:solidFill>
            <a:srgbClr val="9477E2">
              <a:alpha val="56860"/>
            </a:srgbClr>
          </a:solidFill>
          <a:ln>
            <a:noFill/>
          </a:ln>
          <a:effectLst>
            <a:outerShdw blurRad="889000" dist="50800" dir="5400000" sx="89000" sy="89000" algn="ctr" rotWithShape="0">
              <a:srgbClr val="000000">
                <a:alpha val="48630"/>
              </a:srgbClr>
            </a:outerShdw>
          </a:effectLst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Calibri"/>
              <a:cs typeface="Helvetica" panose="020B0604020202020204" pitchFamily="34" charset="0"/>
              <a:sym typeface="Calibri"/>
            </a:endParaRPr>
          </a:p>
        </p:txBody>
      </p:sp>
      <p:sp>
        <p:nvSpPr>
          <p:cNvPr id="21" name="Google Shape;175;p20">
            <a:extLst>
              <a:ext uri="{FF2B5EF4-FFF2-40B4-BE49-F238E27FC236}">
                <a16:creationId xmlns:a16="http://schemas.microsoft.com/office/drawing/2014/main" id="{99DA636C-BA30-490D-88BC-B5C119FD2D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644339" y="3266833"/>
            <a:ext cx="580700" cy="579782"/>
          </a:xfrm>
          <a:prstGeom prst="ellipse">
            <a:avLst/>
          </a:prstGeom>
          <a:solidFill>
            <a:schemeClr val="accent1">
              <a:alpha val="56860"/>
            </a:schemeClr>
          </a:solidFill>
          <a:ln>
            <a:noFill/>
          </a:ln>
          <a:effectLst>
            <a:outerShdw blurRad="889000" dist="50800" dir="5400000" sx="89000" sy="89000" algn="ctr" rotWithShape="0">
              <a:srgbClr val="000000">
                <a:alpha val="48630"/>
              </a:srgbClr>
            </a:outerShdw>
          </a:effectLst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Calibri"/>
              <a:cs typeface="Helvetica" panose="020B0604020202020204" pitchFamily="34" charset="0"/>
              <a:sym typeface="Calibri"/>
            </a:endParaRP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EEC00580-4966-949C-C2AC-0DE528F313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0532" y="1827127"/>
            <a:ext cx="328312" cy="328312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EDDAFDA8-DDD7-ADB6-C677-9C8ABC2BE9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0640" y="2609848"/>
            <a:ext cx="328312" cy="328312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5B9F3B1F-4932-85E2-6E87-F1AD1F0977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0640" y="3392567"/>
            <a:ext cx="328312" cy="328312"/>
          </a:xfrm>
          <a:prstGeom prst="rect">
            <a:avLst/>
          </a:prstGeom>
        </p:spPr>
      </p:pic>
      <p:sp>
        <p:nvSpPr>
          <p:cNvPr id="4329" name="Google Shape;4329;p387"/>
          <p:cNvSpPr txBox="1">
            <a:spLocks noGrp="1"/>
          </p:cNvSpPr>
          <p:nvPr>
            <p:ph type="title"/>
          </p:nvPr>
        </p:nvSpPr>
        <p:spPr>
          <a:xfrm>
            <a:off x="609600" y="402083"/>
            <a:ext cx="7924800" cy="941796"/>
          </a:xfrm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US" dirty="0">
                <a:solidFill>
                  <a:schemeClr val="accent1"/>
                </a:solidFill>
              </a:rPr>
              <a:t>Align tests and code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to your patterns</a:t>
            </a:r>
          </a:p>
        </p:txBody>
      </p:sp>
      <p:sp>
        <p:nvSpPr>
          <p:cNvPr id="5" name="Google Shape;2742;p299">
            <a:extLst>
              <a:ext uri="{FF2B5EF4-FFF2-40B4-BE49-F238E27FC236}">
                <a16:creationId xmlns:a16="http://schemas.microsoft.com/office/drawing/2014/main" id="{854B53A9-3CF7-D996-025C-612CC5DC6019}"/>
              </a:ext>
            </a:extLst>
          </p:cNvPr>
          <p:cNvSpPr txBox="1">
            <a:spLocks/>
          </p:cNvSpPr>
          <p:nvPr/>
        </p:nvSpPr>
        <p:spPr>
          <a:xfrm>
            <a:off x="609702" y="127466"/>
            <a:ext cx="2653563" cy="169277"/>
          </a:xfrm>
          <a:prstGeom prst="rect">
            <a:avLst/>
          </a:prstGeom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Helvetica" pitchFamily="2" charset="0"/>
                <a:ea typeface="Helvetica" pitchFamily="2" charset="0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  <a:latin typeface="+mn-lt"/>
                <a:cs typeface="Helvetica" panose="020B0604020202020204" pitchFamily="34" charset="0"/>
              </a:rPr>
              <a:t>GitHub Copilot / </a:t>
            </a:r>
            <a:r>
              <a:rPr lang="en-US" sz="1100" dirty="0">
                <a:solidFill>
                  <a:schemeClr val="accent2"/>
                </a:solidFill>
                <a:latin typeface="+mn-lt"/>
                <a:cs typeface="Helvetica" panose="020B0604020202020204" pitchFamily="34" charset="0"/>
              </a:rPr>
              <a:t>Test Automation</a:t>
            </a:r>
            <a:endParaRPr lang="en-IN" sz="1100" dirty="0">
              <a:solidFill>
                <a:schemeClr val="accent2"/>
              </a:solidFill>
              <a:latin typeface="+mn-lt"/>
              <a:sym typeface="Roboto Mono Medium"/>
            </a:endParaRPr>
          </a:p>
        </p:txBody>
      </p:sp>
      <p:sp>
        <p:nvSpPr>
          <p:cNvPr id="23" name="TextBox 5">
            <a:extLst>
              <a:ext uri="{FF2B5EF4-FFF2-40B4-BE49-F238E27FC236}">
                <a16:creationId xmlns:a16="http://schemas.microsoft.com/office/drawing/2014/main" id="{0E4728A5-16FD-C34C-E09C-E0BA96504093}"/>
              </a:ext>
            </a:extLst>
          </p:cNvPr>
          <p:cNvSpPr txBox="1">
            <a:spLocks/>
          </p:cNvSpPr>
          <p:nvPr/>
        </p:nvSpPr>
        <p:spPr>
          <a:xfrm>
            <a:off x="1443120" y="1868174"/>
            <a:ext cx="482451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buClrTx/>
              <a:defRPr/>
            </a:pPr>
            <a:r>
              <a:rPr lang="en-IN" sz="1600" dirty="0">
                <a:solidFill>
                  <a:schemeClr val="bg1"/>
                </a:solidFill>
                <a:sym typeface="Inter"/>
              </a:rPr>
              <a:t>Tests need to align to standards</a:t>
            </a:r>
          </a:p>
        </p:txBody>
      </p:sp>
      <p:sp>
        <p:nvSpPr>
          <p:cNvPr id="25" name="TextBox 5">
            <a:extLst>
              <a:ext uri="{FF2B5EF4-FFF2-40B4-BE49-F238E27FC236}">
                <a16:creationId xmlns:a16="http://schemas.microsoft.com/office/drawing/2014/main" id="{0B6EC0B6-6AFF-60C2-2588-BAAFE2E914CB}"/>
              </a:ext>
            </a:extLst>
          </p:cNvPr>
          <p:cNvSpPr txBox="1">
            <a:spLocks/>
          </p:cNvSpPr>
          <p:nvPr/>
        </p:nvSpPr>
        <p:spPr>
          <a:xfrm>
            <a:off x="1443120" y="2650894"/>
            <a:ext cx="482451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buClrTx/>
              <a:defRPr/>
            </a:pPr>
            <a:r>
              <a:rPr lang="en-IN" sz="1600" dirty="0">
                <a:solidFill>
                  <a:schemeClr val="bg1"/>
                </a:solidFill>
                <a:sym typeface="Inter"/>
              </a:rPr>
              <a:t>Test intent over function</a:t>
            </a:r>
          </a:p>
        </p:txBody>
      </p:sp>
      <p:sp>
        <p:nvSpPr>
          <p:cNvPr id="27" name="TextBox 5">
            <a:extLst>
              <a:ext uri="{FF2B5EF4-FFF2-40B4-BE49-F238E27FC236}">
                <a16:creationId xmlns:a16="http://schemas.microsoft.com/office/drawing/2014/main" id="{FD16F402-68DA-F58C-9F0E-769F9F8C5E3D}"/>
              </a:ext>
            </a:extLst>
          </p:cNvPr>
          <p:cNvSpPr txBox="1">
            <a:spLocks/>
          </p:cNvSpPr>
          <p:nvPr/>
        </p:nvSpPr>
        <p:spPr>
          <a:xfrm>
            <a:off x="1443120" y="3433614"/>
            <a:ext cx="482451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buClrTx/>
              <a:defRPr/>
            </a:pPr>
            <a:r>
              <a:rPr lang="en-IN" sz="1600" dirty="0">
                <a:solidFill>
                  <a:schemeClr val="bg1"/>
                </a:solidFill>
                <a:sym typeface="Inter"/>
              </a:rPr>
              <a:t>Write more testable code</a:t>
            </a:r>
          </a:p>
        </p:txBody>
      </p:sp>
    </p:spTree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oogle Shape;427;p33">
            <a:extLst>
              <a:ext uri="{FF2B5EF4-FFF2-40B4-BE49-F238E27FC236}">
                <a16:creationId xmlns:a16="http://schemas.microsoft.com/office/drawing/2014/main" id="{BB1C3ECE-C0B8-699D-AAB5-974C61E9AC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3">
            <a:alphaModFix amt="23000"/>
          </a:blip>
          <a:srcRect r="33453" b="13524"/>
          <a:stretch/>
        </p:blipFill>
        <p:spPr>
          <a:xfrm>
            <a:off x="4878193" y="3"/>
            <a:ext cx="4265812" cy="5143497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Google Shape;525;p35">
            <a:extLst>
              <a:ext uri="{FF2B5EF4-FFF2-40B4-BE49-F238E27FC236}">
                <a16:creationId xmlns:a16="http://schemas.microsoft.com/office/drawing/2014/main" id="{B0B38CCB-3961-FE46-5F62-6AAB759D0A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0800000">
            <a:off x="407925" y="524"/>
            <a:ext cx="73200" cy="1466325"/>
          </a:xfrm>
          <a:prstGeom prst="rect">
            <a:avLst/>
          </a:prstGeom>
          <a:gradFill>
            <a:gsLst>
              <a:gs pos="0">
                <a:srgbClr val="D59DFF"/>
              </a:gs>
              <a:gs pos="100000">
                <a:srgbClr val="28AFEA"/>
              </a:gs>
            </a:gsLst>
            <a:lin ang="5400012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0" i="0">
              <a:latin typeface="Helvetica" pitchFamily="2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234252A-21DD-468C-D83A-F35EE1EC93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" y="4380580"/>
            <a:ext cx="541303" cy="762921"/>
          </a:xfrm>
          <a:custGeom>
            <a:avLst/>
            <a:gdLst>
              <a:gd name="connsiteX0" fmla="*/ 0 w 541303"/>
              <a:gd name="connsiteY0" fmla="*/ 0 h 762921"/>
              <a:gd name="connsiteX1" fmla="*/ 16117 w 541303"/>
              <a:gd name="connsiteY1" fmla="*/ 1622 h 762921"/>
              <a:gd name="connsiteX2" fmla="*/ 541303 w 541303"/>
              <a:gd name="connsiteY2" fmla="*/ 645044 h 762921"/>
              <a:gd name="connsiteX3" fmla="*/ 529402 w 541303"/>
              <a:gd name="connsiteY3" fmla="*/ 762921 h 762921"/>
              <a:gd name="connsiteX4" fmla="*/ 0 w 541303"/>
              <a:gd name="connsiteY4" fmla="*/ 762921 h 762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1303" h="762921">
                <a:moveTo>
                  <a:pt x="0" y="0"/>
                </a:moveTo>
                <a:lnTo>
                  <a:pt x="16117" y="1622"/>
                </a:lnTo>
                <a:cubicBezTo>
                  <a:pt x="315840" y="62863"/>
                  <a:pt x="541303" y="327663"/>
                  <a:pt x="541303" y="645044"/>
                </a:cubicBezTo>
                <a:lnTo>
                  <a:pt x="529402" y="762921"/>
                </a:lnTo>
                <a:lnTo>
                  <a:pt x="0" y="762921"/>
                </a:lnTo>
                <a:close/>
              </a:path>
            </a:pathLst>
          </a:custGeom>
          <a:gradFill>
            <a:gsLst>
              <a:gs pos="0">
                <a:srgbClr val="8661C5"/>
              </a:gs>
              <a:gs pos="100000">
                <a:srgbClr val="161828">
                  <a:alpha val="74901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spcFirstLastPara="1" wrap="square" lIns="42900" tIns="21450" rIns="42900" bIns="214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 b="0" i="0">
              <a:solidFill>
                <a:schemeClr val="lt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958A1814-C0FA-F4A6-398C-75C76F6644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1142320" y="2485128"/>
            <a:ext cx="5369645" cy="577752"/>
          </a:xfrm>
          <a:custGeom>
            <a:avLst/>
            <a:gdLst>
              <a:gd name="connsiteX0" fmla="*/ 0 w 5369645"/>
              <a:gd name="connsiteY0" fmla="*/ 0 h 577752"/>
              <a:gd name="connsiteX1" fmla="*/ 4629830 w 5369645"/>
              <a:gd name="connsiteY1" fmla="*/ 0 h 577752"/>
              <a:gd name="connsiteX2" fmla="*/ 4729089 w 5369645"/>
              <a:gd name="connsiteY2" fmla="*/ 0 h 577752"/>
              <a:gd name="connsiteX3" fmla="*/ 5369645 w 5369645"/>
              <a:gd name="connsiteY3" fmla="*/ 0 h 577752"/>
              <a:gd name="connsiteX4" fmla="*/ 5369645 w 5369645"/>
              <a:gd name="connsiteY4" fmla="*/ 577752 h 577752"/>
              <a:gd name="connsiteX5" fmla="*/ 4729089 w 5369645"/>
              <a:gd name="connsiteY5" fmla="*/ 577752 h 577752"/>
              <a:gd name="connsiteX6" fmla="*/ 4629830 w 5369645"/>
              <a:gd name="connsiteY6" fmla="*/ 577752 h 577752"/>
              <a:gd name="connsiteX7" fmla="*/ 0 w 5369645"/>
              <a:gd name="connsiteY7" fmla="*/ 577752 h 577752"/>
              <a:gd name="connsiteX8" fmla="*/ 44766 w 5369645"/>
              <a:gd name="connsiteY8" fmla="*/ 540875 h 577752"/>
              <a:gd name="connsiteX9" fmla="*/ 149312 w 5369645"/>
              <a:gd name="connsiteY9" fmla="*/ 288876 h 577752"/>
              <a:gd name="connsiteX10" fmla="*/ 44766 w 5369645"/>
              <a:gd name="connsiteY10" fmla="*/ 36878 h 57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369645" h="577752">
                <a:moveTo>
                  <a:pt x="0" y="0"/>
                </a:moveTo>
                <a:lnTo>
                  <a:pt x="4629830" y="0"/>
                </a:lnTo>
                <a:lnTo>
                  <a:pt x="4729089" y="0"/>
                </a:lnTo>
                <a:lnTo>
                  <a:pt x="5369645" y="0"/>
                </a:lnTo>
                <a:lnTo>
                  <a:pt x="5369645" y="577752"/>
                </a:lnTo>
                <a:lnTo>
                  <a:pt x="4729089" y="577752"/>
                </a:lnTo>
                <a:lnTo>
                  <a:pt x="4629830" y="577752"/>
                </a:lnTo>
                <a:lnTo>
                  <a:pt x="0" y="577752"/>
                </a:lnTo>
                <a:lnTo>
                  <a:pt x="44766" y="540875"/>
                </a:lnTo>
                <a:cubicBezTo>
                  <a:pt x="109360" y="476383"/>
                  <a:pt x="149312" y="387288"/>
                  <a:pt x="149312" y="288876"/>
                </a:cubicBezTo>
                <a:cubicBezTo>
                  <a:pt x="149312" y="190465"/>
                  <a:pt x="109360" y="101370"/>
                  <a:pt x="44766" y="36878"/>
                </a:cubicBezTo>
                <a:close/>
              </a:path>
            </a:pathLst>
          </a:custGeom>
          <a:gradFill>
            <a:gsLst>
              <a:gs pos="0">
                <a:srgbClr val="6A37C7">
                  <a:alpha val="47000"/>
                </a:srgbClr>
              </a:gs>
              <a:gs pos="100000">
                <a:srgbClr val="9477E2">
                  <a:alpha val="0"/>
                </a:srgbClr>
              </a:gs>
            </a:gsLst>
            <a:lin ang="2700006" scaled="0"/>
          </a:gradFill>
          <a:ln>
            <a:noFill/>
          </a:ln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algn="ctr" defTabSz="609585">
              <a:buClrTx/>
            </a:pPr>
            <a:endParaRPr sz="1100" kern="1200">
              <a:solidFill>
                <a:schemeClr val="bg1"/>
              </a:solidFill>
              <a:latin typeface="Helvetica" panose="020B0604020202020204" pitchFamily="34" charset="0"/>
              <a:ea typeface="Calibri"/>
              <a:sym typeface="Calibri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E190F0A-E419-27D8-D0CD-42374A4243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1142320" y="3267848"/>
            <a:ext cx="5369645" cy="577752"/>
          </a:xfrm>
          <a:custGeom>
            <a:avLst/>
            <a:gdLst>
              <a:gd name="connsiteX0" fmla="*/ 0 w 5369645"/>
              <a:gd name="connsiteY0" fmla="*/ 0 h 577752"/>
              <a:gd name="connsiteX1" fmla="*/ 4629830 w 5369645"/>
              <a:gd name="connsiteY1" fmla="*/ 0 h 577752"/>
              <a:gd name="connsiteX2" fmla="*/ 4729089 w 5369645"/>
              <a:gd name="connsiteY2" fmla="*/ 0 h 577752"/>
              <a:gd name="connsiteX3" fmla="*/ 5369645 w 5369645"/>
              <a:gd name="connsiteY3" fmla="*/ 0 h 577752"/>
              <a:gd name="connsiteX4" fmla="*/ 5369645 w 5369645"/>
              <a:gd name="connsiteY4" fmla="*/ 577752 h 577752"/>
              <a:gd name="connsiteX5" fmla="*/ 4729089 w 5369645"/>
              <a:gd name="connsiteY5" fmla="*/ 577752 h 577752"/>
              <a:gd name="connsiteX6" fmla="*/ 4629830 w 5369645"/>
              <a:gd name="connsiteY6" fmla="*/ 577752 h 577752"/>
              <a:gd name="connsiteX7" fmla="*/ 0 w 5369645"/>
              <a:gd name="connsiteY7" fmla="*/ 577752 h 577752"/>
              <a:gd name="connsiteX8" fmla="*/ 44766 w 5369645"/>
              <a:gd name="connsiteY8" fmla="*/ 540875 h 577752"/>
              <a:gd name="connsiteX9" fmla="*/ 149312 w 5369645"/>
              <a:gd name="connsiteY9" fmla="*/ 288876 h 577752"/>
              <a:gd name="connsiteX10" fmla="*/ 44766 w 5369645"/>
              <a:gd name="connsiteY10" fmla="*/ 36878 h 57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369645" h="577752">
                <a:moveTo>
                  <a:pt x="0" y="0"/>
                </a:moveTo>
                <a:lnTo>
                  <a:pt x="4629830" y="0"/>
                </a:lnTo>
                <a:lnTo>
                  <a:pt x="4729089" y="0"/>
                </a:lnTo>
                <a:lnTo>
                  <a:pt x="5369645" y="0"/>
                </a:lnTo>
                <a:lnTo>
                  <a:pt x="5369645" y="577752"/>
                </a:lnTo>
                <a:lnTo>
                  <a:pt x="4729089" y="577752"/>
                </a:lnTo>
                <a:lnTo>
                  <a:pt x="4629830" y="577752"/>
                </a:lnTo>
                <a:lnTo>
                  <a:pt x="0" y="577752"/>
                </a:lnTo>
                <a:lnTo>
                  <a:pt x="44766" y="540875"/>
                </a:lnTo>
                <a:cubicBezTo>
                  <a:pt x="109360" y="476383"/>
                  <a:pt x="149312" y="387288"/>
                  <a:pt x="149312" y="288876"/>
                </a:cubicBezTo>
                <a:cubicBezTo>
                  <a:pt x="149312" y="190465"/>
                  <a:pt x="109360" y="101370"/>
                  <a:pt x="44766" y="36878"/>
                </a:cubicBezTo>
                <a:close/>
              </a:path>
            </a:pathLst>
          </a:custGeom>
          <a:gradFill>
            <a:gsLst>
              <a:gs pos="0">
                <a:schemeClr val="accent1">
                  <a:alpha val="47000"/>
                </a:schemeClr>
              </a:gs>
              <a:gs pos="100000">
                <a:srgbClr val="9477E2">
                  <a:alpha val="0"/>
                </a:srgbClr>
              </a:gs>
            </a:gsLst>
            <a:lin ang="2700006" scaled="0"/>
          </a:gradFill>
          <a:ln>
            <a:noFill/>
          </a:ln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algn="ctr" defTabSz="609585">
              <a:buClrTx/>
            </a:pPr>
            <a:endParaRPr sz="1100" kern="1200">
              <a:solidFill>
                <a:schemeClr val="bg1"/>
              </a:solidFill>
              <a:latin typeface="Helvetica" panose="020B0604020202020204" pitchFamily="34" charset="0"/>
              <a:ea typeface="Calibri"/>
              <a:sym typeface="Calibri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F9CF7460-84C5-C239-CDC0-2C03154D22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1142320" y="1702408"/>
            <a:ext cx="5369645" cy="577752"/>
          </a:xfrm>
          <a:custGeom>
            <a:avLst/>
            <a:gdLst>
              <a:gd name="connsiteX0" fmla="*/ 0 w 5369645"/>
              <a:gd name="connsiteY0" fmla="*/ 0 h 577752"/>
              <a:gd name="connsiteX1" fmla="*/ 4629830 w 5369645"/>
              <a:gd name="connsiteY1" fmla="*/ 0 h 577752"/>
              <a:gd name="connsiteX2" fmla="*/ 4729089 w 5369645"/>
              <a:gd name="connsiteY2" fmla="*/ 0 h 577752"/>
              <a:gd name="connsiteX3" fmla="*/ 5369645 w 5369645"/>
              <a:gd name="connsiteY3" fmla="*/ 0 h 577752"/>
              <a:gd name="connsiteX4" fmla="*/ 5369645 w 5369645"/>
              <a:gd name="connsiteY4" fmla="*/ 577752 h 577752"/>
              <a:gd name="connsiteX5" fmla="*/ 4729089 w 5369645"/>
              <a:gd name="connsiteY5" fmla="*/ 577752 h 577752"/>
              <a:gd name="connsiteX6" fmla="*/ 4629830 w 5369645"/>
              <a:gd name="connsiteY6" fmla="*/ 577752 h 577752"/>
              <a:gd name="connsiteX7" fmla="*/ 0 w 5369645"/>
              <a:gd name="connsiteY7" fmla="*/ 577752 h 577752"/>
              <a:gd name="connsiteX8" fmla="*/ 44766 w 5369645"/>
              <a:gd name="connsiteY8" fmla="*/ 540875 h 577752"/>
              <a:gd name="connsiteX9" fmla="*/ 149312 w 5369645"/>
              <a:gd name="connsiteY9" fmla="*/ 288876 h 577752"/>
              <a:gd name="connsiteX10" fmla="*/ 44766 w 5369645"/>
              <a:gd name="connsiteY10" fmla="*/ 36877 h 57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369645" h="577752">
                <a:moveTo>
                  <a:pt x="0" y="0"/>
                </a:moveTo>
                <a:lnTo>
                  <a:pt x="4629830" y="0"/>
                </a:lnTo>
                <a:lnTo>
                  <a:pt x="4729089" y="0"/>
                </a:lnTo>
                <a:lnTo>
                  <a:pt x="5369645" y="0"/>
                </a:lnTo>
                <a:lnTo>
                  <a:pt x="5369645" y="577752"/>
                </a:lnTo>
                <a:lnTo>
                  <a:pt x="4729089" y="577752"/>
                </a:lnTo>
                <a:lnTo>
                  <a:pt x="4629830" y="577752"/>
                </a:lnTo>
                <a:lnTo>
                  <a:pt x="0" y="577752"/>
                </a:lnTo>
                <a:lnTo>
                  <a:pt x="44766" y="540875"/>
                </a:lnTo>
                <a:cubicBezTo>
                  <a:pt x="109360" y="476383"/>
                  <a:pt x="149312" y="387288"/>
                  <a:pt x="149312" y="288876"/>
                </a:cubicBezTo>
                <a:cubicBezTo>
                  <a:pt x="149312" y="190465"/>
                  <a:pt x="109360" y="101370"/>
                  <a:pt x="44766" y="36877"/>
                </a:cubicBezTo>
                <a:close/>
              </a:path>
            </a:pathLst>
          </a:custGeom>
          <a:gradFill>
            <a:gsLst>
              <a:gs pos="0">
                <a:srgbClr val="1F9CF0">
                  <a:alpha val="47000"/>
                </a:srgbClr>
              </a:gs>
              <a:gs pos="100000">
                <a:srgbClr val="9477E2">
                  <a:alpha val="0"/>
                </a:srgbClr>
              </a:gs>
            </a:gsLst>
            <a:lin ang="2700006" scaled="0"/>
          </a:gradFill>
          <a:ln>
            <a:noFill/>
          </a:ln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Calibri"/>
              <a:cs typeface="Helvetica" panose="020B0604020202020204" pitchFamily="34" charset="0"/>
              <a:sym typeface="Calibri"/>
            </a:endParaRPr>
          </a:p>
        </p:txBody>
      </p:sp>
      <p:sp>
        <p:nvSpPr>
          <p:cNvPr id="15" name="Google Shape;166;p20_1">
            <a:extLst>
              <a:ext uri="{FF2B5EF4-FFF2-40B4-BE49-F238E27FC236}">
                <a16:creationId xmlns:a16="http://schemas.microsoft.com/office/drawing/2014/main" id="{A2BEA9E2-B32B-8702-73B7-B730D2C3E4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609600" y="1666710"/>
            <a:ext cx="650176" cy="649148"/>
          </a:xfrm>
          <a:prstGeom prst="ellipse">
            <a:avLst/>
          </a:prstGeom>
          <a:solidFill>
            <a:srgbClr val="1F9CF0">
              <a:alpha val="30980"/>
            </a:srgbClr>
          </a:solidFill>
          <a:ln>
            <a:noFill/>
          </a:ln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algn="ctr" defTabSz="609585">
              <a:buClrTx/>
            </a:pPr>
            <a:endParaRPr sz="800" kern="1200">
              <a:solidFill>
                <a:schemeClr val="bg1"/>
              </a:solidFill>
              <a:latin typeface="Helvetica" panose="020B0604020202020204" pitchFamily="34" charset="0"/>
              <a:ea typeface="Calibri"/>
              <a:sym typeface="Calibri"/>
            </a:endParaRPr>
          </a:p>
        </p:txBody>
      </p:sp>
      <p:sp>
        <p:nvSpPr>
          <p:cNvPr id="16" name="Google Shape;171;p20_1">
            <a:extLst>
              <a:ext uri="{FF2B5EF4-FFF2-40B4-BE49-F238E27FC236}">
                <a16:creationId xmlns:a16="http://schemas.microsoft.com/office/drawing/2014/main" id="{AE9870C5-7E6C-83EE-DE16-44AA659B13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09601" y="2449431"/>
            <a:ext cx="650176" cy="649148"/>
          </a:xfrm>
          <a:prstGeom prst="ellipse">
            <a:avLst/>
          </a:prstGeom>
          <a:solidFill>
            <a:srgbClr val="9477E2">
              <a:alpha val="31000"/>
            </a:srgbClr>
          </a:solidFill>
          <a:ln>
            <a:noFill/>
          </a:ln>
          <a:effectLst>
            <a:outerShdw blurRad="889000" dist="50800" dir="5400000" sx="89000" sy="89000" algn="ctr" rotWithShape="0">
              <a:srgbClr val="000000">
                <a:alpha val="48630"/>
              </a:srgbClr>
            </a:outerShdw>
          </a:effectLst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Calibri"/>
              <a:cs typeface="Helvetica" panose="020B0604020202020204" pitchFamily="34" charset="0"/>
              <a:sym typeface="Calibri"/>
            </a:endParaRPr>
          </a:p>
        </p:txBody>
      </p:sp>
      <p:sp>
        <p:nvSpPr>
          <p:cNvPr id="17" name="Google Shape;175;p20_1">
            <a:extLst>
              <a:ext uri="{FF2B5EF4-FFF2-40B4-BE49-F238E27FC236}">
                <a16:creationId xmlns:a16="http://schemas.microsoft.com/office/drawing/2014/main" id="{494249FD-03C7-66DC-F867-DB7D0830E1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609601" y="3232150"/>
            <a:ext cx="650176" cy="649148"/>
          </a:xfrm>
          <a:prstGeom prst="ellipse">
            <a:avLst/>
          </a:prstGeom>
          <a:solidFill>
            <a:schemeClr val="accent1">
              <a:alpha val="31000"/>
            </a:schemeClr>
          </a:solidFill>
          <a:ln>
            <a:noFill/>
          </a:ln>
          <a:effectLst>
            <a:outerShdw blurRad="889000" dist="50800" dir="5400000" sx="89000" sy="89000" algn="ctr" rotWithShape="0">
              <a:srgbClr val="000000">
                <a:alpha val="48630"/>
              </a:srgbClr>
            </a:outerShdw>
          </a:effectLst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Calibri"/>
              <a:cs typeface="Helvetica" panose="020B0604020202020204" pitchFamily="34" charset="0"/>
              <a:sym typeface="Calibri"/>
            </a:endParaRPr>
          </a:p>
        </p:txBody>
      </p:sp>
      <p:sp>
        <p:nvSpPr>
          <p:cNvPr id="18" name="Google Shape;166;p20">
            <a:extLst>
              <a:ext uri="{FF2B5EF4-FFF2-40B4-BE49-F238E27FC236}">
                <a16:creationId xmlns:a16="http://schemas.microsoft.com/office/drawing/2014/main" id="{C13C62E4-F132-95C2-A77B-063EF50B29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644338" y="1701393"/>
            <a:ext cx="580700" cy="579782"/>
          </a:xfrm>
          <a:prstGeom prst="ellipse">
            <a:avLst/>
          </a:prstGeom>
          <a:solidFill>
            <a:srgbClr val="1F9CF0">
              <a:alpha val="56860"/>
            </a:srgbClr>
          </a:solidFill>
          <a:ln>
            <a:noFill/>
          </a:ln>
          <a:effectLst>
            <a:outerShdw blurRad="889000" dist="50800" dir="5400000" sx="89000" sy="89000" algn="ctr" rotWithShape="0">
              <a:srgbClr val="000000">
                <a:alpha val="48630"/>
              </a:srgbClr>
            </a:outerShdw>
          </a:effectLst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Calibri"/>
              <a:cs typeface="Helvetica" panose="020B0604020202020204" pitchFamily="34" charset="0"/>
              <a:sym typeface="Calibri"/>
            </a:endParaRPr>
          </a:p>
        </p:txBody>
      </p:sp>
      <p:sp>
        <p:nvSpPr>
          <p:cNvPr id="19" name="Google Shape;171;p20">
            <a:extLst>
              <a:ext uri="{FF2B5EF4-FFF2-40B4-BE49-F238E27FC236}">
                <a16:creationId xmlns:a16="http://schemas.microsoft.com/office/drawing/2014/main" id="{85554DFA-F125-78F0-7C3F-2867484050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44339" y="2484114"/>
            <a:ext cx="580700" cy="579782"/>
          </a:xfrm>
          <a:prstGeom prst="ellipse">
            <a:avLst/>
          </a:prstGeom>
          <a:solidFill>
            <a:srgbClr val="9477E2">
              <a:alpha val="56860"/>
            </a:srgbClr>
          </a:solidFill>
          <a:ln>
            <a:noFill/>
          </a:ln>
          <a:effectLst>
            <a:outerShdw blurRad="889000" dist="50800" dir="5400000" sx="89000" sy="89000" algn="ctr" rotWithShape="0">
              <a:srgbClr val="000000">
                <a:alpha val="48630"/>
              </a:srgbClr>
            </a:outerShdw>
          </a:effectLst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Calibri"/>
              <a:cs typeface="Helvetica" panose="020B0604020202020204" pitchFamily="34" charset="0"/>
              <a:sym typeface="Calibri"/>
            </a:endParaRPr>
          </a:p>
        </p:txBody>
      </p:sp>
      <p:sp>
        <p:nvSpPr>
          <p:cNvPr id="20" name="Google Shape;175;p20">
            <a:extLst>
              <a:ext uri="{FF2B5EF4-FFF2-40B4-BE49-F238E27FC236}">
                <a16:creationId xmlns:a16="http://schemas.microsoft.com/office/drawing/2014/main" id="{3D3E44FF-9BAE-170B-31FE-0A518AE200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644339" y="3266833"/>
            <a:ext cx="580700" cy="579782"/>
          </a:xfrm>
          <a:prstGeom prst="ellipse">
            <a:avLst/>
          </a:prstGeom>
          <a:solidFill>
            <a:schemeClr val="accent1">
              <a:alpha val="56860"/>
            </a:schemeClr>
          </a:solidFill>
          <a:ln>
            <a:noFill/>
          </a:ln>
          <a:effectLst>
            <a:outerShdw blurRad="889000" dist="50800" dir="5400000" sx="89000" sy="89000" algn="ctr" rotWithShape="0">
              <a:srgbClr val="000000">
                <a:alpha val="48630"/>
              </a:srgbClr>
            </a:outerShdw>
          </a:effectLst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Calibri"/>
              <a:cs typeface="Helvetica" panose="020B0604020202020204" pitchFamily="34" charset="0"/>
              <a:sym typeface="Calibri"/>
            </a:endParaRP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DF55BDA1-2617-40E2-2D58-6FCE7BF736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0532" y="1827127"/>
            <a:ext cx="328312" cy="328312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6161B588-5082-530C-5408-CA7510AB56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0640" y="2609848"/>
            <a:ext cx="328312" cy="328312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D7E91DAF-77AB-D013-EA36-4E753433C8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0640" y="3392567"/>
            <a:ext cx="328312" cy="328312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F59DD05-9A4B-5549-1DC7-D079B16231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09601" y="333551"/>
            <a:ext cx="1443227" cy="0"/>
          </a:xfrm>
          <a:prstGeom prst="line">
            <a:avLst/>
          </a:prstGeom>
          <a:noFill/>
          <a:ln w="12700" cap="flat" cmpd="sng" algn="ctr">
            <a:solidFill>
              <a:srgbClr val="627597"/>
            </a:solidFill>
            <a:prstDash val="solid"/>
            <a:miter lim="800000"/>
          </a:ln>
          <a:effectLst/>
        </p:spPr>
      </p:cxnSp>
      <p:sp>
        <p:nvSpPr>
          <p:cNvPr id="4349" name="Google Shape;4349;p388"/>
          <p:cNvSpPr txBox="1">
            <a:spLocks noGrp="1"/>
          </p:cNvSpPr>
          <p:nvPr>
            <p:ph type="title"/>
          </p:nvPr>
        </p:nvSpPr>
        <p:spPr>
          <a:xfrm>
            <a:off x="609600" y="401638"/>
            <a:ext cx="7924800" cy="941796"/>
          </a:xfrm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US" dirty="0">
                <a:solidFill>
                  <a:schemeClr val="accent1"/>
                </a:solidFill>
              </a:rPr>
              <a:t>Write </a:t>
            </a:r>
            <a:r>
              <a:rPr lang="en-US" dirty="0" err="1">
                <a:solidFill>
                  <a:schemeClr val="accent1"/>
                </a:solidFill>
              </a:rPr>
              <a:t>RegEx</a:t>
            </a:r>
            <a:r>
              <a:rPr lang="en-US" dirty="0"/>
              <a:t> with</a:t>
            </a:r>
            <a:br>
              <a:rPr lang="en-US" dirty="0"/>
            </a:br>
            <a:r>
              <a:rPr lang="en-US" dirty="0"/>
              <a:t>contextual conversations</a:t>
            </a:r>
          </a:p>
        </p:txBody>
      </p:sp>
      <p:sp>
        <p:nvSpPr>
          <p:cNvPr id="4" name="Google Shape;2742;p299">
            <a:extLst>
              <a:ext uri="{FF2B5EF4-FFF2-40B4-BE49-F238E27FC236}">
                <a16:creationId xmlns:a16="http://schemas.microsoft.com/office/drawing/2014/main" id="{BDF75057-E0D0-6F6A-7682-954F1A855D4E}"/>
              </a:ext>
            </a:extLst>
          </p:cNvPr>
          <p:cNvSpPr txBox="1">
            <a:spLocks/>
          </p:cNvSpPr>
          <p:nvPr/>
        </p:nvSpPr>
        <p:spPr>
          <a:xfrm>
            <a:off x="609702" y="127466"/>
            <a:ext cx="2653563" cy="169277"/>
          </a:xfrm>
          <a:prstGeom prst="rect">
            <a:avLst/>
          </a:prstGeom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Helvetica" pitchFamily="2" charset="0"/>
                <a:ea typeface="Helvetica" pitchFamily="2" charset="0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  <a:latin typeface="+mn-lt"/>
                <a:cs typeface="Helvetica" panose="020B0604020202020204" pitchFamily="34" charset="0"/>
              </a:rPr>
              <a:t>GitHub Copilot / </a:t>
            </a:r>
            <a:r>
              <a:rPr lang="en-US" sz="1100" dirty="0" err="1">
                <a:solidFill>
                  <a:schemeClr val="accent2"/>
                </a:solidFill>
                <a:latin typeface="+mn-lt"/>
              </a:rPr>
              <a:t>RegEx</a:t>
            </a:r>
            <a:endParaRPr lang="en-IN" sz="1100" dirty="0">
              <a:solidFill>
                <a:schemeClr val="accent2"/>
              </a:solidFill>
              <a:latin typeface="+mn-lt"/>
              <a:sym typeface="Roboto Mono Medium"/>
            </a:endParaRPr>
          </a:p>
        </p:txBody>
      </p:sp>
      <p:sp>
        <p:nvSpPr>
          <p:cNvPr id="22" name="TextBox 5">
            <a:extLst>
              <a:ext uri="{FF2B5EF4-FFF2-40B4-BE49-F238E27FC236}">
                <a16:creationId xmlns:a16="http://schemas.microsoft.com/office/drawing/2014/main" id="{32AD5E2B-C181-76FC-B891-62A0D61216BA}"/>
              </a:ext>
            </a:extLst>
          </p:cNvPr>
          <p:cNvSpPr txBox="1">
            <a:spLocks/>
          </p:cNvSpPr>
          <p:nvPr/>
        </p:nvSpPr>
        <p:spPr>
          <a:xfrm>
            <a:off x="1443120" y="1868174"/>
            <a:ext cx="482451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 defTabSz="914377">
              <a:buClrTx/>
              <a:buFont typeface="Arial"/>
              <a:buNone/>
              <a:defRPr/>
            </a:pPr>
            <a:r>
              <a:rPr lang="en-IN" sz="1600" dirty="0">
                <a:solidFill>
                  <a:schemeClr val="bg1"/>
                </a:solidFill>
                <a:sym typeface="Inter"/>
              </a:rPr>
              <a:t>Create context specific regex</a:t>
            </a:r>
          </a:p>
        </p:txBody>
      </p:sp>
      <p:sp>
        <p:nvSpPr>
          <p:cNvPr id="24" name="TextBox 5">
            <a:extLst>
              <a:ext uri="{FF2B5EF4-FFF2-40B4-BE49-F238E27FC236}">
                <a16:creationId xmlns:a16="http://schemas.microsoft.com/office/drawing/2014/main" id="{A02275A3-43F4-C1B0-FA0F-119DD5E7E4BC}"/>
              </a:ext>
            </a:extLst>
          </p:cNvPr>
          <p:cNvSpPr txBox="1">
            <a:spLocks/>
          </p:cNvSpPr>
          <p:nvPr/>
        </p:nvSpPr>
        <p:spPr>
          <a:xfrm>
            <a:off x="1443120" y="2650894"/>
            <a:ext cx="482451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 defTabSz="914377">
              <a:buClrTx/>
              <a:buFont typeface="Arial"/>
              <a:buNone/>
              <a:defRPr/>
            </a:pPr>
            <a:r>
              <a:rPr lang="en-US" sz="1600" dirty="0">
                <a:solidFill>
                  <a:schemeClr val="bg1"/>
                </a:solidFill>
                <a:sym typeface="Inter"/>
              </a:rPr>
              <a:t>Regex from example</a:t>
            </a:r>
          </a:p>
        </p:txBody>
      </p:sp>
      <p:sp>
        <p:nvSpPr>
          <p:cNvPr id="26" name="TextBox 5">
            <a:extLst>
              <a:ext uri="{FF2B5EF4-FFF2-40B4-BE49-F238E27FC236}">
                <a16:creationId xmlns:a16="http://schemas.microsoft.com/office/drawing/2014/main" id="{D6276BF8-536D-BB9A-9035-0ED08023CB94}"/>
              </a:ext>
            </a:extLst>
          </p:cNvPr>
          <p:cNvSpPr txBox="1">
            <a:spLocks/>
          </p:cNvSpPr>
          <p:nvPr/>
        </p:nvSpPr>
        <p:spPr>
          <a:xfrm>
            <a:off x="1443120" y="3433614"/>
            <a:ext cx="482451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 defTabSz="914377">
              <a:buClrTx/>
              <a:buFont typeface="Arial"/>
              <a:buNone/>
              <a:defRPr/>
            </a:pPr>
            <a:r>
              <a:rPr lang="en-US" sz="1600" dirty="0">
                <a:solidFill>
                  <a:schemeClr val="bg1"/>
                </a:solidFill>
                <a:sym typeface="Inter"/>
              </a:rPr>
              <a:t>Regex from reference</a:t>
            </a:r>
          </a:p>
        </p:txBody>
      </p:sp>
    </p:spTree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oogle Shape;427;p33">
            <a:extLst>
              <a:ext uri="{FF2B5EF4-FFF2-40B4-BE49-F238E27FC236}">
                <a16:creationId xmlns:a16="http://schemas.microsoft.com/office/drawing/2014/main" id="{3CE1E5E7-6F6C-7E95-1B3A-C1840A26F2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3">
            <a:alphaModFix amt="23000"/>
          </a:blip>
          <a:srcRect r="33453" b="13524"/>
          <a:stretch/>
        </p:blipFill>
        <p:spPr>
          <a:xfrm>
            <a:off x="4878193" y="3"/>
            <a:ext cx="4265812" cy="5143497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Google Shape;525;p35">
            <a:extLst>
              <a:ext uri="{FF2B5EF4-FFF2-40B4-BE49-F238E27FC236}">
                <a16:creationId xmlns:a16="http://schemas.microsoft.com/office/drawing/2014/main" id="{6AE59FF4-253A-1B56-537E-53BC36F0B8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0800000">
            <a:off x="407925" y="524"/>
            <a:ext cx="73200" cy="1466325"/>
          </a:xfrm>
          <a:prstGeom prst="rect">
            <a:avLst/>
          </a:prstGeom>
          <a:gradFill>
            <a:gsLst>
              <a:gs pos="0">
                <a:srgbClr val="D59DFF"/>
              </a:gs>
              <a:gs pos="100000">
                <a:srgbClr val="28AFEA"/>
              </a:gs>
            </a:gsLst>
            <a:lin ang="5400012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0" i="0">
              <a:latin typeface="Helvetica" pitchFamily="2" charset="0"/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8CE9DEE-B08B-6346-32D1-6614DC260B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" y="4380580"/>
            <a:ext cx="541303" cy="762921"/>
          </a:xfrm>
          <a:custGeom>
            <a:avLst/>
            <a:gdLst>
              <a:gd name="connsiteX0" fmla="*/ 0 w 541303"/>
              <a:gd name="connsiteY0" fmla="*/ 0 h 762921"/>
              <a:gd name="connsiteX1" fmla="*/ 16117 w 541303"/>
              <a:gd name="connsiteY1" fmla="*/ 1622 h 762921"/>
              <a:gd name="connsiteX2" fmla="*/ 541303 w 541303"/>
              <a:gd name="connsiteY2" fmla="*/ 645044 h 762921"/>
              <a:gd name="connsiteX3" fmla="*/ 529402 w 541303"/>
              <a:gd name="connsiteY3" fmla="*/ 762921 h 762921"/>
              <a:gd name="connsiteX4" fmla="*/ 0 w 541303"/>
              <a:gd name="connsiteY4" fmla="*/ 762921 h 762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1303" h="762921">
                <a:moveTo>
                  <a:pt x="0" y="0"/>
                </a:moveTo>
                <a:lnTo>
                  <a:pt x="16117" y="1622"/>
                </a:lnTo>
                <a:cubicBezTo>
                  <a:pt x="315840" y="62863"/>
                  <a:pt x="541303" y="327663"/>
                  <a:pt x="541303" y="645044"/>
                </a:cubicBezTo>
                <a:lnTo>
                  <a:pt x="529402" y="762921"/>
                </a:lnTo>
                <a:lnTo>
                  <a:pt x="0" y="762921"/>
                </a:lnTo>
                <a:close/>
              </a:path>
            </a:pathLst>
          </a:custGeom>
          <a:gradFill>
            <a:gsLst>
              <a:gs pos="0">
                <a:srgbClr val="8661C5"/>
              </a:gs>
              <a:gs pos="100000">
                <a:srgbClr val="161828">
                  <a:alpha val="74901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spcFirstLastPara="1" wrap="square" lIns="42900" tIns="21450" rIns="42900" bIns="214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 b="0" i="0">
              <a:solidFill>
                <a:schemeClr val="lt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002A781-8FD0-5532-2DC5-9D51370229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09601" y="333551"/>
            <a:ext cx="1740407" cy="0"/>
          </a:xfrm>
          <a:prstGeom prst="line">
            <a:avLst/>
          </a:prstGeom>
          <a:noFill/>
          <a:ln w="12700" cap="flat" cmpd="sng" algn="ctr">
            <a:solidFill>
              <a:srgbClr val="627597"/>
            </a:solidFill>
            <a:prstDash val="solid"/>
            <a:miter lim="800000"/>
          </a:ln>
          <a:effectLst/>
        </p:spPr>
      </p:cxn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0C98D10-91C6-304F-A9CE-D4B978A1E8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1142320" y="2485128"/>
            <a:ext cx="5369645" cy="577752"/>
          </a:xfrm>
          <a:custGeom>
            <a:avLst/>
            <a:gdLst>
              <a:gd name="connsiteX0" fmla="*/ 0 w 5369645"/>
              <a:gd name="connsiteY0" fmla="*/ 0 h 577752"/>
              <a:gd name="connsiteX1" fmla="*/ 4629830 w 5369645"/>
              <a:gd name="connsiteY1" fmla="*/ 0 h 577752"/>
              <a:gd name="connsiteX2" fmla="*/ 4729089 w 5369645"/>
              <a:gd name="connsiteY2" fmla="*/ 0 h 577752"/>
              <a:gd name="connsiteX3" fmla="*/ 5369645 w 5369645"/>
              <a:gd name="connsiteY3" fmla="*/ 0 h 577752"/>
              <a:gd name="connsiteX4" fmla="*/ 5369645 w 5369645"/>
              <a:gd name="connsiteY4" fmla="*/ 577752 h 577752"/>
              <a:gd name="connsiteX5" fmla="*/ 4729089 w 5369645"/>
              <a:gd name="connsiteY5" fmla="*/ 577752 h 577752"/>
              <a:gd name="connsiteX6" fmla="*/ 4629830 w 5369645"/>
              <a:gd name="connsiteY6" fmla="*/ 577752 h 577752"/>
              <a:gd name="connsiteX7" fmla="*/ 0 w 5369645"/>
              <a:gd name="connsiteY7" fmla="*/ 577752 h 577752"/>
              <a:gd name="connsiteX8" fmla="*/ 44766 w 5369645"/>
              <a:gd name="connsiteY8" fmla="*/ 540875 h 577752"/>
              <a:gd name="connsiteX9" fmla="*/ 149312 w 5369645"/>
              <a:gd name="connsiteY9" fmla="*/ 288876 h 577752"/>
              <a:gd name="connsiteX10" fmla="*/ 44766 w 5369645"/>
              <a:gd name="connsiteY10" fmla="*/ 36878 h 57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369645" h="577752">
                <a:moveTo>
                  <a:pt x="0" y="0"/>
                </a:moveTo>
                <a:lnTo>
                  <a:pt x="4629830" y="0"/>
                </a:lnTo>
                <a:lnTo>
                  <a:pt x="4729089" y="0"/>
                </a:lnTo>
                <a:lnTo>
                  <a:pt x="5369645" y="0"/>
                </a:lnTo>
                <a:lnTo>
                  <a:pt x="5369645" y="577752"/>
                </a:lnTo>
                <a:lnTo>
                  <a:pt x="4729089" y="577752"/>
                </a:lnTo>
                <a:lnTo>
                  <a:pt x="4629830" y="577752"/>
                </a:lnTo>
                <a:lnTo>
                  <a:pt x="0" y="577752"/>
                </a:lnTo>
                <a:lnTo>
                  <a:pt x="44766" y="540875"/>
                </a:lnTo>
                <a:cubicBezTo>
                  <a:pt x="109360" y="476383"/>
                  <a:pt x="149312" y="387288"/>
                  <a:pt x="149312" y="288876"/>
                </a:cubicBezTo>
                <a:cubicBezTo>
                  <a:pt x="149312" y="190465"/>
                  <a:pt x="109360" y="101370"/>
                  <a:pt x="44766" y="36878"/>
                </a:cubicBezTo>
                <a:close/>
              </a:path>
            </a:pathLst>
          </a:custGeom>
          <a:gradFill>
            <a:gsLst>
              <a:gs pos="0">
                <a:srgbClr val="6A37C7">
                  <a:alpha val="47000"/>
                </a:srgbClr>
              </a:gs>
              <a:gs pos="100000">
                <a:srgbClr val="9477E2">
                  <a:alpha val="0"/>
                </a:srgbClr>
              </a:gs>
            </a:gsLst>
            <a:lin ang="2700006" scaled="0"/>
          </a:gradFill>
          <a:ln>
            <a:noFill/>
          </a:ln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algn="ctr" defTabSz="609585">
              <a:buClrTx/>
            </a:pPr>
            <a:endParaRPr sz="1100" kern="1200">
              <a:solidFill>
                <a:schemeClr val="bg1"/>
              </a:solidFill>
              <a:latin typeface="Helvetica" panose="020B0604020202020204" pitchFamily="34" charset="0"/>
              <a:ea typeface="Calibri"/>
              <a:sym typeface="Calibri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35245819-17BF-1502-962C-868E13F13D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1142320" y="1702408"/>
            <a:ext cx="5369645" cy="577752"/>
          </a:xfrm>
          <a:custGeom>
            <a:avLst/>
            <a:gdLst>
              <a:gd name="connsiteX0" fmla="*/ 0 w 5369645"/>
              <a:gd name="connsiteY0" fmla="*/ 0 h 577752"/>
              <a:gd name="connsiteX1" fmla="*/ 4629830 w 5369645"/>
              <a:gd name="connsiteY1" fmla="*/ 0 h 577752"/>
              <a:gd name="connsiteX2" fmla="*/ 4729089 w 5369645"/>
              <a:gd name="connsiteY2" fmla="*/ 0 h 577752"/>
              <a:gd name="connsiteX3" fmla="*/ 5369645 w 5369645"/>
              <a:gd name="connsiteY3" fmla="*/ 0 h 577752"/>
              <a:gd name="connsiteX4" fmla="*/ 5369645 w 5369645"/>
              <a:gd name="connsiteY4" fmla="*/ 577752 h 577752"/>
              <a:gd name="connsiteX5" fmla="*/ 4729089 w 5369645"/>
              <a:gd name="connsiteY5" fmla="*/ 577752 h 577752"/>
              <a:gd name="connsiteX6" fmla="*/ 4629830 w 5369645"/>
              <a:gd name="connsiteY6" fmla="*/ 577752 h 577752"/>
              <a:gd name="connsiteX7" fmla="*/ 0 w 5369645"/>
              <a:gd name="connsiteY7" fmla="*/ 577752 h 577752"/>
              <a:gd name="connsiteX8" fmla="*/ 44766 w 5369645"/>
              <a:gd name="connsiteY8" fmla="*/ 540875 h 577752"/>
              <a:gd name="connsiteX9" fmla="*/ 149312 w 5369645"/>
              <a:gd name="connsiteY9" fmla="*/ 288876 h 577752"/>
              <a:gd name="connsiteX10" fmla="*/ 44766 w 5369645"/>
              <a:gd name="connsiteY10" fmla="*/ 36877 h 57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369645" h="577752">
                <a:moveTo>
                  <a:pt x="0" y="0"/>
                </a:moveTo>
                <a:lnTo>
                  <a:pt x="4629830" y="0"/>
                </a:lnTo>
                <a:lnTo>
                  <a:pt x="4729089" y="0"/>
                </a:lnTo>
                <a:lnTo>
                  <a:pt x="5369645" y="0"/>
                </a:lnTo>
                <a:lnTo>
                  <a:pt x="5369645" y="577752"/>
                </a:lnTo>
                <a:lnTo>
                  <a:pt x="4729089" y="577752"/>
                </a:lnTo>
                <a:lnTo>
                  <a:pt x="4629830" y="577752"/>
                </a:lnTo>
                <a:lnTo>
                  <a:pt x="0" y="577752"/>
                </a:lnTo>
                <a:lnTo>
                  <a:pt x="44766" y="540875"/>
                </a:lnTo>
                <a:cubicBezTo>
                  <a:pt x="109360" y="476383"/>
                  <a:pt x="149312" y="387288"/>
                  <a:pt x="149312" y="288876"/>
                </a:cubicBezTo>
                <a:cubicBezTo>
                  <a:pt x="149312" y="190465"/>
                  <a:pt x="109360" y="101370"/>
                  <a:pt x="44766" y="36877"/>
                </a:cubicBezTo>
                <a:close/>
              </a:path>
            </a:pathLst>
          </a:custGeom>
          <a:gradFill>
            <a:gsLst>
              <a:gs pos="0">
                <a:srgbClr val="1F9CF0">
                  <a:alpha val="47000"/>
                </a:srgbClr>
              </a:gs>
              <a:gs pos="100000">
                <a:srgbClr val="9477E2">
                  <a:alpha val="0"/>
                </a:srgbClr>
              </a:gs>
            </a:gsLst>
            <a:lin ang="2700006" scaled="0"/>
          </a:gradFill>
          <a:ln>
            <a:noFill/>
          </a:ln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Calibri"/>
              <a:cs typeface="Helvetica" panose="020B0604020202020204" pitchFamily="34" charset="0"/>
              <a:sym typeface="Calibri"/>
            </a:endParaRPr>
          </a:p>
        </p:txBody>
      </p:sp>
      <p:sp>
        <p:nvSpPr>
          <p:cNvPr id="14" name="Google Shape;166;p20_1">
            <a:extLst>
              <a:ext uri="{FF2B5EF4-FFF2-40B4-BE49-F238E27FC236}">
                <a16:creationId xmlns:a16="http://schemas.microsoft.com/office/drawing/2014/main" id="{B2985FD6-9DF1-418D-D8F1-E25ED89C46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609600" y="1666710"/>
            <a:ext cx="650176" cy="649148"/>
          </a:xfrm>
          <a:prstGeom prst="ellipse">
            <a:avLst/>
          </a:prstGeom>
          <a:solidFill>
            <a:srgbClr val="1F9CF0">
              <a:alpha val="30980"/>
            </a:srgbClr>
          </a:solidFill>
          <a:ln>
            <a:noFill/>
          </a:ln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algn="ctr" defTabSz="609585">
              <a:buClrTx/>
            </a:pPr>
            <a:endParaRPr sz="800" kern="1200">
              <a:solidFill>
                <a:schemeClr val="bg1"/>
              </a:solidFill>
              <a:latin typeface="Helvetica" panose="020B0604020202020204" pitchFamily="34" charset="0"/>
              <a:ea typeface="Calibri"/>
              <a:sym typeface="Calibri"/>
            </a:endParaRPr>
          </a:p>
        </p:txBody>
      </p:sp>
      <p:sp>
        <p:nvSpPr>
          <p:cNvPr id="15" name="Google Shape;171;p20_1">
            <a:extLst>
              <a:ext uri="{FF2B5EF4-FFF2-40B4-BE49-F238E27FC236}">
                <a16:creationId xmlns:a16="http://schemas.microsoft.com/office/drawing/2014/main" id="{582FC1B1-C1E9-6E6D-8A6B-7D08BEB9D4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09601" y="2449431"/>
            <a:ext cx="650176" cy="649148"/>
          </a:xfrm>
          <a:prstGeom prst="ellipse">
            <a:avLst/>
          </a:prstGeom>
          <a:solidFill>
            <a:srgbClr val="9477E2">
              <a:alpha val="31000"/>
            </a:srgbClr>
          </a:solidFill>
          <a:ln>
            <a:noFill/>
          </a:ln>
          <a:effectLst>
            <a:outerShdw blurRad="889000" dist="50800" dir="5400000" sx="89000" sy="89000" algn="ctr" rotWithShape="0">
              <a:srgbClr val="000000">
                <a:alpha val="48630"/>
              </a:srgbClr>
            </a:outerShdw>
          </a:effectLst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Calibri"/>
              <a:cs typeface="Helvetica" panose="020B0604020202020204" pitchFamily="34" charset="0"/>
              <a:sym typeface="Calibri"/>
            </a:endParaRPr>
          </a:p>
        </p:txBody>
      </p:sp>
      <p:sp>
        <p:nvSpPr>
          <p:cNvPr id="16" name="Google Shape;166;p20">
            <a:extLst>
              <a:ext uri="{FF2B5EF4-FFF2-40B4-BE49-F238E27FC236}">
                <a16:creationId xmlns:a16="http://schemas.microsoft.com/office/drawing/2014/main" id="{548431E0-A117-9481-F1A7-4DFB0D0CA2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644338" y="1701393"/>
            <a:ext cx="580700" cy="579782"/>
          </a:xfrm>
          <a:prstGeom prst="ellipse">
            <a:avLst/>
          </a:prstGeom>
          <a:solidFill>
            <a:srgbClr val="1F9CF0">
              <a:alpha val="56860"/>
            </a:srgbClr>
          </a:solidFill>
          <a:ln>
            <a:noFill/>
          </a:ln>
          <a:effectLst>
            <a:outerShdw blurRad="889000" dist="50800" dir="5400000" sx="89000" sy="89000" algn="ctr" rotWithShape="0">
              <a:srgbClr val="000000">
                <a:alpha val="48630"/>
              </a:srgbClr>
            </a:outerShdw>
          </a:effectLst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Calibri"/>
              <a:cs typeface="Helvetica" panose="020B0604020202020204" pitchFamily="34" charset="0"/>
              <a:sym typeface="Calibri"/>
            </a:endParaRPr>
          </a:p>
        </p:txBody>
      </p:sp>
      <p:sp>
        <p:nvSpPr>
          <p:cNvPr id="17" name="Google Shape;171;p20">
            <a:extLst>
              <a:ext uri="{FF2B5EF4-FFF2-40B4-BE49-F238E27FC236}">
                <a16:creationId xmlns:a16="http://schemas.microsoft.com/office/drawing/2014/main" id="{2DA0F325-FD2E-716F-9501-3BA7BBB5FA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44339" y="2484114"/>
            <a:ext cx="580700" cy="579782"/>
          </a:xfrm>
          <a:prstGeom prst="ellipse">
            <a:avLst/>
          </a:prstGeom>
          <a:solidFill>
            <a:srgbClr val="9477E2">
              <a:alpha val="56860"/>
            </a:srgbClr>
          </a:solidFill>
          <a:ln>
            <a:noFill/>
          </a:ln>
          <a:effectLst>
            <a:outerShdw blurRad="889000" dist="50800" dir="5400000" sx="89000" sy="89000" algn="ctr" rotWithShape="0">
              <a:srgbClr val="000000">
                <a:alpha val="48630"/>
              </a:srgbClr>
            </a:outerShdw>
          </a:effectLst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Calibri"/>
              <a:cs typeface="Helvetica" panose="020B0604020202020204" pitchFamily="34" charset="0"/>
              <a:sym typeface="Calibri"/>
            </a:endParaRP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176444F2-1CAA-01C1-45DB-30A67D2858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0532" y="1827127"/>
            <a:ext cx="328312" cy="328312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868CED1F-6B9C-E97D-EF35-23D9D4CCB1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0640" y="2609848"/>
            <a:ext cx="328312" cy="328312"/>
          </a:xfrm>
          <a:prstGeom prst="rect">
            <a:avLst/>
          </a:prstGeom>
        </p:spPr>
      </p:pic>
      <p:sp>
        <p:nvSpPr>
          <p:cNvPr id="4371" name="Google Shape;4371;p389"/>
          <p:cNvSpPr txBox="1">
            <a:spLocks noGrp="1"/>
          </p:cNvSpPr>
          <p:nvPr>
            <p:ph type="title"/>
          </p:nvPr>
        </p:nvSpPr>
        <p:spPr>
          <a:xfrm>
            <a:off x="609600" y="401638"/>
            <a:ext cx="7924800" cy="941796"/>
          </a:xfrm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US" dirty="0">
                <a:solidFill>
                  <a:schemeClr val="accent1"/>
                </a:solidFill>
                <a:sym typeface="Inter SemiBold"/>
              </a:rPr>
              <a:t>Refactor code </a:t>
            </a:r>
            <a:r>
              <a:rPr lang="en-US" dirty="0">
                <a:sym typeface="Inter SemiBold"/>
              </a:rPr>
              <a:t>for perf, clean code, functionality</a:t>
            </a:r>
          </a:p>
        </p:txBody>
      </p:sp>
      <p:sp>
        <p:nvSpPr>
          <p:cNvPr id="10" name="Google Shape;2742;p299">
            <a:extLst>
              <a:ext uri="{FF2B5EF4-FFF2-40B4-BE49-F238E27FC236}">
                <a16:creationId xmlns:a16="http://schemas.microsoft.com/office/drawing/2014/main" id="{99F2A730-17FE-20E5-74B5-4C088EE4531D}"/>
              </a:ext>
            </a:extLst>
          </p:cNvPr>
          <p:cNvSpPr txBox="1">
            <a:spLocks/>
          </p:cNvSpPr>
          <p:nvPr/>
        </p:nvSpPr>
        <p:spPr>
          <a:xfrm>
            <a:off x="609702" y="127466"/>
            <a:ext cx="2653563" cy="169277"/>
          </a:xfrm>
          <a:prstGeom prst="rect">
            <a:avLst/>
          </a:prstGeom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Helvetica" pitchFamily="2" charset="0"/>
                <a:ea typeface="Helvetica" pitchFamily="2" charset="0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  <a:latin typeface="+mn-lt"/>
                <a:cs typeface="Helvetica" panose="020B0604020202020204" pitchFamily="34" charset="0"/>
              </a:rPr>
              <a:t>GitHub Copilot / </a:t>
            </a:r>
            <a:r>
              <a:rPr lang="en-US" sz="1100" dirty="0">
                <a:solidFill>
                  <a:schemeClr val="accent2"/>
                </a:solidFill>
                <a:latin typeface="+mn-lt"/>
              </a:rPr>
              <a:t>Refactoring</a:t>
            </a:r>
          </a:p>
        </p:txBody>
      </p:sp>
      <p:sp>
        <p:nvSpPr>
          <p:cNvPr id="19" name="TextBox 5">
            <a:extLst>
              <a:ext uri="{FF2B5EF4-FFF2-40B4-BE49-F238E27FC236}">
                <a16:creationId xmlns:a16="http://schemas.microsoft.com/office/drawing/2014/main" id="{BFA08FBA-239B-801A-AD6A-61CBA835731B}"/>
              </a:ext>
            </a:extLst>
          </p:cNvPr>
          <p:cNvSpPr txBox="1">
            <a:spLocks/>
          </p:cNvSpPr>
          <p:nvPr/>
        </p:nvSpPr>
        <p:spPr>
          <a:xfrm>
            <a:off x="1443120" y="1868174"/>
            <a:ext cx="482451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buClrTx/>
              <a:defRPr/>
            </a:pPr>
            <a:r>
              <a:rPr lang="en-US" sz="1600" dirty="0">
                <a:solidFill>
                  <a:schemeClr val="bg1"/>
                </a:solidFill>
                <a:sym typeface="Inter"/>
              </a:rPr>
              <a:t>Apply SOLID</a:t>
            </a:r>
          </a:p>
        </p:txBody>
      </p:sp>
      <p:sp>
        <p:nvSpPr>
          <p:cNvPr id="21" name="TextBox 5">
            <a:extLst>
              <a:ext uri="{FF2B5EF4-FFF2-40B4-BE49-F238E27FC236}">
                <a16:creationId xmlns:a16="http://schemas.microsoft.com/office/drawing/2014/main" id="{C7D8F65D-63E4-ADB0-6A08-4D9C3B84C2C9}"/>
              </a:ext>
            </a:extLst>
          </p:cNvPr>
          <p:cNvSpPr txBox="1">
            <a:spLocks/>
          </p:cNvSpPr>
          <p:nvPr/>
        </p:nvSpPr>
        <p:spPr>
          <a:xfrm>
            <a:off x="1443120" y="2650894"/>
            <a:ext cx="482451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buClrTx/>
              <a:defRPr/>
            </a:pPr>
            <a:r>
              <a:rPr lang="en-IN" sz="1600">
                <a:solidFill>
                  <a:schemeClr val="bg1"/>
                </a:solidFill>
                <a:sym typeface="Inter"/>
              </a:rPr>
              <a:t>Rewrite with pattern</a:t>
            </a:r>
            <a:endParaRPr lang="en-IN" sz="1600" dirty="0">
              <a:solidFill>
                <a:schemeClr val="bg1"/>
              </a:solidFill>
              <a:sym typeface="Inter"/>
            </a:endParaRPr>
          </a:p>
        </p:txBody>
      </p:sp>
    </p:spTree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oogle Shape;427;p33">
            <a:extLst>
              <a:ext uri="{FF2B5EF4-FFF2-40B4-BE49-F238E27FC236}">
                <a16:creationId xmlns:a16="http://schemas.microsoft.com/office/drawing/2014/main" id="{2510E927-1FE5-6490-22E9-C238151E1B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3">
            <a:alphaModFix amt="23000"/>
          </a:blip>
          <a:srcRect r="33453" b="13524"/>
          <a:stretch/>
        </p:blipFill>
        <p:spPr>
          <a:xfrm>
            <a:off x="4878193" y="3"/>
            <a:ext cx="4265812" cy="5143497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5A8EDB9-FB03-0585-1CD5-DCCC4552B1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09600" y="333551"/>
            <a:ext cx="2476500" cy="0"/>
          </a:xfrm>
          <a:prstGeom prst="line">
            <a:avLst/>
          </a:prstGeom>
          <a:noFill/>
          <a:ln w="12700" cap="flat" cmpd="sng" algn="ctr">
            <a:solidFill>
              <a:srgbClr val="627597"/>
            </a:solidFill>
            <a:prstDash val="solid"/>
            <a:miter lim="800000"/>
          </a:ln>
          <a:effectLst/>
        </p:spPr>
      </p:cxn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8B39902-EB52-B6CC-1D48-4BEF2CC386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1142319" y="2485128"/>
            <a:ext cx="7353202" cy="577752"/>
          </a:xfrm>
          <a:custGeom>
            <a:avLst/>
            <a:gdLst>
              <a:gd name="connsiteX0" fmla="*/ 0 w 7353202"/>
              <a:gd name="connsiteY0" fmla="*/ 0 h 577752"/>
              <a:gd name="connsiteX1" fmla="*/ 1983557 w 7353202"/>
              <a:gd name="connsiteY1" fmla="*/ 0 h 577752"/>
              <a:gd name="connsiteX2" fmla="*/ 4629830 w 7353202"/>
              <a:gd name="connsiteY2" fmla="*/ 0 h 577752"/>
              <a:gd name="connsiteX3" fmla="*/ 4729089 w 7353202"/>
              <a:gd name="connsiteY3" fmla="*/ 0 h 577752"/>
              <a:gd name="connsiteX4" fmla="*/ 5369645 w 7353202"/>
              <a:gd name="connsiteY4" fmla="*/ 0 h 577752"/>
              <a:gd name="connsiteX5" fmla="*/ 6613387 w 7353202"/>
              <a:gd name="connsiteY5" fmla="*/ 0 h 577752"/>
              <a:gd name="connsiteX6" fmla="*/ 6712646 w 7353202"/>
              <a:gd name="connsiteY6" fmla="*/ 0 h 577752"/>
              <a:gd name="connsiteX7" fmla="*/ 7353202 w 7353202"/>
              <a:gd name="connsiteY7" fmla="*/ 0 h 577752"/>
              <a:gd name="connsiteX8" fmla="*/ 7353202 w 7353202"/>
              <a:gd name="connsiteY8" fmla="*/ 577752 h 577752"/>
              <a:gd name="connsiteX9" fmla="*/ 6712646 w 7353202"/>
              <a:gd name="connsiteY9" fmla="*/ 577752 h 577752"/>
              <a:gd name="connsiteX10" fmla="*/ 6613387 w 7353202"/>
              <a:gd name="connsiteY10" fmla="*/ 577752 h 577752"/>
              <a:gd name="connsiteX11" fmla="*/ 5369645 w 7353202"/>
              <a:gd name="connsiteY11" fmla="*/ 577752 h 577752"/>
              <a:gd name="connsiteX12" fmla="*/ 4729089 w 7353202"/>
              <a:gd name="connsiteY12" fmla="*/ 577752 h 577752"/>
              <a:gd name="connsiteX13" fmla="*/ 4629830 w 7353202"/>
              <a:gd name="connsiteY13" fmla="*/ 577752 h 577752"/>
              <a:gd name="connsiteX14" fmla="*/ 1983557 w 7353202"/>
              <a:gd name="connsiteY14" fmla="*/ 577752 h 577752"/>
              <a:gd name="connsiteX15" fmla="*/ 0 w 7353202"/>
              <a:gd name="connsiteY15" fmla="*/ 577752 h 577752"/>
              <a:gd name="connsiteX16" fmla="*/ 44766 w 7353202"/>
              <a:gd name="connsiteY16" fmla="*/ 540875 h 577752"/>
              <a:gd name="connsiteX17" fmla="*/ 149312 w 7353202"/>
              <a:gd name="connsiteY17" fmla="*/ 288876 h 577752"/>
              <a:gd name="connsiteX18" fmla="*/ 44766 w 7353202"/>
              <a:gd name="connsiteY18" fmla="*/ 36878 h 57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7353202" h="577752">
                <a:moveTo>
                  <a:pt x="0" y="0"/>
                </a:moveTo>
                <a:lnTo>
                  <a:pt x="1983557" y="0"/>
                </a:lnTo>
                <a:lnTo>
                  <a:pt x="4629830" y="0"/>
                </a:lnTo>
                <a:lnTo>
                  <a:pt x="4729089" y="0"/>
                </a:lnTo>
                <a:lnTo>
                  <a:pt x="5369645" y="0"/>
                </a:lnTo>
                <a:lnTo>
                  <a:pt x="6613387" y="0"/>
                </a:lnTo>
                <a:lnTo>
                  <a:pt x="6712646" y="0"/>
                </a:lnTo>
                <a:lnTo>
                  <a:pt x="7353202" y="0"/>
                </a:lnTo>
                <a:lnTo>
                  <a:pt x="7353202" y="577752"/>
                </a:lnTo>
                <a:lnTo>
                  <a:pt x="6712646" y="577752"/>
                </a:lnTo>
                <a:lnTo>
                  <a:pt x="6613387" y="577752"/>
                </a:lnTo>
                <a:lnTo>
                  <a:pt x="5369645" y="577752"/>
                </a:lnTo>
                <a:lnTo>
                  <a:pt x="4729089" y="577752"/>
                </a:lnTo>
                <a:lnTo>
                  <a:pt x="4629830" y="577752"/>
                </a:lnTo>
                <a:lnTo>
                  <a:pt x="1983557" y="577752"/>
                </a:lnTo>
                <a:lnTo>
                  <a:pt x="0" y="577752"/>
                </a:lnTo>
                <a:lnTo>
                  <a:pt x="44766" y="540875"/>
                </a:lnTo>
                <a:cubicBezTo>
                  <a:pt x="109360" y="476383"/>
                  <a:pt x="149312" y="387288"/>
                  <a:pt x="149312" y="288876"/>
                </a:cubicBezTo>
                <a:cubicBezTo>
                  <a:pt x="149312" y="190465"/>
                  <a:pt x="109360" y="101370"/>
                  <a:pt x="44766" y="36878"/>
                </a:cubicBezTo>
                <a:close/>
              </a:path>
            </a:pathLst>
          </a:custGeom>
          <a:gradFill>
            <a:gsLst>
              <a:gs pos="0">
                <a:srgbClr val="6A37C7">
                  <a:alpha val="47000"/>
                </a:srgbClr>
              </a:gs>
              <a:gs pos="100000">
                <a:srgbClr val="9477E2">
                  <a:alpha val="0"/>
                </a:srgbClr>
              </a:gs>
            </a:gsLst>
            <a:lin ang="2700006" scaled="0"/>
          </a:gradFill>
          <a:ln>
            <a:noFill/>
          </a:ln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algn="ctr" defTabSz="609585">
              <a:buClrTx/>
            </a:pPr>
            <a:endParaRPr sz="1100" kern="1200">
              <a:solidFill>
                <a:schemeClr val="bg1"/>
              </a:solidFill>
              <a:latin typeface="Helvetica" panose="020B0604020202020204" pitchFamily="34" charset="0"/>
              <a:ea typeface="Calibri"/>
              <a:sym typeface="Calibri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4C22CCC-298D-B1B4-7FF3-9BBF8674FB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1142319" y="3267848"/>
            <a:ext cx="7353202" cy="577752"/>
          </a:xfrm>
          <a:custGeom>
            <a:avLst/>
            <a:gdLst>
              <a:gd name="connsiteX0" fmla="*/ 0 w 7353202"/>
              <a:gd name="connsiteY0" fmla="*/ 0 h 577752"/>
              <a:gd name="connsiteX1" fmla="*/ 1983557 w 7353202"/>
              <a:gd name="connsiteY1" fmla="*/ 0 h 577752"/>
              <a:gd name="connsiteX2" fmla="*/ 4629830 w 7353202"/>
              <a:gd name="connsiteY2" fmla="*/ 0 h 577752"/>
              <a:gd name="connsiteX3" fmla="*/ 4729089 w 7353202"/>
              <a:gd name="connsiteY3" fmla="*/ 0 h 577752"/>
              <a:gd name="connsiteX4" fmla="*/ 5369645 w 7353202"/>
              <a:gd name="connsiteY4" fmla="*/ 0 h 577752"/>
              <a:gd name="connsiteX5" fmla="*/ 6613387 w 7353202"/>
              <a:gd name="connsiteY5" fmla="*/ 0 h 577752"/>
              <a:gd name="connsiteX6" fmla="*/ 6712646 w 7353202"/>
              <a:gd name="connsiteY6" fmla="*/ 0 h 577752"/>
              <a:gd name="connsiteX7" fmla="*/ 7353202 w 7353202"/>
              <a:gd name="connsiteY7" fmla="*/ 0 h 577752"/>
              <a:gd name="connsiteX8" fmla="*/ 7353202 w 7353202"/>
              <a:gd name="connsiteY8" fmla="*/ 577752 h 577752"/>
              <a:gd name="connsiteX9" fmla="*/ 6712646 w 7353202"/>
              <a:gd name="connsiteY9" fmla="*/ 577752 h 577752"/>
              <a:gd name="connsiteX10" fmla="*/ 6613387 w 7353202"/>
              <a:gd name="connsiteY10" fmla="*/ 577752 h 577752"/>
              <a:gd name="connsiteX11" fmla="*/ 5369645 w 7353202"/>
              <a:gd name="connsiteY11" fmla="*/ 577752 h 577752"/>
              <a:gd name="connsiteX12" fmla="*/ 4729089 w 7353202"/>
              <a:gd name="connsiteY12" fmla="*/ 577752 h 577752"/>
              <a:gd name="connsiteX13" fmla="*/ 4629830 w 7353202"/>
              <a:gd name="connsiteY13" fmla="*/ 577752 h 577752"/>
              <a:gd name="connsiteX14" fmla="*/ 1983557 w 7353202"/>
              <a:gd name="connsiteY14" fmla="*/ 577752 h 577752"/>
              <a:gd name="connsiteX15" fmla="*/ 0 w 7353202"/>
              <a:gd name="connsiteY15" fmla="*/ 577752 h 577752"/>
              <a:gd name="connsiteX16" fmla="*/ 44766 w 7353202"/>
              <a:gd name="connsiteY16" fmla="*/ 540875 h 577752"/>
              <a:gd name="connsiteX17" fmla="*/ 149312 w 7353202"/>
              <a:gd name="connsiteY17" fmla="*/ 288876 h 577752"/>
              <a:gd name="connsiteX18" fmla="*/ 44766 w 7353202"/>
              <a:gd name="connsiteY18" fmla="*/ 36878 h 57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7353202" h="577752">
                <a:moveTo>
                  <a:pt x="0" y="0"/>
                </a:moveTo>
                <a:lnTo>
                  <a:pt x="1983557" y="0"/>
                </a:lnTo>
                <a:lnTo>
                  <a:pt x="4629830" y="0"/>
                </a:lnTo>
                <a:lnTo>
                  <a:pt x="4729089" y="0"/>
                </a:lnTo>
                <a:lnTo>
                  <a:pt x="5369645" y="0"/>
                </a:lnTo>
                <a:lnTo>
                  <a:pt x="6613387" y="0"/>
                </a:lnTo>
                <a:lnTo>
                  <a:pt x="6712646" y="0"/>
                </a:lnTo>
                <a:lnTo>
                  <a:pt x="7353202" y="0"/>
                </a:lnTo>
                <a:lnTo>
                  <a:pt x="7353202" y="577752"/>
                </a:lnTo>
                <a:lnTo>
                  <a:pt x="6712646" y="577752"/>
                </a:lnTo>
                <a:lnTo>
                  <a:pt x="6613387" y="577752"/>
                </a:lnTo>
                <a:lnTo>
                  <a:pt x="5369645" y="577752"/>
                </a:lnTo>
                <a:lnTo>
                  <a:pt x="4729089" y="577752"/>
                </a:lnTo>
                <a:lnTo>
                  <a:pt x="4629830" y="577752"/>
                </a:lnTo>
                <a:lnTo>
                  <a:pt x="1983557" y="577752"/>
                </a:lnTo>
                <a:lnTo>
                  <a:pt x="0" y="577752"/>
                </a:lnTo>
                <a:lnTo>
                  <a:pt x="44766" y="540875"/>
                </a:lnTo>
                <a:cubicBezTo>
                  <a:pt x="109360" y="476383"/>
                  <a:pt x="149312" y="387288"/>
                  <a:pt x="149312" y="288876"/>
                </a:cubicBezTo>
                <a:cubicBezTo>
                  <a:pt x="149312" y="190465"/>
                  <a:pt x="109360" y="101370"/>
                  <a:pt x="44766" y="36878"/>
                </a:cubicBezTo>
                <a:close/>
              </a:path>
            </a:pathLst>
          </a:custGeom>
          <a:gradFill>
            <a:gsLst>
              <a:gs pos="0">
                <a:schemeClr val="accent1">
                  <a:alpha val="47000"/>
                </a:schemeClr>
              </a:gs>
              <a:gs pos="100000">
                <a:srgbClr val="9477E2">
                  <a:alpha val="0"/>
                </a:srgbClr>
              </a:gs>
            </a:gsLst>
            <a:lin ang="2700006" scaled="0"/>
          </a:gradFill>
          <a:ln>
            <a:noFill/>
          </a:ln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algn="ctr" defTabSz="609585">
              <a:buClrTx/>
            </a:pPr>
            <a:endParaRPr sz="1100" kern="1200">
              <a:solidFill>
                <a:schemeClr val="bg1"/>
              </a:solidFill>
              <a:latin typeface="Helvetica" panose="020B0604020202020204" pitchFamily="34" charset="0"/>
              <a:ea typeface="Calibri"/>
              <a:sym typeface="Calibri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A97C76D-9790-5EDC-6633-785C3BE38F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1142319" y="1702408"/>
            <a:ext cx="7353202" cy="577752"/>
          </a:xfrm>
          <a:custGeom>
            <a:avLst/>
            <a:gdLst>
              <a:gd name="connsiteX0" fmla="*/ 0 w 7353202"/>
              <a:gd name="connsiteY0" fmla="*/ 0 h 577752"/>
              <a:gd name="connsiteX1" fmla="*/ 1983557 w 7353202"/>
              <a:gd name="connsiteY1" fmla="*/ 0 h 577752"/>
              <a:gd name="connsiteX2" fmla="*/ 4629830 w 7353202"/>
              <a:gd name="connsiteY2" fmla="*/ 0 h 577752"/>
              <a:gd name="connsiteX3" fmla="*/ 4729089 w 7353202"/>
              <a:gd name="connsiteY3" fmla="*/ 0 h 577752"/>
              <a:gd name="connsiteX4" fmla="*/ 5369645 w 7353202"/>
              <a:gd name="connsiteY4" fmla="*/ 0 h 577752"/>
              <a:gd name="connsiteX5" fmla="*/ 6613387 w 7353202"/>
              <a:gd name="connsiteY5" fmla="*/ 0 h 577752"/>
              <a:gd name="connsiteX6" fmla="*/ 6712646 w 7353202"/>
              <a:gd name="connsiteY6" fmla="*/ 0 h 577752"/>
              <a:gd name="connsiteX7" fmla="*/ 7353202 w 7353202"/>
              <a:gd name="connsiteY7" fmla="*/ 0 h 577752"/>
              <a:gd name="connsiteX8" fmla="*/ 7353202 w 7353202"/>
              <a:gd name="connsiteY8" fmla="*/ 577752 h 577752"/>
              <a:gd name="connsiteX9" fmla="*/ 6712646 w 7353202"/>
              <a:gd name="connsiteY9" fmla="*/ 577752 h 577752"/>
              <a:gd name="connsiteX10" fmla="*/ 6613387 w 7353202"/>
              <a:gd name="connsiteY10" fmla="*/ 577752 h 577752"/>
              <a:gd name="connsiteX11" fmla="*/ 5369645 w 7353202"/>
              <a:gd name="connsiteY11" fmla="*/ 577752 h 577752"/>
              <a:gd name="connsiteX12" fmla="*/ 4729089 w 7353202"/>
              <a:gd name="connsiteY12" fmla="*/ 577752 h 577752"/>
              <a:gd name="connsiteX13" fmla="*/ 4629830 w 7353202"/>
              <a:gd name="connsiteY13" fmla="*/ 577752 h 577752"/>
              <a:gd name="connsiteX14" fmla="*/ 1983557 w 7353202"/>
              <a:gd name="connsiteY14" fmla="*/ 577752 h 577752"/>
              <a:gd name="connsiteX15" fmla="*/ 0 w 7353202"/>
              <a:gd name="connsiteY15" fmla="*/ 577752 h 577752"/>
              <a:gd name="connsiteX16" fmla="*/ 44766 w 7353202"/>
              <a:gd name="connsiteY16" fmla="*/ 540875 h 577752"/>
              <a:gd name="connsiteX17" fmla="*/ 149312 w 7353202"/>
              <a:gd name="connsiteY17" fmla="*/ 288876 h 577752"/>
              <a:gd name="connsiteX18" fmla="*/ 44766 w 7353202"/>
              <a:gd name="connsiteY18" fmla="*/ 36877 h 57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7353202" h="577752">
                <a:moveTo>
                  <a:pt x="0" y="0"/>
                </a:moveTo>
                <a:lnTo>
                  <a:pt x="1983557" y="0"/>
                </a:lnTo>
                <a:lnTo>
                  <a:pt x="4629830" y="0"/>
                </a:lnTo>
                <a:lnTo>
                  <a:pt x="4729089" y="0"/>
                </a:lnTo>
                <a:lnTo>
                  <a:pt x="5369645" y="0"/>
                </a:lnTo>
                <a:lnTo>
                  <a:pt x="6613387" y="0"/>
                </a:lnTo>
                <a:lnTo>
                  <a:pt x="6712646" y="0"/>
                </a:lnTo>
                <a:lnTo>
                  <a:pt x="7353202" y="0"/>
                </a:lnTo>
                <a:lnTo>
                  <a:pt x="7353202" y="577752"/>
                </a:lnTo>
                <a:lnTo>
                  <a:pt x="6712646" y="577752"/>
                </a:lnTo>
                <a:lnTo>
                  <a:pt x="6613387" y="577752"/>
                </a:lnTo>
                <a:lnTo>
                  <a:pt x="5369645" y="577752"/>
                </a:lnTo>
                <a:lnTo>
                  <a:pt x="4729089" y="577752"/>
                </a:lnTo>
                <a:lnTo>
                  <a:pt x="4629830" y="577752"/>
                </a:lnTo>
                <a:lnTo>
                  <a:pt x="1983557" y="577752"/>
                </a:lnTo>
                <a:lnTo>
                  <a:pt x="0" y="577752"/>
                </a:lnTo>
                <a:lnTo>
                  <a:pt x="44766" y="540875"/>
                </a:lnTo>
                <a:cubicBezTo>
                  <a:pt x="109360" y="476383"/>
                  <a:pt x="149312" y="387288"/>
                  <a:pt x="149312" y="288876"/>
                </a:cubicBezTo>
                <a:cubicBezTo>
                  <a:pt x="149312" y="190465"/>
                  <a:pt x="109360" y="101370"/>
                  <a:pt x="44766" y="36877"/>
                </a:cubicBezTo>
                <a:close/>
              </a:path>
            </a:pathLst>
          </a:custGeom>
          <a:gradFill>
            <a:gsLst>
              <a:gs pos="0">
                <a:srgbClr val="1F9CF0">
                  <a:alpha val="47000"/>
                </a:srgbClr>
              </a:gs>
              <a:gs pos="100000">
                <a:srgbClr val="9477E2">
                  <a:alpha val="0"/>
                </a:srgbClr>
              </a:gs>
            </a:gsLst>
            <a:lin ang="2700006" scaled="0"/>
          </a:gradFill>
          <a:ln>
            <a:noFill/>
          </a:ln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Calibri"/>
              <a:cs typeface="Helvetica" panose="020B0604020202020204" pitchFamily="34" charset="0"/>
              <a:sym typeface="Calibri"/>
            </a:endParaRPr>
          </a:p>
        </p:txBody>
      </p:sp>
      <p:sp>
        <p:nvSpPr>
          <p:cNvPr id="14" name="Google Shape;166;p20_1">
            <a:extLst>
              <a:ext uri="{FF2B5EF4-FFF2-40B4-BE49-F238E27FC236}">
                <a16:creationId xmlns:a16="http://schemas.microsoft.com/office/drawing/2014/main" id="{5CA66F53-F3D1-FBFD-02BE-FB51F37818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609600" y="1666710"/>
            <a:ext cx="650176" cy="649148"/>
          </a:xfrm>
          <a:prstGeom prst="ellipse">
            <a:avLst/>
          </a:prstGeom>
          <a:solidFill>
            <a:srgbClr val="1F9CF0">
              <a:alpha val="30980"/>
            </a:srgbClr>
          </a:solidFill>
          <a:ln>
            <a:noFill/>
          </a:ln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algn="ctr" defTabSz="609585">
              <a:buClrTx/>
            </a:pPr>
            <a:endParaRPr sz="800" kern="1200">
              <a:solidFill>
                <a:schemeClr val="bg1"/>
              </a:solidFill>
              <a:latin typeface="Helvetica" panose="020B0604020202020204" pitchFamily="34" charset="0"/>
              <a:ea typeface="Calibri"/>
              <a:sym typeface="Calibri"/>
            </a:endParaRPr>
          </a:p>
        </p:txBody>
      </p:sp>
      <p:sp>
        <p:nvSpPr>
          <p:cNvPr id="15" name="Google Shape;171;p20_1">
            <a:extLst>
              <a:ext uri="{FF2B5EF4-FFF2-40B4-BE49-F238E27FC236}">
                <a16:creationId xmlns:a16="http://schemas.microsoft.com/office/drawing/2014/main" id="{47C14C60-4044-B6CA-0076-9A69EB4DB8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09601" y="2449431"/>
            <a:ext cx="650176" cy="649148"/>
          </a:xfrm>
          <a:prstGeom prst="ellipse">
            <a:avLst/>
          </a:prstGeom>
          <a:solidFill>
            <a:srgbClr val="9477E2">
              <a:alpha val="31000"/>
            </a:srgbClr>
          </a:solidFill>
          <a:ln>
            <a:noFill/>
          </a:ln>
          <a:effectLst>
            <a:outerShdw blurRad="889000" dist="50800" dir="5400000" sx="89000" sy="89000" algn="ctr" rotWithShape="0">
              <a:srgbClr val="000000">
                <a:alpha val="48630"/>
              </a:srgbClr>
            </a:outerShdw>
          </a:effectLst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Calibri"/>
              <a:cs typeface="Helvetica" panose="020B0604020202020204" pitchFamily="34" charset="0"/>
              <a:sym typeface="Calibri"/>
            </a:endParaRPr>
          </a:p>
        </p:txBody>
      </p:sp>
      <p:sp>
        <p:nvSpPr>
          <p:cNvPr id="16" name="Google Shape;175;p20_1">
            <a:extLst>
              <a:ext uri="{FF2B5EF4-FFF2-40B4-BE49-F238E27FC236}">
                <a16:creationId xmlns:a16="http://schemas.microsoft.com/office/drawing/2014/main" id="{780AE2FB-1A9B-D4F5-1F22-28C5D2A817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609601" y="3232150"/>
            <a:ext cx="650176" cy="649148"/>
          </a:xfrm>
          <a:prstGeom prst="ellipse">
            <a:avLst/>
          </a:prstGeom>
          <a:solidFill>
            <a:schemeClr val="accent1">
              <a:alpha val="31000"/>
            </a:schemeClr>
          </a:solidFill>
          <a:ln>
            <a:noFill/>
          </a:ln>
          <a:effectLst>
            <a:outerShdw blurRad="889000" dist="50800" dir="5400000" sx="89000" sy="89000" algn="ctr" rotWithShape="0">
              <a:srgbClr val="000000">
                <a:alpha val="48630"/>
              </a:srgbClr>
            </a:outerShdw>
          </a:effectLst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Calibri"/>
              <a:cs typeface="Helvetica" panose="020B0604020202020204" pitchFamily="34" charset="0"/>
              <a:sym typeface="Calibri"/>
            </a:endParaRPr>
          </a:p>
        </p:txBody>
      </p:sp>
      <p:sp>
        <p:nvSpPr>
          <p:cNvPr id="17" name="Google Shape;166;p20">
            <a:extLst>
              <a:ext uri="{FF2B5EF4-FFF2-40B4-BE49-F238E27FC236}">
                <a16:creationId xmlns:a16="http://schemas.microsoft.com/office/drawing/2014/main" id="{BD9A4C5C-4836-905A-47C8-F0C47900E5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644338" y="1701393"/>
            <a:ext cx="580700" cy="579782"/>
          </a:xfrm>
          <a:prstGeom prst="ellipse">
            <a:avLst/>
          </a:prstGeom>
          <a:solidFill>
            <a:srgbClr val="1F9CF0">
              <a:alpha val="56860"/>
            </a:srgbClr>
          </a:solidFill>
          <a:ln>
            <a:noFill/>
          </a:ln>
          <a:effectLst>
            <a:outerShdw blurRad="889000" dist="50800" dir="5400000" sx="89000" sy="89000" algn="ctr" rotWithShape="0">
              <a:srgbClr val="000000">
                <a:alpha val="48630"/>
              </a:srgbClr>
            </a:outerShdw>
          </a:effectLst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Calibri"/>
              <a:cs typeface="Helvetica" panose="020B0604020202020204" pitchFamily="34" charset="0"/>
              <a:sym typeface="Calibri"/>
            </a:endParaRPr>
          </a:p>
        </p:txBody>
      </p:sp>
      <p:sp>
        <p:nvSpPr>
          <p:cNvPr id="18" name="Google Shape;171;p20">
            <a:extLst>
              <a:ext uri="{FF2B5EF4-FFF2-40B4-BE49-F238E27FC236}">
                <a16:creationId xmlns:a16="http://schemas.microsoft.com/office/drawing/2014/main" id="{AF5198B1-ABA0-BFA6-6ED0-F96E1B7FFA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44339" y="2484114"/>
            <a:ext cx="580700" cy="579782"/>
          </a:xfrm>
          <a:prstGeom prst="ellipse">
            <a:avLst/>
          </a:prstGeom>
          <a:solidFill>
            <a:srgbClr val="9477E2">
              <a:alpha val="56860"/>
            </a:srgbClr>
          </a:solidFill>
          <a:ln>
            <a:noFill/>
          </a:ln>
          <a:effectLst>
            <a:outerShdw blurRad="889000" dist="50800" dir="5400000" sx="89000" sy="89000" algn="ctr" rotWithShape="0">
              <a:srgbClr val="000000">
                <a:alpha val="48630"/>
              </a:srgbClr>
            </a:outerShdw>
          </a:effectLst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Calibri"/>
              <a:cs typeface="Helvetica" panose="020B0604020202020204" pitchFamily="34" charset="0"/>
              <a:sym typeface="Calibri"/>
            </a:endParaRPr>
          </a:p>
        </p:txBody>
      </p:sp>
      <p:sp>
        <p:nvSpPr>
          <p:cNvPr id="19" name="Google Shape;175;p20">
            <a:extLst>
              <a:ext uri="{FF2B5EF4-FFF2-40B4-BE49-F238E27FC236}">
                <a16:creationId xmlns:a16="http://schemas.microsoft.com/office/drawing/2014/main" id="{B10EF99A-FABF-37E3-028C-C26B713ECE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644339" y="3266833"/>
            <a:ext cx="580700" cy="579782"/>
          </a:xfrm>
          <a:prstGeom prst="ellipse">
            <a:avLst/>
          </a:prstGeom>
          <a:solidFill>
            <a:schemeClr val="accent1">
              <a:alpha val="56860"/>
            </a:schemeClr>
          </a:solidFill>
          <a:ln>
            <a:noFill/>
          </a:ln>
          <a:effectLst>
            <a:outerShdw blurRad="889000" dist="50800" dir="5400000" sx="89000" sy="89000" algn="ctr" rotWithShape="0">
              <a:srgbClr val="000000">
                <a:alpha val="48630"/>
              </a:srgbClr>
            </a:outerShdw>
          </a:effectLst>
        </p:spPr>
        <p:txBody>
          <a:bodyPr spcFirstLastPara="1" wrap="square" lIns="57200" tIns="28600" rIns="57200" bIns="2860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Calibri"/>
              <a:cs typeface="Helvetica" panose="020B0604020202020204" pitchFamily="34" charset="0"/>
              <a:sym typeface="Calibri"/>
            </a:endParaRP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6F569543-15E8-931D-0679-325B162B71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0532" y="1827127"/>
            <a:ext cx="328312" cy="328312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8C114E07-91A1-CA88-2EDF-F04E98316A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0640" y="2609848"/>
            <a:ext cx="328312" cy="328312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50BA4A99-1911-3355-8510-FD035FFA49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0640" y="3392567"/>
            <a:ext cx="328312" cy="328312"/>
          </a:xfrm>
          <a:prstGeom prst="rect">
            <a:avLst/>
          </a:prstGeom>
        </p:spPr>
      </p:pic>
      <p:sp>
        <p:nvSpPr>
          <p:cNvPr id="27" name="Google Shape;525;p35">
            <a:extLst>
              <a:ext uri="{FF2B5EF4-FFF2-40B4-BE49-F238E27FC236}">
                <a16:creationId xmlns:a16="http://schemas.microsoft.com/office/drawing/2014/main" id="{1EF84F57-ED04-36C7-93F7-32E9C1EE5E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0800000">
            <a:off x="407925" y="524"/>
            <a:ext cx="73200" cy="1466325"/>
          </a:xfrm>
          <a:prstGeom prst="rect">
            <a:avLst/>
          </a:prstGeom>
          <a:gradFill>
            <a:gsLst>
              <a:gs pos="0">
                <a:srgbClr val="D59DFF"/>
              </a:gs>
              <a:gs pos="100000">
                <a:srgbClr val="28AFEA"/>
              </a:gs>
            </a:gsLst>
            <a:lin ang="5400012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0" i="0">
              <a:latin typeface="Helvetica" pitchFamily="2" charset="0"/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DF8B6B60-560C-AE0F-4A0B-935E0AB824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" y="4380580"/>
            <a:ext cx="541303" cy="762921"/>
          </a:xfrm>
          <a:custGeom>
            <a:avLst/>
            <a:gdLst>
              <a:gd name="connsiteX0" fmla="*/ 0 w 541303"/>
              <a:gd name="connsiteY0" fmla="*/ 0 h 762921"/>
              <a:gd name="connsiteX1" fmla="*/ 16117 w 541303"/>
              <a:gd name="connsiteY1" fmla="*/ 1622 h 762921"/>
              <a:gd name="connsiteX2" fmla="*/ 541303 w 541303"/>
              <a:gd name="connsiteY2" fmla="*/ 645044 h 762921"/>
              <a:gd name="connsiteX3" fmla="*/ 529402 w 541303"/>
              <a:gd name="connsiteY3" fmla="*/ 762921 h 762921"/>
              <a:gd name="connsiteX4" fmla="*/ 0 w 541303"/>
              <a:gd name="connsiteY4" fmla="*/ 762921 h 762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1303" h="762921">
                <a:moveTo>
                  <a:pt x="0" y="0"/>
                </a:moveTo>
                <a:lnTo>
                  <a:pt x="16117" y="1622"/>
                </a:lnTo>
                <a:cubicBezTo>
                  <a:pt x="315840" y="62863"/>
                  <a:pt x="541303" y="327663"/>
                  <a:pt x="541303" y="645044"/>
                </a:cubicBezTo>
                <a:lnTo>
                  <a:pt x="529402" y="762921"/>
                </a:lnTo>
                <a:lnTo>
                  <a:pt x="0" y="762921"/>
                </a:lnTo>
                <a:close/>
              </a:path>
            </a:pathLst>
          </a:custGeom>
          <a:gradFill>
            <a:gsLst>
              <a:gs pos="0">
                <a:srgbClr val="8661C5"/>
              </a:gs>
              <a:gs pos="100000">
                <a:srgbClr val="161828">
                  <a:alpha val="74901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spcFirstLastPara="1" wrap="square" lIns="42900" tIns="21450" rIns="42900" bIns="214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800" b="0" i="0">
              <a:solidFill>
                <a:schemeClr val="lt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4387" name="Google Shape;4387;p390"/>
          <p:cNvSpPr txBox="1">
            <a:spLocks noGrp="1"/>
          </p:cNvSpPr>
          <p:nvPr>
            <p:ph type="title"/>
          </p:nvPr>
        </p:nvSpPr>
        <p:spPr>
          <a:xfrm>
            <a:off x="609600" y="402083"/>
            <a:ext cx="7924800" cy="470898"/>
          </a:xfrm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US" dirty="0">
                <a:solidFill>
                  <a:schemeClr val="accent1"/>
                </a:solidFill>
              </a:rPr>
              <a:t>DevOps </a:t>
            </a:r>
            <a:r>
              <a:rPr lang="en-US" dirty="0"/>
              <a:t>techniques</a:t>
            </a:r>
          </a:p>
        </p:txBody>
      </p:sp>
      <p:sp>
        <p:nvSpPr>
          <p:cNvPr id="7" name="Google Shape;2742;p299">
            <a:extLst>
              <a:ext uri="{FF2B5EF4-FFF2-40B4-BE49-F238E27FC236}">
                <a16:creationId xmlns:a16="http://schemas.microsoft.com/office/drawing/2014/main" id="{23E82AA9-447C-3BF1-30EC-B70CE7483AD3}"/>
              </a:ext>
            </a:extLst>
          </p:cNvPr>
          <p:cNvSpPr txBox="1">
            <a:spLocks/>
          </p:cNvSpPr>
          <p:nvPr/>
        </p:nvSpPr>
        <p:spPr>
          <a:xfrm>
            <a:off x="609702" y="127466"/>
            <a:ext cx="2653563" cy="169277"/>
          </a:xfrm>
          <a:prstGeom prst="rect">
            <a:avLst/>
          </a:prstGeom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Helvetica" pitchFamily="2" charset="0"/>
                <a:ea typeface="Helvetica" pitchFamily="2" charset="0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  <a:latin typeface="+mn-lt"/>
                <a:cs typeface="Helvetica" panose="020B0604020202020204" pitchFamily="34" charset="0"/>
              </a:rPr>
              <a:t>GitHub Copilot / </a:t>
            </a:r>
            <a:r>
              <a:rPr lang="en-US" sz="1100" dirty="0" err="1">
                <a:solidFill>
                  <a:schemeClr val="accent2"/>
                </a:solidFill>
                <a:latin typeface="+mn-lt"/>
              </a:rPr>
              <a:t>IaC</a:t>
            </a:r>
            <a:r>
              <a:rPr lang="en-US" sz="1100" dirty="0">
                <a:solidFill>
                  <a:schemeClr val="accent2"/>
                </a:solidFill>
                <a:latin typeface="+mn-lt"/>
              </a:rPr>
              <a:t>, Pipelines and SRE</a:t>
            </a:r>
          </a:p>
        </p:txBody>
      </p:sp>
      <p:sp>
        <p:nvSpPr>
          <p:cNvPr id="21" name="TextBox 5">
            <a:extLst>
              <a:ext uri="{FF2B5EF4-FFF2-40B4-BE49-F238E27FC236}">
                <a16:creationId xmlns:a16="http://schemas.microsoft.com/office/drawing/2014/main" id="{D54A3F86-B4C1-4B89-296D-4673ACEE75B2}"/>
              </a:ext>
            </a:extLst>
          </p:cNvPr>
          <p:cNvSpPr txBox="1">
            <a:spLocks/>
          </p:cNvSpPr>
          <p:nvPr/>
        </p:nvSpPr>
        <p:spPr>
          <a:xfrm>
            <a:off x="1443119" y="1868174"/>
            <a:ext cx="693024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buClrTx/>
              <a:defRPr/>
            </a:pPr>
            <a:r>
              <a:rPr lang="en-US" sz="1600" dirty="0">
                <a:solidFill>
                  <a:schemeClr val="bg1"/>
                </a:solidFill>
                <a:sym typeface="Inter"/>
              </a:rPr>
              <a:t>Create/update Infrastructure as Code</a:t>
            </a:r>
          </a:p>
        </p:txBody>
      </p:sp>
      <p:sp>
        <p:nvSpPr>
          <p:cNvPr id="23" name="TextBox 5">
            <a:extLst>
              <a:ext uri="{FF2B5EF4-FFF2-40B4-BE49-F238E27FC236}">
                <a16:creationId xmlns:a16="http://schemas.microsoft.com/office/drawing/2014/main" id="{4E60C547-5F2F-F2AC-89F8-C3F38C39C371}"/>
              </a:ext>
            </a:extLst>
          </p:cNvPr>
          <p:cNvSpPr txBox="1">
            <a:spLocks/>
          </p:cNvSpPr>
          <p:nvPr/>
        </p:nvSpPr>
        <p:spPr>
          <a:xfrm>
            <a:off x="1443120" y="2650894"/>
            <a:ext cx="693024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buClrTx/>
              <a:defRPr/>
            </a:pPr>
            <a:r>
              <a:rPr lang="en-US" sz="1600" dirty="0">
                <a:solidFill>
                  <a:schemeClr val="bg1"/>
                </a:solidFill>
                <a:sym typeface="Inter"/>
              </a:rPr>
              <a:t>Create/update CI/CD workflows &amp; pipelines</a:t>
            </a:r>
          </a:p>
        </p:txBody>
      </p:sp>
      <p:sp>
        <p:nvSpPr>
          <p:cNvPr id="25" name="TextBox 5">
            <a:extLst>
              <a:ext uri="{FF2B5EF4-FFF2-40B4-BE49-F238E27FC236}">
                <a16:creationId xmlns:a16="http://schemas.microsoft.com/office/drawing/2014/main" id="{917728EC-468C-282D-F731-9B7D45FF1324}"/>
              </a:ext>
            </a:extLst>
          </p:cNvPr>
          <p:cNvSpPr txBox="1">
            <a:spLocks/>
          </p:cNvSpPr>
          <p:nvPr/>
        </p:nvSpPr>
        <p:spPr>
          <a:xfrm>
            <a:off x="1443120" y="3433615"/>
            <a:ext cx="482451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buClrTx/>
              <a:defRPr/>
            </a:pPr>
            <a:r>
              <a:rPr lang="en-US" sz="1600" dirty="0">
                <a:solidFill>
                  <a:schemeClr val="bg1"/>
                </a:solidFill>
                <a:sym typeface="Inter"/>
              </a:rPr>
              <a:t>Suggest reliability improvements and monitoring</a:t>
            </a:r>
          </a:p>
        </p:txBody>
      </p:sp>
    </p:spTree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Git hub externa;">
      <a:dk1>
        <a:srgbClr val="000000"/>
      </a:dk1>
      <a:lt1>
        <a:srgbClr val="FFFFFF"/>
      </a:lt1>
      <a:dk2>
        <a:srgbClr val="2D3847"/>
      </a:dk2>
      <a:lt2>
        <a:srgbClr val="E7E6E6"/>
      </a:lt2>
      <a:accent1>
        <a:srgbClr val="D59DFF"/>
      </a:accent1>
      <a:accent2>
        <a:srgbClr val="BFE8F6"/>
      </a:accent2>
      <a:accent3>
        <a:srgbClr val="6A37C7"/>
      </a:accent3>
      <a:accent4>
        <a:srgbClr val="19C8EB"/>
      </a:accent4>
      <a:accent5>
        <a:srgbClr val="892293"/>
      </a:accent5>
      <a:accent6>
        <a:srgbClr val="CB0FB0"/>
      </a:accent6>
      <a:hlink>
        <a:srgbClr val="0563C1"/>
      </a:hlink>
      <a:folHlink>
        <a:srgbClr val="954F72"/>
      </a:folHlink>
    </a:clrScheme>
    <a:fontScheme name="Custom 7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>
            <a:lumMod val="25000"/>
          </a:schemeClr>
        </a:solidFill>
        <a:ln>
          <a:noFill/>
        </a:ln>
      </a:spPr>
      <a:bodyPr rtlCol="0" anchor="t"/>
      <a:lstStyle>
        <a:defPPr marL="206375" indent="-206375" algn="l">
          <a:buFont typeface="Arial" panose="020B0604020202020204" pitchFamily="34" charset="0"/>
          <a:buChar char="•"/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 defTabSz="685800">
          <a:spcBef>
            <a:spcPts val="400"/>
          </a:spcBef>
          <a:defRPr sz="1200" dirty="0" err="1" smtClean="0">
            <a:solidFill>
              <a:schemeClr val="bg1"/>
            </a:solidFill>
            <a:latin typeface="Helvetica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lcf76f155ced4ddcb4097134ff3c332f xmlns="d681f2d9-4871-498d-a0cc-9b7b87dfdc30">
      <Terms xmlns="http://schemas.microsoft.com/office/infopath/2007/PartnerControls"/>
    </lcf76f155ced4ddcb4097134ff3c332f>
    <MediaLengthInSeconds xmlns="d681f2d9-4871-498d-a0cc-9b7b87dfdc30" xsi:nil="true"/>
    <SharedWithUsers xmlns="98f56844-7ceb-4d26-9fef-77a3fa54e643">
      <UserInfo>
        <DisplayName/>
        <AccountId xsi:nil="true"/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631BA2184D6D458EDE9412A206E0D9" ma:contentTypeVersion="15" ma:contentTypeDescription="Create a new document." ma:contentTypeScope="" ma:versionID="3c8343ea9f13b7d414dcdae33a4ccd8a">
  <xsd:schema xmlns:xsd="http://www.w3.org/2001/XMLSchema" xmlns:xs="http://www.w3.org/2001/XMLSchema" xmlns:p="http://schemas.microsoft.com/office/2006/metadata/properties" xmlns:ns1="http://schemas.microsoft.com/sharepoint/v3" xmlns:ns2="d681f2d9-4871-498d-a0cc-9b7b87dfdc30" xmlns:ns3="98f56844-7ceb-4d26-9fef-77a3fa54e643" targetNamespace="http://schemas.microsoft.com/office/2006/metadata/properties" ma:root="true" ma:fieldsID="bd7aa4038217b3320bb71246c5b15190" ns1:_="" ns2:_="" ns3:_="">
    <xsd:import namespace="http://schemas.microsoft.com/sharepoint/v3"/>
    <xsd:import namespace="d681f2d9-4871-498d-a0cc-9b7b87dfdc30"/>
    <xsd:import namespace="98f56844-7ceb-4d26-9fef-77a3fa54e6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1:_ip_UnifiedCompliancePolicyProperties" minOccurs="0"/>
                <xsd:element ref="ns1:_ip_UnifiedCompliancePolicyUIAction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81f2d9-4871-498d-a0cc-9b7b87dfdc3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f56844-7ceb-4d26-9fef-77a3fa54e64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A17A801-0F44-43BC-A0A7-3B6BBFCED9B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38577AC-147B-417E-8242-2D6321C85A22}">
  <ds:schemaRefs>
    <ds:schemaRef ds:uri="052897e6-7cd1-47bc-907a-01cf043a3063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230e9df3-be65-4c73-a93b-d1236ebd677e"/>
    <ds:schemaRef ds:uri="http://schemas.microsoft.com/sharepoint/v3"/>
    <ds:schemaRef ds:uri="8e0f379a-2d8b-4348-860c-4d526142b624"/>
    <ds:schemaRef ds:uri="http://purl.org/dc/terms/"/>
    <ds:schemaRef ds:uri="http://schemas.microsoft.com/office/2006/metadata/properties"/>
    <ds:schemaRef ds:uri="http://www.w3.org/XML/1998/namespace"/>
    <ds:schemaRef ds:uri="http://purl.org/dc/elements/1.1/"/>
    <ds:schemaRef ds:uri="d681f2d9-4871-498d-a0cc-9b7b87dfdc30"/>
    <ds:schemaRef ds:uri="98f56844-7ceb-4d26-9fef-77a3fa54e643"/>
  </ds:schemaRefs>
</ds:datastoreItem>
</file>

<file path=customXml/itemProps3.xml><?xml version="1.0" encoding="utf-8"?>
<ds:datastoreItem xmlns:ds="http://schemas.openxmlformats.org/officeDocument/2006/customXml" ds:itemID="{A301A011-1B1E-41A2-8BE5-02534EF9BBA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d681f2d9-4871-498d-a0cc-9b7b87dfdc30"/>
    <ds:schemaRef ds:uri="98f56844-7ceb-4d26-9fef-77a3fa54e64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945</TotalTime>
  <Words>312</Words>
  <Application>Microsoft Office PowerPoint</Application>
  <PresentationFormat>On-screen Show (16:9)</PresentationFormat>
  <Paragraphs>51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Helvetica</vt:lpstr>
      <vt:lpstr>Inter SemiBold</vt:lpstr>
      <vt:lpstr>Wingdings</vt:lpstr>
      <vt:lpstr>Inter</vt:lpstr>
      <vt:lpstr>Courier New</vt:lpstr>
      <vt:lpstr>Helvetica Neue</vt:lpstr>
      <vt:lpstr>Arial</vt:lpstr>
      <vt:lpstr>Calibri</vt:lpstr>
      <vt:lpstr>1_Office Theme</vt:lpstr>
      <vt:lpstr>think-cell Slide</vt:lpstr>
      <vt:lpstr>5 things you can do with GitHub Copilot</vt:lpstr>
      <vt:lpstr>Our Agenda</vt:lpstr>
      <vt:lpstr>The Copilot effect</vt:lpstr>
      <vt:lpstr>PowerPoint Presentation</vt:lpstr>
      <vt:lpstr>Demos</vt:lpstr>
      <vt:lpstr>Align tests and code to your patterns</vt:lpstr>
      <vt:lpstr>Write RegEx with contextual conversations</vt:lpstr>
      <vt:lpstr>Refactor code for perf, clean code, functionality</vt:lpstr>
      <vt:lpstr>DevOps techniques</vt:lpstr>
      <vt:lpstr>Techniques for architects and senior developers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tch Deck</dc:title>
  <cp:lastModifiedBy>Daniel Scott-Raynsford</cp:lastModifiedBy>
  <cp:revision>7</cp:revision>
  <dcterms:modified xsi:type="dcterms:W3CDTF">2024-07-31T19:58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98fb2fe6-9540-4b1b-9dd1-d4a9d1089753</vt:lpwstr>
  </property>
  <property fmtid="{D5CDD505-2E9C-101B-9397-08002B2CF9AE}" pid="3" name="_dlc_policyId">
    <vt:lpwstr>0x01010097A73671C864A748AFB2D921C723D4B7|-369733750</vt:lpwstr>
  </property>
  <property fmtid="{D5CDD505-2E9C-101B-9397-08002B2CF9AE}" pid="4" name="MediaServiceImageTags">
    <vt:lpwstr/>
  </property>
  <property fmtid="{D5CDD505-2E9C-101B-9397-08002B2CF9AE}" pid="5" name="ContentTypeId">
    <vt:lpwstr>0x0101009F631BA2184D6D458EDE9412A206E0D9</vt:lpwstr>
  </property>
  <property fmtid="{D5CDD505-2E9C-101B-9397-08002B2CF9AE}" pid="6" name="ItemRetentionFormula">
    <vt:lpwstr>&lt;formula id="Microsoft.Office.RecordsManagement.PolicyFeatures.Expiration.Formula.BuiltIn"&gt;&lt;number&gt;30&lt;/number&gt;&lt;property&gt;Modified&lt;/property&gt;&lt;propertyId&gt;28cf69c5-fa48-462a-b5cd-27b6f9d2bd5f&lt;/propertyId&gt;&lt;period&gt;days&lt;/period&gt;&lt;/formula&gt;</vt:lpwstr>
  </property>
  <property fmtid="{D5CDD505-2E9C-101B-9397-08002B2CF9AE}" pid="7" name="Order">
    <vt:lpwstr>806200.000000000</vt:lpwstr>
  </property>
  <property fmtid="{D5CDD505-2E9C-101B-9397-08002B2CF9AE}" pid="8" name="xd_ProgID">
    <vt:lpwstr/>
  </property>
  <property fmtid="{D5CDD505-2E9C-101B-9397-08002B2CF9AE}" pid="9" name="ComplianceAssetId">
    <vt:lpwstr/>
  </property>
  <property fmtid="{D5CDD505-2E9C-101B-9397-08002B2CF9AE}" pid="10" name="TemplateUrl">
    <vt:lpwstr/>
  </property>
  <property fmtid="{D5CDD505-2E9C-101B-9397-08002B2CF9AE}" pid="11" name="_ExtendedDescription">
    <vt:lpwstr/>
  </property>
  <property fmtid="{D5CDD505-2E9C-101B-9397-08002B2CF9AE}" pid="12" name="xd_Signature">
    <vt:lpwstr/>
  </property>
  <property fmtid="{D5CDD505-2E9C-101B-9397-08002B2CF9AE}" pid="13" name="TriggerFlowInfo">
    <vt:lpwstr/>
  </property>
</Properties>
</file>